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4.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5.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6.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03" r:id="rId5"/>
    <p:sldMasterId id="2147483770" r:id="rId6"/>
    <p:sldMasterId id="2147483831" r:id="rId7"/>
    <p:sldMasterId id="2147483851" r:id="rId8"/>
    <p:sldMasterId id="2147483879" r:id="rId9"/>
    <p:sldMasterId id="2147483901" r:id="rId10"/>
  </p:sldMasterIdLst>
  <p:notesMasterIdLst>
    <p:notesMasterId r:id="rId58"/>
  </p:notesMasterIdLst>
  <p:handoutMasterIdLst>
    <p:handoutMasterId r:id="rId59"/>
  </p:handoutMasterIdLst>
  <p:sldIdLst>
    <p:sldId id="8754" r:id="rId11"/>
    <p:sldId id="2147309528" r:id="rId12"/>
    <p:sldId id="2147377207" r:id="rId13"/>
    <p:sldId id="2147483614" r:id="rId14"/>
    <p:sldId id="2147483613" r:id="rId15"/>
    <p:sldId id="2147377736" r:id="rId16"/>
    <p:sldId id="2147483615" r:id="rId17"/>
    <p:sldId id="320" r:id="rId18"/>
    <p:sldId id="2147479720" r:id="rId19"/>
    <p:sldId id="2147479721" r:id="rId20"/>
    <p:sldId id="2147483618" r:id="rId21"/>
    <p:sldId id="2147483626" r:id="rId22"/>
    <p:sldId id="2147483616" r:id="rId23"/>
    <p:sldId id="2147483627" r:id="rId24"/>
    <p:sldId id="2134805246" r:id="rId25"/>
    <p:sldId id="2134805280" r:id="rId26"/>
    <p:sldId id="281" r:id="rId27"/>
    <p:sldId id="257" r:id="rId28"/>
    <p:sldId id="258" r:id="rId29"/>
    <p:sldId id="266" r:id="rId30"/>
    <p:sldId id="2147377042" r:id="rId31"/>
    <p:sldId id="261" r:id="rId32"/>
    <p:sldId id="2147483619" r:id="rId33"/>
    <p:sldId id="2147483620" r:id="rId34"/>
    <p:sldId id="2147377756" r:id="rId35"/>
    <p:sldId id="2147377608" r:id="rId36"/>
    <p:sldId id="2147483621" r:id="rId37"/>
    <p:sldId id="2147481144" r:id="rId38"/>
    <p:sldId id="2147377926" r:id="rId39"/>
    <p:sldId id="2147481127" r:id="rId40"/>
    <p:sldId id="2147377925" r:id="rId41"/>
    <p:sldId id="2147377847" r:id="rId42"/>
    <p:sldId id="2147377848" r:id="rId43"/>
    <p:sldId id="2147377702" r:id="rId44"/>
    <p:sldId id="2147377639" r:id="rId45"/>
    <p:sldId id="2147377512" r:id="rId46"/>
    <p:sldId id="2147483622" r:id="rId47"/>
    <p:sldId id="2147481130" r:id="rId48"/>
    <p:sldId id="2147309524" r:id="rId49"/>
    <p:sldId id="2147377105" r:id="rId50"/>
    <p:sldId id="2147481141" r:id="rId51"/>
    <p:sldId id="2147483623" r:id="rId52"/>
    <p:sldId id="2147377482" r:id="rId53"/>
    <p:sldId id="2147483624" r:id="rId54"/>
    <p:sldId id="2147483625" r:id="rId55"/>
    <p:sldId id="2147377192" r:id="rId56"/>
    <p:sldId id="8735" r:id="rId57"/>
  </p:sldIdLst>
  <p:sldSz cx="9144000" cy="5143500" type="screen16x9"/>
  <p:notesSz cx="9929813" cy="6797675"/>
  <p:defaultTextStyle>
    <a:defPPr>
      <a:defRPr lang="sv-S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068">
          <p15:clr>
            <a:srgbClr val="A4A3A4"/>
          </p15:clr>
        </p15:guide>
        <p15:guide id="2" orient="horz" pos="597">
          <p15:clr>
            <a:srgbClr val="A4A3A4"/>
          </p15:clr>
        </p15:guide>
        <p15:guide id="3" orient="horz" pos="240">
          <p15:clr>
            <a:srgbClr val="A4A3A4"/>
          </p15:clr>
        </p15:guide>
        <p15:guide id="4" orient="horz" pos="2794">
          <p15:clr>
            <a:srgbClr val="A4A3A4"/>
          </p15:clr>
        </p15:guide>
        <p15:guide id="5" orient="horz" pos="788">
          <p15:clr>
            <a:srgbClr val="A4A3A4"/>
          </p15:clr>
        </p15:guide>
        <p15:guide id="6" orient="horz" pos="940" userDrawn="1">
          <p15:clr>
            <a:srgbClr val="A4A3A4"/>
          </p15:clr>
        </p15:guide>
        <p15:guide id="7" orient="horz" pos="2573" userDrawn="1">
          <p15:clr>
            <a:srgbClr val="A4A3A4"/>
          </p15:clr>
        </p15:guide>
        <p15:guide id="8" pos="5513">
          <p15:clr>
            <a:srgbClr val="A4A3A4"/>
          </p15:clr>
        </p15:guide>
        <p15:guide id="9" pos="2880">
          <p15:clr>
            <a:srgbClr val="A4A3A4"/>
          </p15:clr>
        </p15:guide>
        <p15:guide id="10" pos="226"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6BE0F8E-67AA-960A-E3EB-56611E734E5F}" name="Isak Penttilä" initials="IP" userId="S::isak@MovitzPayments.onmicrosoft.com::d1a5bfb9-b74c-431d-9178-7c7cef6717d8" providerId="AD"/>
  <p188:author id="{DEC44CAD-9F74-6B5B-03B6-FBBBEC0C70A0}" name="Isak Penttilä" initials="IP" userId="476b9b1970817376" providerId="Windows Live"/>
  <p188:author id="{54C896E8-8F09-491E-E38E-BBAC6B3F086B}" name="Maria Brogren" initials="MB" userId="S::maria.brogren@npcouncil.org::3633e0ae-84f6-4845-af85-9d7910f9aea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ristian Ring" initials="KR" lastIdx="4" clrIdx="0">
    <p:extLst>
      <p:ext uri="{19B8F6BF-5375-455C-9EA6-DF929625EA0E}">
        <p15:presenceInfo xmlns:p15="http://schemas.microsoft.com/office/powerpoint/2012/main" userId="S::kri@fida.dk::c9702125-b28e-4608-b180-594f6eb8253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E1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D6BF330-C9DF-4ACE-8B4E-EE850E2EE304}" v="71" dt="2026-03-27T07:50:24.339"/>
    <p1510:client id="{669169AE-264D-40A6-A6B2-AEA3B730886E}" v="3" dt="2026-03-26T08:07:13.772"/>
    <p1510:client id="{B8FFAF1F-AF21-49FA-A277-3768BCF8AB1B}" v="24" dt="2026-03-26T08:03:12.645"/>
  </p1510:revLst>
</p1510:revInfo>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3068"/>
        <p:guide orient="horz" pos="597"/>
        <p:guide orient="horz" pos="240"/>
        <p:guide orient="horz" pos="2794"/>
        <p:guide orient="horz" pos="788"/>
        <p:guide orient="horz" pos="940"/>
        <p:guide orient="horz" pos="2573"/>
        <p:guide pos="5513"/>
        <p:guide pos="2880"/>
        <p:guide pos="226"/>
      </p:guideLst>
    </p:cSldViewPr>
  </p:slide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notesMaster" Target="notesMasters/notesMaster1.xml"/><Relationship Id="rId66" Type="http://schemas.microsoft.com/office/2015/10/relationships/revisionInfo" Target="revisionInfo.xml"/><Relationship Id="rId5" Type="http://schemas.openxmlformats.org/officeDocument/2006/relationships/slideMaster" Target="slideMasters/slideMaster2.xml"/><Relationship Id="rId61" Type="http://schemas.openxmlformats.org/officeDocument/2006/relationships/presProps" Target="presProps.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4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handoutMaster" Target="handoutMasters/handoutMaster1.xml"/><Relationship Id="rId67" Type="http://schemas.microsoft.com/office/2018/10/relationships/authors" Target="authors.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commentAuthors" Target="commentAuthors.xml"/><Relationship Id="rId65"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milla Åkerman" userId="4f31c80e-b890-45c4-b491-cee5642b9a6e" providerId="ADAL" clId="{2D2C7E82-279F-4130-8DE5-9104166986AE}"/>
    <pc:docChg chg="undo custSel addSld delSld modSld sldOrd">
      <pc:chgData name="Camilla Åkerman" userId="4f31c80e-b890-45c4-b491-cee5642b9a6e" providerId="ADAL" clId="{2D2C7E82-279F-4130-8DE5-9104166986AE}" dt="2026-03-26T08:03:12.645" v="472" actId="14100"/>
      <pc:docMkLst>
        <pc:docMk/>
      </pc:docMkLst>
      <pc:sldChg chg="add">
        <pc:chgData name="Camilla Åkerman" userId="4f31c80e-b890-45c4-b491-cee5642b9a6e" providerId="ADAL" clId="{2D2C7E82-279F-4130-8DE5-9104166986AE}" dt="2026-03-24T16:03:48.756" v="452"/>
        <pc:sldMkLst>
          <pc:docMk/>
          <pc:sldMk cId="2437538874" sldId="257"/>
        </pc:sldMkLst>
      </pc:sldChg>
      <pc:sldChg chg="add">
        <pc:chgData name="Camilla Åkerman" userId="4f31c80e-b890-45c4-b491-cee5642b9a6e" providerId="ADAL" clId="{2D2C7E82-279F-4130-8DE5-9104166986AE}" dt="2026-03-24T16:03:48.756" v="452"/>
        <pc:sldMkLst>
          <pc:docMk/>
          <pc:sldMk cId="2967825069" sldId="258"/>
        </pc:sldMkLst>
      </pc:sldChg>
      <pc:sldChg chg="add">
        <pc:chgData name="Camilla Åkerman" userId="4f31c80e-b890-45c4-b491-cee5642b9a6e" providerId="ADAL" clId="{2D2C7E82-279F-4130-8DE5-9104166986AE}" dt="2026-03-24T16:03:48.756" v="452"/>
        <pc:sldMkLst>
          <pc:docMk/>
          <pc:sldMk cId="3145278798" sldId="261"/>
        </pc:sldMkLst>
      </pc:sldChg>
      <pc:sldChg chg="add">
        <pc:chgData name="Camilla Åkerman" userId="4f31c80e-b890-45c4-b491-cee5642b9a6e" providerId="ADAL" clId="{2D2C7E82-279F-4130-8DE5-9104166986AE}" dt="2026-03-24T16:03:48.756" v="452"/>
        <pc:sldMkLst>
          <pc:docMk/>
          <pc:sldMk cId="3297235425" sldId="266"/>
        </pc:sldMkLst>
      </pc:sldChg>
      <pc:sldChg chg="add">
        <pc:chgData name="Camilla Åkerman" userId="4f31c80e-b890-45c4-b491-cee5642b9a6e" providerId="ADAL" clId="{2D2C7E82-279F-4130-8DE5-9104166986AE}" dt="2026-03-25T16:04:45.227" v="453"/>
        <pc:sldMkLst>
          <pc:docMk/>
          <pc:sldMk cId="4292707647" sldId="281"/>
        </pc:sldMkLst>
      </pc:sldChg>
      <pc:sldChg chg="add del">
        <pc:chgData name="Camilla Åkerman" userId="4f31c80e-b890-45c4-b491-cee5642b9a6e" providerId="ADAL" clId="{2D2C7E82-279F-4130-8DE5-9104166986AE}" dt="2026-03-24T07:57:36.457" v="450"/>
        <pc:sldMkLst>
          <pc:docMk/>
          <pc:sldMk cId="357465834" sldId="320"/>
        </pc:sldMkLst>
      </pc:sldChg>
      <pc:sldChg chg="add">
        <pc:chgData name="Camilla Åkerman" userId="4f31c80e-b890-45c4-b491-cee5642b9a6e" providerId="ADAL" clId="{2D2C7E82-279F-4130-8DE5-9104166986AE}" dt="2026-03-25T16:04:45.227" v="453"/>
        <pc:sldMkLst>
          <pc:docMk/>
          <pc:sldMk cId="2437590685" sldId="2134805246"/>
        </pc:sldMkLst>
      </pc:sldChg>
      <pc:sldChg chg="add">
        <pc:chgData name="Camilla Åkerman" userId="4f31c80e-b890-45c4-b491-cee5642b9a6e" providerId="ADAL" clId="{2D2C7E82-279F-4130-8DE5-9104166986AE}" dt="2026-03-25T16:04:45.227" v="453"/>
        <pc:sldMkLst>
          <pc:docMk/>
          <pc:sldMk cId="559221162" sldId="2134805280"/>
        </pc:sldMkLst>
      </pc:sldChg>
      <pc:sldChg chg="add">
        <pc:chgData name="Camilla Åkerman" userId="4f31c80e-b890-45c4-b491-cee5642b9a6e" providerId="ADAL" clId="{2D2C7E82-279F-4130-8DE5-9104166986AE}" dt="2026-03-24T16:03:48.756" v="452"/>
        <pc:sldMkLst>
          <pc:docMk/>
          <pc:sldMk cId="3276630462" sldId="2147377042"/>
        </pc:sldMkLst>
      </pc:sldChg>
      <pc:sldChg chg="modSp mod">
        <pc:chgData name="Camilla Åkerman" userId="4f31c80e-b890-45c4-b491-cee5642b9a6e" providerId="ADAL" clId="{2D2C7E82-279F-4130-8DE5-9104166986AE}" dt="2026-03-18T12:49:57.416" v="155" actId="11"/>
        <pc:sldMkLst>
          <pc:docMk/>
          <pc:sldMk cId="3831153813" sldId="2147377207"/>
        </pc:sldMkLst>
        <pc:spChg chg="mod">
          <ac:chgData name="Camilla Åkerman" userId="4f31c80e-b890-45c4-b491-cee5642b9a6e" providerId="ADAL" clId="{2D2C7E82-279F-4130-8DE5-9104166986AE}" dt="2026-03-18T12:49:57.416" v="155" actId="11"/>
          <ac:spMkLst>
            <pc:docMk/>
            <pc:sldMk cId="3831153813" sldId="2147377207"/>
            <ac:spMk id="10" creationId="{E2C13F72-79EE-419D-B7DC-F46FEB90AF67}"/>
          </ac:spMkLst>
        </pc:spChg>
      </pc:sldChg>
      <pc:sldChg chg="modSp mod">
        <pc:chgData name="Camilla Åkerman" userId="4f31c80e-b890-45c4-b491-cee5642b9a6e" providerId="ADAL" clId="{2D2C7E82-279F-4130-8DE5-9104166986AE}" dt="2026-03-26T08:03:12.645" v="472" actId="14100"/>
        <pc:sldMkLst>
          <pc:docMk/>
          <pc:sldMk cId="2736730244" sldId="2147377482"/>
        </pc:sldMkLst>
        <pc:spChg chg="mod">
          <ac:chgData name="Camilla Åkerman" userId="4f31c80e-b890-45c4-b491-cee5642b9a6e" providerId="ADAL" clId="{2D2C7E82-279F-4130-8DE5-9104166986AE}" dt="2026-03-26T08:03:07.838" v="471" actId="14100"/>
          <ac:spMkLst>
            <pc:docMk/>
            <pc:sldMk cId="2736730244" sldId="2147377482"/>
            <ac:spMk id="3" creationId="{B011BD63-9A5E-D468-854A-B1E93217E902}"/>
          </ac:spMkLst>
        </pc:spChg>
        <pc:spChg chg="mod">
          <ac:chgData name="Camilla Åkerman" userId="4f31c80e-b890-45c4-b491-cee5642b9a6e" providerId="ADAL" clId="{2D2C7E82-279F-4130-8DE5-9104166986AE}" dt="2026-03-26T08:03:12.645" v="472" actId="14100"/>
          <ac:spMkLst>
            <pc:docMk/>
            <pc:sldMk cId="2736730244" sldId="2147377482"/>
            <ac:spMk id="8" creationId="{FE483EB5-9878-0C9C-D733-C7DB947FC8FD}"/>
          </ac:spMkLst>
        </pc:spChg>
      </pc:sldChg>
      <pc:sldChg chg="add del">
        <pc:chgData name="Camilla Åkerman" userId="4f31c80e-b890-45c4-b491-cee5642b9a6e" providerId="ADAL" clId="{2D2C7E82-279F-4130-8DE5-9104166986AE}" dt="2026-03-24T07:57:36.457" v="450"/>
        <pc:sldMkLst>
          <pc:docMk/>
          <pc:sldMk cId="2565753753" sldId="2147479720"/>
        </pc:sldMkLst>
      </pc:sldChg>
      <pc:sldChg chg="add del">
        <pc:chgData name="Camilla Åkerman" userId="4f31c80e-b890-45c4-b491-cee5642b9a6e" providerId="ADAL" clId="{2D2C7E82-279F-4130-8DE5-9104166986AE}" dt="2026-03-24T07:57:36.457" v="450"/>
        <pc:sldMkLst>
          <pc:docMk/>
          <pc:sldMk cId="3018599506" sldId="2147479721"/>
        </pc:sldMkLst>
      </pc:sldChg>
      <pc:sldChg chg="modSp add mod">
        <pc:chgData name="Camilla Åkerman" userId="4f31c80e-b890-45c4-b491-cee5642b9a6e" providerId="ADAL" clId="{2D2C7E82-279F-4130-8DE5-9104166986AE}" dt="2026-03-18T12:51:01.184" v="163" actId="113"/>
        <pc:sldMkLst>
          <pc:docMk/>
          <pc:sldMk cId="2128199071" sldId="2147483614"/>
        </pc:sldMkLst>
        <pc:spChg chg="mod">
          <ac:chgData name="Camilla Åkerman" userId="4f31c80e-b890-45c4-b491-cee5642b9a6e" providerId="ADAL" clId="{2D2C7E82-279F-4130-8DE5-9104166986AE}" dt="2026-03-18T12:51:01.184" v="163" actId="113"/>
          <ac:spMkLst>
            <pc:docMk/>
            <pc:sldMk cId="2128199071" sldId="2147483614"/>
            <ac:spMk id="10" creationId="{CFDCBA5E-7C30-2805-AD72-24204C5B2341}"/>
          </ac:spMkLst>
        </pc:spChg>
      </pc:sldChg>
      <pc:sldChg chg="modSp add mod">
        <pc:chgData name="Camilla Åkerman" userId="4f31c80e-b890-45c4-b491-cee5642b9a6e" providerId="ADAL" clId="{2D2C7E82-279F-4130-8DE5-9104166986AE}" dt="2026-03-18T12:51:22.801" v="165" actId="113"/>
        <pc:sldMkLst>
          <pc:docMk/>
          <pc:sldMk cId="1827255864" sldId="2147483615"/>
        </pc:sldMkLst>
        <pc:spChg chg="mod">
          <ac:chgData name="Camilla Åkerman" userId="4f31c80e-b890-45c4-b491-cee5642b9a6e" providerId="ADAL" clId="{2D2C7E82-279F-4130-8DE5-9104166986AE}" dt="2026-03-18T12:51:22.801" v="165" actId="113"/>
          <ac:spMkLst>
            <pc:docMk/>
            <pc:sldMk cId="1827255864" sldId="2147483615"/>
            <ac:spMk id="10" creationId="{B55FF9E3-E829-849D-C87D-4590B77110BF}"/>
          </ac:spMkLst>
        </pc:spChg>
      </pc:sldChg>
      <pc:sldChg chg="modSp add mod">
        <pc:chgData name="Camilla Åkerman" userId="4f31c80e-b890-45c4-b491-cee5642b9a6e" providerId="ADAL" clId="{2D2C7E82-279F-4130-8DE5-9104166986AE}" dt="2026-03-18T12:53:17.126" v="231" actId="113"/>
        <pc:sldMkLst>
          <pc:docMk/>
          <pc:sldMk cId="4060197699" sldId="2147483616"/>
        </pc:sldMkLst>
        <pc:spChg chg="mod">
          <ac:chgData name="Camilla Åkerman" userId="4f31c80e-b890-45c4-b491-cee5642b9a6e" providerId="ADAL" clId="{2D2C7E82-279F-4130-8DE5-9104166986AE}" dt="2026-03-18T12:53:17.126" v="231" actId="113"/>
          <ac:spMkLst>
            <pc:docMk/>
            <pc:sldMk cId="4060197699" sldId="2147483616"/>
            <ac:spMk id="10" creationId="{68D6BA00-02EA-1998-DED6-963B27D07696}"/>
          </ac:spMkLst>
        </pc:spChg>
      </pc:sldChg>
      <pc:sldChg chg="modSp add del mod">
        <pc:chgData name="Camilla Åkerman" userId="4f31c80e-b890-45c4-b491-cee5642b9a6e" providerId="ADAL" clId="{2D2C7E82-279F-4130-8DE5-9104166986AE}" dt="2026-03-25T16:04:56.651" v="454" actId="47"/>
        <pc:sldMkLst>
          <pc:docMk/>
          <pc:sldMk cId="4169363798" sldId="2147483617"/>
        </pc:sldMkLst>
      </pc:sldChg>
      <pc:sldChg chg="modSp add mod">
        <pc:chgData name="Camilla Åkerman" userId="4f31c80e-b890-45c4-b491-cee5642b9a6e" providerId="ADAL" clId="{2D2C7E82-279F-4130-8DE5-9104166986AE}" dt="2026-03-18T12:53:02.774" v="229" actId="113"/>
        <pc:sldMkLst>
          <pc:docMk/>
          <pc:sldMk cId="3596112927" sldId="2147483618"/>
        </pc:sldMkLst>
        <pc:spChg chg="mod">
          <ac:chgData name="Camilla Åkerman" userId="4f31c80e-b890-45c4-b491-cee5642b9a6e" providerId="ADAL" clId="{2D2C7E82-279F-4130-8DE5-9104166986AE}" dt="2026-03-18T12:53:02.774" v="229" actId="113"/>
          <ac:spMkLst>
            <pc:docMk/>
            <pc:sldMk cId="3596112927" sldId="2147483618"/>
            <ac:spMk id="10" creationId="{F4DEEFF8-C8C0-BEB9-47B5-46340B865DC1}"/>
          </ac:spMkLst>
        </pc:spChg>
      </pc:sldChg>
      <pc:sldChg chg="modSp add mod">
        <pc:chgData name="Camilla Åkerman" userId="4f31c80e-b890-45c4-b491-cee5642b9a6e" providerId="ADAL" clId="{2D2C7E82-279F-4130-8DE5-9104166986AE}" dt="2026-03-18T12:53:44.367" v="237" actId="113"/>
        <pc:sldMkLst>
          <pc:docMk/>
          <pc:sldMk cId="276430481" sldId="2147483619"/>
        </pc:sldMkLst>
        <pc:spChg chg="mod">
          <ac:chgData name="Camilla Åkerman" userId="4f31c80e-b890-45c4-b491-cee5642b9a6e" providerId="ADAL" clId="{2D2C7E82-279F-4130-8DE5-9104166986AE}" dt="2026-03-18T12:53:44.367" v="237" actId="113"/>
          <ac:spMkLst>
            <pc:docMk/>
            <pc:sldMk cId="276430481" sldId="2147483619"/>
            <ac:spMk id="10" creationId="{9715C3DC-D264-81DC-3D55-6C4F7FFF125E}"/>
          </ac:spMkLst>
        </pc:spChg>
      </pc:sldChg>
      <pc:sldChg chg="modSp add mod">
        <pc:chgData name="Camilla Åkerman" userId="4f31c80e-b890-45c4-b491-cee5642b9a6e" providerId="ADAL" clId="{2D2C7E82-279F-4130-8DE5-9104166986AE}" dt="2026-03-18T12:53:56.811" v="239" actId="113"/>
        <pc:sldMkLst>
          <pc:docMk/>
          <pc:sldMk cId="1696317349" sldId="2147483620"/>
        </pc:sldMkLst>
        <pc:spChg chg="mod">
          <ac:chgData name="Camilla Åkerman" userId="4f31c80e-b890-45c4-b491-cee5642b9a6e" providerId="ADAL" clId="{2D2C7E82-279F-4130-8DE5-9104166986AE}" dt="2026-03-18T12:53:56.811" v="239" actId="113"/>
          <ac:spMkLst>
            <pc:docMk/>
            <pc:sldMk cId="1696317349" sldId="2147483620"/>
            <ac:spMk id="10" creationId="{113FEDF3-7D18-CCF9-EF76-19F34754C1FB}"/>
          </ac:spMkLst>
        </pc:spChg>
      </pc:sldChg>
      <pc:sldChg chg="modSp add mod">
        <pc:chgData name="Camilla Åkerman" userId="4f31c80e-b890-45c4-b491-cee5642b9a6e" providerId="ADAL" clId="{2D2C7E82-279F-4130-8DE5-9104166986AE}" dt="2026-03-18T12:54:17.349" v="243" actId="113"/>
        <pc:sldMkLst>
          <pc:docMk/>
          <pc:sldMk cId="3880911038" sldId="2147483621"/>
        </pc:sldMkLst>
        <pc:spChg chg="mod">
          <ac:chgData name="Camilla Åkerman" userId="4f31c80e-b890-45c4-b491-cee5642b9a6e" providerId="ADAL" clId="{2D2C7E82-279F-4130-8DE5-9104166986AE}" dt="2026-03-18T12:54:17.349" v="243" actId="113"/>
          <ac:spMkLst>
            <pc:docMk/>
            <pc:sldMk cId="3880911038" sldId="2147483621"/>
            <ac:spMk id="10" creationId="{DFE1F793-8CA9-BFA0-4475-E05AE45B1DBC}"/>
          </ac:spMkLst>
        </pc:spChg>
      </pc:sldChg>
      <pc:sldChg chg="modSp add mod">
        <pc:chgData name="Camilla Åkerman" userId="4f31c80e-b890-45c4-b491-cee5642b9a6e" providerId="ADAL" clId="{2D2C7E82-279F-4130-8DE5-9104166986AE}" dt="2026-03-18T12:54:50.113" v="247" actId="113"/>
        <pc:sldMkLst>
          <pc:docMk/>
          <pc:sldMk cId="275346691" sldId="2147483622"/>
        </pc:sldMkLst>
        <pc:spChg chg="mod">
          <ac:chgData name="Camilla Åkerman" userId="4f31c80e-b890-45c4-b491-cee5642b9a6e" providerId="ADAL" clId="{2D2C7E82-279F-4130-8DE5-9104166986AE}" dt="2026-03-18T12:54:50.113" v="247" actId="113"/>
          <ac:spMkLst>
            <pc:docMk/>
            <pc:sldMk cId="275346691" sldId="2147483622"/>
            <ac:spMk id="10" creationId="{D730F4F0-0732-BA91-9F8E-0A24C9E5BA0D}"/>
          </ac:spMkLst>
        </pc:spChg>
      </pc:sldChg>
      <pc:sldChg chg="modSp add mod">
        <pc:chgData name="Camilla Åkerman" userId="4f31c80e-b890-45c4-b491-cee5642b9a6e" providerId="ADAL" clId="{2D2C7E82-279F-4130-8DE5-9104166986AE}" dt="2026-03-18T12:55:12.587" v="251" actId="113"/>
        <pc:sldMkLst>
          <pc:docMk/>
          <pc:sldMk cId="341316055" sldId="2147483623"/>
        </pc:sldMkLst>
        <pc:spChg chg="mod">
          <ac:chgData name="Camilla Åkerman" userId="4f31c80e-b890-45c4-b491-cee5642b9a6e" providerId="ADAL" clId="{2D2C7E82-279F-4130-8DE5-9104166986AE}" dt="2026-03-18T12:55:12.587" v="251" actId="113"/>
          <ac:spMkLst>
            <pc:docMk/>
            <pc:sldMk cId="341316055" sldId="2147483623"/>
            <ac:spMk id="10" creationId="{D6FCB87C-4B86-5E32-1A81-F4E6A56CE014}"/>
          </ac:spMkLst>
        </pc:spChg>
      </pc:sldChg>
      <pc:sldChg chg="modSp add mod">
        <pc:chgData name="Camilla Åkerman" userId="4f31c80e-b890-45c4-b491-cee5642b9a6e" providerId="ADAL" clId="{2D2C7E82-279F-4130-8DE5-9104166986AE}" dt="2026-03-18T12:56:31.434" v="282" actId="113"/>
        <pc:sldMkLst>
          <pc:docMk/>
          <pc:sldMk cId="2143521396" sldId="2147483624"/>
        </pc:sldMkLst>
        <pc:spChg chg="mod">
          <ac:chgData name="Camilla Åkerman" userId="4f31c80e-b890-45c4-b491-cee5642b9a6e" providerId="ADAL" clId="{2D2C7E82-279F-4130-8DE5-9104166986AE}" dt="2026-03-18T12:56:31.434" v="282" actId="113"/>
          <ac:spMkLst>
            <pc:docMk/>
            <pc:sldMk cId="2143521396" sldId="2147483624"/>
            <ac:spMk id="10" creationId="{4965367C-4097-D48D-B867-BA92982F6A36}"/>
          </ac:spMkLst>
        </pc:spChg>
      </pc:sldChg>
      <pc:sldChg chg="modSp add mod">
        <pc:chgData name="Camilla Åkerman" userId="4f31c80e-b890-45c4-b491-cee5642b9a6e" providerId="ADAL" clId="{2D2C7E82-279F-4130-8DE5-9104166986AE}" dt="2026-03-18T12:56:53.611" v="288" actId="113"/>
        <pc:sldMkLst>
          <pc:docMk/>
          <pc:sldMk cId="907252700" sldId="2147483625"/>
        </pc:sldMkLst>
        <pc:spChg chg="mod">
          <ac:chgData name="Camilla Åkerman" userId="4f31c80e-b890-45c4-b491-cee5642b9a6e" providerId="ADAL" clId="{2D2C7E82-279F-4130-8DE5-9104166986AE}" dt="2026-03-18T12:56:53.611" v="288" actId="113"/>
          <ac:spMkLst>
            <pc:docMk/>
            <pc:sldMk cId="907252700" sldId="2147483625"/>
            <ac:spMk id="10" creationId="{EF744E9A-0E4B-1C43-41CC-93FEC45CC86E}"/>
          </ac:spMkLst>
        </pc:spChg>
      </pc:sldChg>
      <pc:sldChg chg="addSp delSp modSp new mod modClrScheme chgLayout">
        <pc:chgData name="Camilla Åkerman" userId="4f31c80e-b890-45c4-b491-cee5642b9a6e" providerId="ADAL" clId="{2D2C7E82-279F-4130-8DE5-9104166986AE}" dt="2026-03-26T08:00:50.376" v="467" actId="478"/>
        <pc:sldMkLst>
          <pc:docMk/>
          <pc:sldMk cId="2827028277" sldId="2147483626"/>
        </pc:sldMkLst>
        <pc:spChg chg="add del mod ord">
          <ac:chgData name="Camilla Åkerman" userId="4f31c80e-b890-45c4-b491-cee5642b9a6e" providerId="ADAL" clId="{2D2C7E82-279F-4130-8DE5-9104166986AE}" dt="2026-03-26T08:00:50.376" v="467" actId="478"/>
          <ac:spMkLst>
            <pc:docMk/>
            <pc:sldMk cId="2827028277" sldId="2147483626"/>
            <ac:spMk id="2" creationId="{525BB8B9-8394-4BCE-3CCE-F4B834136DB9}"/>
          </ac:spMkLst>
        </pc:spChg>
        <pc:spChg chg="mod ord">
          <ac:chgData name="Camilla Åkerman" userId="4f31c80e-b890-45c4-b491-cee5642b9a6e" providerId="ADAL" clId="{2D2C7E82-279F-4130-8DE5-9104166986AE}" dt="2026-03-26T08:00:25.751" v="459" actId="700"/>
          <ac:spMkLst>
            <pc:docMk/>
            <pc:sldMk cId="2827028277" sldId="2147483626"/>
            <ac:spMk id="5" creationId="{EB8B2A2B-734D-9F15-3AD0-71FB9D1F1611}"/>
          </ac:spMkLst>
        </pc:spChg>
        <pc:spChg chg="mod ord">
          <ac:chgData name="Camilla Åkerman" userId="4f31c80e-b890-45c4-b491-cee5642b9a6e" providerId="ADAL" clId="{2D2C7E82-279F-4130-8DE5-9104166986AE}" dt="2026-03-26T08:00:25.751" v="459" actId="700"/>
          <ac:spMkLst>
            <pc:docMk/>
            <pc:sldMk cId="2827028277" sldId="2147483626"/>
            <ac:spMk id="6" creationId="{19EFCA84-F50B-2CA0-38EA-C2CB945CD4CD}"/>
          </ac:spMkLst>
        </pc:spChg>
        <pc:spChg chg="mod ord">
          <ac:chgData name="Camilla Åkerman" userId="4f31c80e-b890-45c4-b491-cee5642b9a6e" providerId="ADAL" clId="{2D2C7E82-279F-4130-8DE5-9104166986AE}" dt="2026-03-26T08:00:25.751" v="459" actId="700"/>
          <ac:spMkLst>
            <pc:docMk/>
            <pc:sldMk cId="2827028277" sldId="2147483626"/>
            <ac:spMk id="7" creationId="{B0330427-3D78-5A2A-35C0-50095818CB43}"/>
          </ac:spMkLst>
        </pc:spChg>
        <pc:spChg chg="add mod ord">
          <ac:chgData name="Camilla Åkerman" userId="4f31c80e-b890-45c4-b491-cee5642b9a6e" providerId="ADAL" clId="{2D2C7E82-279F-4130-8DE5-9104166986AE}" dt="2026-03-26T08:00:25.772" v="460" actId="27636"/>
          <ac:spMkLst>
            <pc:docMk/>
            <pc:sldMk cId="2827028277" sldId="2147483626"/>
            <ac:spMk id="8" creationId="{6FBE430E-91EB-C831-CCB9-B21F9721F1AF}"/>
          </ac:spMkLst>
        </pc:spChg>
        <pc:spChg chg="add mod ord">
          <ac:chgData name="Camilla Åkerman" userId="4f31c80e-b890-45c4-b491-cee5642b9a6e" providerId="ADAL" clId="{2D2C7E82-279F-4130-8DE5-9104166986AE}" dt="2026-03-26T08:00:25.751" v="459" actId="700"/>
          <ac:spMkLst>
            <pc:docMk/>
            <pc:sldMk cId="2827028277" sldId="2147483626"/>
            <ac:spMk id="11" creationId="{24B24937-AC68-B32B-3617-D3E12440F386}"/>
          </ac:spMkLst>
        </pc:spChg>
        <pc:picChg chg="add mod">
          <ac:chgData name="Camilla Åkerman" userId="4f31c80e-b890-45c4-b491-cee5642b9a6e" providerId="ADAL" clId="{2D2C7E82-279F-4130-8DE5-9104166986AE}" dt="2026-03-26T08:00:43.894" v="466" actId="14100"/>
          <ac:picMkLst>
            <pc:docMk/>
            <pc:sldMk cId="2827028277" sldId="2147483626"/>
            <ac:picMk id="4" creationId="{64518F39-6546-4ECA-B26E-4EF27B7E4AE6}"/>
          </ac:picMkLst>
        </pc:picChg>
      </pc:sldChg>
      <pc:sldChg chg="add">
        <pc:chgData name="Camilla Åkerman" userId="4f31c80e-b890-45c4-b491-cee5642b9a6e" providerId="ADAL" clId="{2D2C7E82-279F-4130-8DE5-9104166986AE}" dt="2026-03-25T16:04:45.227" v="453"/>
        <pc:sldMkLst>
          <pc:docMk/>
          <pc:sldMk cId="2550904520" sldId="2147483627"/>
        </pc:sldMkLst>
      </pc:sldChg>
      <pc:sldChg chg="addSp delSp new del mod">
        <pc:chgData name="Camilla Åkerman" userId="4f31c80e-b890-45c4-b491-cee5642b9a6e" providerId="ADAL" clId="{2D2C7E82-279F-4130-8DE5-9104166986AE}" dt="2026-03-26T08:00:13.783" v="458" actId="47"/>
        <pc:sldMkLst>
          <pc:docMk/>
          <pc:sldMk cId="2103431485" sldId="2147483628"/>
        </pc:sldMkLst>
        <pc:picChg chg="add del">
          <ac:chgData name="Camilla Åkerman" userId="4f31c80e-b890-45c4-b491-cee5642b9a6e" providerId="ADAL" clId="{2D2C7E82-279F-4130-8DE5-9104166986AE}" dt="2026-03-26T08:00:11.383" v="457" actId="22"/>
          <ac:picMkLst>
            <pc:docMk/>
            <pc:sldMk cId="2103431485" sldId="2147483628"/>
            <ac:picMk id="8" creationId="{6CB61A4B-784D-0140-5394-297F6C77B0DC}"/>
          </ac:picMkLst>
        </pc:picChg>
      </pc:sldChg>
    </pc:docChg>
  </pc:docChgLst>
  <pc:docChgLst>
    <pc:chgData name="Maria Brogren" userId="3633e0ae-84f6-4845-af85-9d7910f9aea0" providerId="ADAL" clId="{957B8CE0-BEC3-4F6E-9C46-6EB6AF0C6541}"/>
    <pc:docChg chg="undo custSel addSld delSld modSld sldOrd">
      <pc:chgData name="Maria Brogren" userId="3633e0ae-84f6-4845-af85-9d7910f9aea0" providerId="ADAL" clId="{957B8CE0-BEC3-4F6E-9C46-6EB6AF0C6541}" dt="2026-03-27T07:50:24.337" v="1940"/>
      <pc:docMkLst>
        <pc:docMk/>
      </pc:docMkLst>
      <pc:sldChg chg="modSp del modAnim">
        <pc:chgData name="Maria Brogren" userId="3633e0ae-84f6-4845-af85-9d7910f9aea0" providerId="ADAL" clId="{957B8CE0-BEC3-4F6E-9C46-6EB6AF0C6541}" dt="2026-03-26T08:08:04.208" v="1921" actId="47"/>
        <pc:sldMkLst>
          <pc:docMk/>
          <pc:sldMk cId="3629433398" sldId="2147377511"/>
        </pc:sldMkLst>
      </pc:sldChg>
      <pc:sldChg chg="ord">
        <pc:chgData name="Maria Brogren" userId="3633e0ae-84f6-4845-af85-9d7910f9aea0" providerId="ADAL" clId="{957B8CE0-BEC3-4F6E-9C46-6EB6AF0C6541}" dt="2026-03-27T07:50:23.557" v="1939" actId="20578"/>
        <pc:sldMkLst>
          <pc:docMk/>
          <pc:sldMk cId="3416883106" sldId="2147377512"/>
        </pc:sldMkLst>
      </pc:sldChg>
      <pc:sldChg chg="modSp mod">
        <pc:chgData name="Maria Brogren" userId="3633e0ae-84f6-4845-af85-9d7910f9aea0" providerId="ADAL" clId="{957B8CE0-BEC3-4F6E-9C46-6EB6AF0C6541}" dt="2026-03-23T09:27:41.502" v="3" actId="1076"/>
        <pc:sldMkLst>
          <pc:docMk/>
          <pc:sldMk cId="288421399" sldId="2147377608"/>
        </pc:sldMkLst>
        <pc:spChg chg="mod">
          <ac:chgData name="Maria Brogren" userId="3633e0ae-84f6-4845-af85-9d7910f9aea0" providerId="ADAL" clId="{957B8CE0-BEC3-4F6E-9C46-6EB6AF0C6541}" dt="2026-03-23T09:27:41.502" v="3" actId="1076"/>
          <ac:spMkLst>
            <pc:docMk/>
            <pc:sldMk cId="288421399" sldId="2147377608"/>
            <ac:spMk id="3" creationId="{7109612F-19F9-B7CD-552D-E26223B4309B}"/>
          </ac:spMkLst>
        </pc:spChg>
        <pc:spChg chg="mod">
          <ac:chgData name="Maria Brogren" userId="3633e0ae-84f6-4845-af85-9d7910f9aea0" providerId="ADAL" clId="{957B8CE0-BEC3-4F6E-9C46-6EB6AF0C6541}" dt="2026-03-23T09:27:37.624" v="2" actId="1076"/>
          <ac:spMkLst>
            <pc:docMk/>
            <pc:sldMk cId="288421399" sldId="2147377608"/>
            <ac:spMk id="7" creationId="{EBE984D6-3748-0E0D-5643-ADECACFC5538}"/>
          </ac:spMkLst>
        </pc:spChg>
      </pc:sldChg>
      <pc:sldChg chg="modSp mod">
        <pc:chgData name="Maria Brogren" userId="3633e0ae-84f6-4845-af85-9d7910f9aea0" providerId="ADAL" clId="{957B8CE0-BEC3-4F6E-9C46-6EB6AF0C6541}" dt="2026-03-23T09:44:29.824" v="26" actId="122"/>
        <pc:sldMkLst>
          <pc:docMk/>
          <pc:sldMk cId="15202119" sldId="2147377639"/>
        </pc:sldMkLst>
        <pc:graphicFrameChg chg="modGraphic">
          <ac:chgData name="Maria Brogren" userId="3633e0ae-84f6-4845-af85-9d7910f9aea0" providerId="ADAL" clId="{957B8CE0-BEC3-4F6E-9C46-6EB6AF0C6541}" dt="2026-03-23T09:44:29.824" v="26" actId="122"/>
          <ac:graphicFrameMkLst>
            <pc:docMk/>
            <pc:sldMk cId="15202119" sldId="2147377639"/>
            <ac:graphicFrameMk id="7" creationId="{230B62CA-8298-ABA7-BED8-D8511C0C27CA}"/>
          </ac:graphicFrameMkLst>
        </pc:graphicFrameChg>
      </pc:sldChg>
      <pc:sldChg chg="modSp mod">
        <pc:chgData name="Maria Brogren" userId="3633e0ae-84f6-4845-af85-9d7910f9aea0" providerId="ADAL" clId="{957B8CE0-BEC3-4F6E-9C46-6EB6AF0C6541}" dt="2026-03-23T09:32:49.650" v="18" actId="1076"/>
        <pc:sldMkLst>
          <pc:docMk/>
          <pc:sldMk cId="3845407934" sldId="2147377702"/>
        </pc:sldMkLst>
        <pc:spChg chg="mod">
          <ac:chgData name="Maria Brogren" userId="3633e0ae-84f6-4845-af85-9d7910f9aea0" providerId="ADAL" clId="{957B8CE0-BEC3-4F6E-9C46-6EB6AF0C6541}" dt="2026-03-23T09:32:49.650" v="18" actId="1076"/>
          <ac:spMkLst>
            <pc:docMk/>
            <pc:sldMk cId="3845407934" sldId="2147377702"/>
            <ac:spMk id="13" creationId="{A3B20268-F1C7-9F7F-3BF4-633C666F09B3}"/>
          </ac:spMkLst>
        </pc:spChg>
        <pc:spChg chg="mod">
          <ac:chgData name="Maria Brogren" userId="3633e0ae-84f6-4845-af85-9d7910f9aea0" providerId="ADAL" clId="{957B8CE0-BEC3-4F6E-9C46-6EB6AF0C6541}" dt="2026-03-23T09:32:45.380" v="17" actId="1076"/>
          <ac:spMkLst>
            <pc:docMk/>
            <pc:sldMk cId="3845407934" sldId="2147377702"/>
            <ac:spMk id="14" creationId="{00595C26-CF94-8495-CB75-EE102A0A9FD5}"/>
          </ac:spMkLst>
        </pc:spChg>
      </pc:sldChg>
      <pc:sldChg chg="modSp mod modNotesTx">
        <pc:chgData name="Maria Brogren" userId="3633e0ae-84f6-4845-af85-9d7910f9aea0" providerId="ADAL" clId="{957B8CE0-BEC3-4F6E-9C46-6EB6AF0C6541}" dt="2026-03-26T07:17:37.649" v="1451" actId="20577"/>
        <pc:sldMkLst>
          <pc:docMk/>
          <pc:sldMk cId="2114397112" sldId="2147377847"/>
        </pc:sldMkLst>
        <pc:graphicFrameChg chg="modGraphic">
          <ac:chgData name="Maria Brogren" userId="3633e0ae-84f6-4845-af85-9d7910f9aea0" providerId="ADAL" clId="{957B8CE0-BEC3-4F6E-9C46-6EB6AF0C6541}" dt="2026-03-25T12:01:02.657" v="51" actId="113"/>
          <ac:graphicFrameMkLst>
            <pc:docMk/>
            <pc:sldMk cId="2114397112" sldId="2147377847"/>
            <ac:graphicFrameMk id="7" creationId="{278DDAFC-EF8E-4774-646C-B51E0C465516}"/>
          </ac:graphicFrameMkLst>
        </pc:graphicFrameChg>
      </pc:sldChg>
      <pc:sldChg chg="modSp mod modNotesTx">
        <pc:chgData name="Maria Brogren" userId="3633e0ae-84f6-4845-af85-9d7910f9aea0" providerId="ADAL" clId="{957B8CE0-BEC3-4F6E-9C46-6EB6AF0C6541}" dt="2026-03-26T07:41:20.227" v="1920" actId="20577"/>
        <pc:sldMkLst>
          <pc:docMk/>
          <pc:sldMk cId="103622869" sldId="2147377848"/>
        </pc:sldMkLst>
        <pc:graphicFrameChg chg="mod modGraphic">
          <ac:chgData name="Maria Brogren" userId="3633e0ae-84f6-4845-af85-9d7910f9aea0" providerId="ADAL" clId="{957B8CE0-BEC3-4F6E-9C46-6EB6AF0C6541}" dt="2026-03-26T07:25:11.398" v="1516" actId="20577"/>
          <ac:graphicFrameMkLst>
            <pc:docMk/>
            <pc:sldMk cId="103622869" sldId="2147377848"/>
            <ac:graphicFrameMk id="7" creationId="{EFDD2DF5-A366-36FF-BE46-81B96CC3920E}"/>
          </ac:graphicFrameMkLst>
        </pc:graphicFrameChg>
      </pc:sldChg>
      <pc:sldChg chg="modSp mod modNotesTx">
        <pc:chgData name="Maria Brogren" userId="3633e0ae-84f6-4845-af85-9d7910f9aea0" providerId="ADAL" clId="{957B8CE0-BEC3-4F6E-9C46-6EB6AF0C6541}" dt="2026-03-26T07:01:32.568" v="728" actId="20577"/>
        <pc:sldMkLst>
          <pc:docMk/>
          <pc:sldMk cId="33172425" sldId="2147377925"/>
        </pc:sldMkLst>
        <pc:graphicFrameChg chg="modGraphic">
          <ac:chgData name="Maria Brogren" userId="3633e0ae-84f6-4845-af85-9d7910f9aea0" providerId="ADAL" clId="{957B8CE0-BEC3-4F6E-9C46-6EB6AF0C6541}" dt="2026-03-25T12:28:54.837" v="178" actId="20577"/>
          <ac:graphicFrameMkLst>
            <pc:docMk/>
            <pc:sldMk cId="33172425" sldId="2147377925"/>
            <ac:graphicFrameMk id="7" creationId="{A1AFD967-002C-C6E5-294F-68AA819A81EB}"/>
          </ac:graphicFrameMkLst>
        </pc:graphicFrameChg>
      </pc:sldChg>
      <pc:sldChg chg="modSp mod">
        <pc:chgData name="Maria Brogren" userId="3633e0ae-84f6-4845-af85-9d7910f9aea0" providerId="ADAL" clId="{957B8CE0-BEC3-4F6E-9C46-6EB6AF0C6541}" dt="2026-03-23T09:43:00.882" v="20" actId="12"/>
        <pc:sldMkLst>
          <pc:docMk/>
          <pc:sldMk cId="4231002756" sldId="2147377926"/>
        </pc:sldMkLst>
        <pc:graphicFrameChg chg="modGraphic">
          <ac:chgData name="Maria Brogren" userId="3633e0ae-84f6-4845-af85-9d7910f9aea0" providerId="ADAL" clId="{957B8CE0-BEC3-4F6E-9C46-6EB6AF0C6541}" dt="2026-03-23T09:43:00.882" v="20" actId="12"/>
          <ac:graphicFrameMkLst>
            <pc:docMk/>
            <pc:sldMk cId="4231002756" sldId="2147377926"/>
            <ac:graphicFrameMk id="8" creationId="{9169288F-ED12-4511-9886-5F87EDB5E2AA}"/>
          </ac:graphicFrameMkLst>
        </pc:graphicFrameChg>
      </pc:sldChg>
      <pc:sldChg chg="modSp mod">
        <pc:chgData name="Maria Brogren" userId="3633e0ae-84f6-4845-af85-9d7910f9aea0" providerId="ADAL" clId="{957B8CE0-BEC3-4F6E-9C46-6EB6AF0C6541}" dt="2026-03-25T12:23:51.752" v="150" actId="5793"/>
        <pc:sldMkLst>
          <pc:docMk/>
          <pc:sldMk cId="809337695" sldId="2147481130"/>
        </pc:sldMkLst>
        <pc:spChg chg="mod">
          <ac:chgData name="Maria Brogren" userId="3633e0ae-84f6-4845-af85-9d7910f9aea0" providerId="ADAL" clId="{957B8CE0-BEC3-4F6E-9C46-6EB6AF0C6541}" dt="2026-03-25T12:23:51.752" v="150" actId="5793"/>
          <ac:spMkLst>
            <pc:docMk/>
            <pc:sldMk cId="809337695" sldId="2147481130"/>
            <ac:spMk id="3" creationId="{09CCD1C4-0F53-A92C-E70B-F42727497F7E}"/>
          </ac:spMkLst>
        </pc:spChg>
      </pc:sldChg>
      <pc:sldChg chg="add del ord">
        <pc:chgData name="Maria Brogren" userId="3633e0ae-84f6-4845-af85-9d7910f9aea0" providerId="ADAL" clId="{957B8CE0-BEC3-4F6E-9C46-6EB6AF0C6541}" dt="2026-03-27T07:50:24.337" v="1940"/>
        <pc:sldMkLst>
          <pc:docMk/>
          <pc:sldMk cId="1763435176" sldId="2147481134"/>
        </pc:sldMkLst>
      </pc:sldChg>
      <pc:sldChg chg="modSp mod">
        <pc:chgData name="Maria Brogren" userId="3633e0ae-84f6-4845-af85-9d7910f9aea0" providerId="ADAL" clId="{957B8CE0-BEC3-4F6E-9C46-6EB6AF0C6541}" dt="2026-03-23T09:32:28.589" v="15" actId="1076"/>
        <pc:sldMkLst>
          <pc:docMk/>
          <pc:sldMk cId="1050938502" sldId="2147481144"/>
        </pc:sldMkLst>
        <pc:spChg chg="mod">
          <ac:chgData name="Maria Brogren" userId="3633e0ae-84f6-4845-af85-9d7910f9aea0" providerId="ADAL" clId="{957B8CE0-BEC3-4F6E-9C46-6EB6AF0C6541}" dt="2026-03-23T09:32:28.589" v="15" actId="1076"/>
          <ac:spMkLst>
            <pc:docMk/>
            <pc:sldMk cId="1050938502" sldId="2147481144"/>
            <ac:spMk id="3" creationId="{04D67D1B-EA5E-0DE1-80E7-CCAF61BABAEC}"/>
          </ac:spMkLst>
        </pc:spChg>
        <pc:spChg chg="mod">
          <ac:chgData name="Maria Brogren" userId="3633e0ae-84f6-4845-af85-9d7910f9aea0" providerId="ADAL" clId="{957B8CE0-BEC3-4F6E-9C46-6EB6AF0C6541}" dt="2026-03-23T09:32:25.803" v="14" actId="1076"/>
          <ac:spMkLst>
            <pc:docMk/>
            <pc:sldMk cId="1050938502" sldId="2147481144"/>
            <ac:spMk id="4" creationId="{D4EEE751-7907-2025-4E1E-88B7A2AEA6F7}"/>
          </ac:spMkLst>
        </pc:spChg>
      </pc:sldChg>
      <pc:sldChg chg="add del ord">
        <pc:chgData name="Maria Brogren" userId="3633e0ae-84f6-4845-af85-9d7910f9aea0" providerId="ADAL" clId="{957B8CE0-BEC3-4F6E-9C46-6EB6AF0C6541}" dt="2026-03-27T07:50:24.337" v="1940"/>
        <pc:sldMkLst>
          <pc:docMk/>
          <pc:sldMk cId="985875367" sldId="2147483635"/>
        </pc:sldMkLst>
      </pc:sldChg>
      <pc:sldChg chg="add del">
        <pc:chgData name="Maria Brogren" userId="3633e0ae-84f6-4845-af85-9d7910f9aea0" providerId="ADAL" clId="{957B8CE0-BEC3-4F6E-9C46-6EB6AF0C6541}" dt="2026-03-27T07:50:18.820" v="1938"/>
        <pc:sldMkLst>
          <pc:docMk/>
          <pc:sldMk cId="210555110" sldId="2147483637"/>
        </pc:sldMkLst>
      </pc:sldChg>
    </pc:docChg>
  </pc:docChgLst>
  <pc:docChgLst>
    <pc:chgData name="Johanna Blomgren" userId="0d2f0da0-edf7-4138-88a9-86bcd24d0259" providerId="ADAL" clId="{2D305C08-F8F9-406C-A697-17659BB1EDFB}"/>
    <pc:docChg chg="addSld modSld">
      <pc:chgData name="Johanna Blomgren" userId="0d2f0da0-edf7-4138-88a9-86bcd24d0259" providerId="ADAL" clId="{2D305C08-F8F9-406C-A697-17659BB1EDFB}" dt="2026-03-26T08:07:13.772" v="2" actId="20577"/>
      <pc:docMkLst>
        <pc:docMk/>
      </pc:docMkLst>
      <pc:sldChg chg="modSp add mod">
        <pc:chgData name="Johanna Blomgren" userId="0d2f0da0-edf7-4138-88a9-86bcd24d0259" providerId="ADAL" clId="{2D305C08-F8F9-406C-A697-17659BB1EDFB}" dt="2026-03-26T08:07:13.772" v="2" actId="20577"/>
        <pc:sldMkLst>
          <pc:docMk/>
          <pc:sldMk cId="3416883106" sldId="2147377512"/>
        </pc:sldMkLst>
        <pc:spChg chg="mod">
          <ac:chgData name="Johanna Blomgren" userId="0d2f0da0-edf7-4138-88a9-86bcd24d0259" providerId="ADAL" clId="{2D305C08-F8F9-406C-A697-17659BB1EDFB}" dt="2026-03-26T08:07:13.772" v="2" actId="20577"/>
          <ac:spMkLst>
            <pc:docMk/>
            <pc:sldMk cId="3416883106" sldId="2147377512"/>
            <ac:spMk id="14" creationId="{64FBAFC1-1BED-76A6-6298-5EBF13EE880C}"/>
          </ac:spMkLst>
        </pc:spChg>
      </pc:sldChg>
    </pc:docChg>
  </pc:docChgLst>
</pc:chgInfo>
</file>

<file path=ppt/handoutMasters/_rels/handoutMaster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660838" y="174037"/>
            <a:ext cx="4302919" cy="339883"/>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sz="quarter" idx="1"/>
          </p:nvPr>
        </p:nvSpPr>
        <p:spPr>
          <a:xfrm>
            <a:off x="4963758" y="169942"/>
            <a:ext cx="4302919" cy="339883"/>
          </a:xfrm>
          <a:prstGeom prst="rect">
            <a:avLst/>
          </a:prstGeom>
        </p:spPr>
        <p:txBody>
          <a:bodyPr vert="horz" lIns="91440" tIns="45720" rIns="91440" bIns="45720" rtlCol="0"/>
          <a:lstStyle>
            <a:lvl1pPr algn="r">
              <a:defRPr sz="1200"/>
            </a:lvl1pPr>
          </a:lstStyle>
          <a:p>
            <a:fld id="{A606E60D-8061-45C8-976D-BF56864BDF59}" type="datetime1">
              <a:rPr lang="sv-SE" smtClean="0"/>
              <a:t>2026-03-27</a:t>
            </a:fld>
            <a:endParaRPr lang="sv-SE"/>
          </a:p>
        </p:txBody>
      </p:sp>
      <p:sp>
        <p:nvSpPr>
          <p:cNvPr id="4" name="Platshållare för sidfot 3"/>
          <p:cNvSpPr>
            <a:spLocks noGrp="1"/>
          </p:cNvSpPr>
          <p:nvPr>
            <p:ph type="ftr" sz="quarter" idx="2"/>
          </p:nvPr>
        </p:nvSpPr>
        <p:spPr>
          <a:xfrm>
            <a:off x="-1" y="6341951"/>
            <a:ext cx="9927515" cy="339883"/>
          </a:xfrm>
          <a:prstGeom prst="rect">
            <a:avLst/>
          </a:prstGeom>
        </p:spPr>
        <p:txBody>
          <a:bodyPr vert="horz" lIns="91440" tIns="45720" rIns="91440" bIns="45720" rtlCol="0" anchor="b"/>
          <a:lstStyle>
            <a:lvl1pPr algn="l">
              <a:defRPr sz="1200"/>
            </a:lvl1pPr>
          </a:lstStyle>
          <a:p>
            <a:pPr algn="ctr"/>
            <a:endParaRPr lang="sv-SE"/>
          </a:p>
        </p:txBody>
      </p:sp>
      <p:sp>
        <p:nvSpPr>
          <p:cNvPr id="5" name="Platshållare för bildnummer 4"/>
          <p:cNvSpPr>
            <a:spLocks noGrp="1"/>
          </p:cNvSpPr>
          <p:nvPr>
            <p:ph type="sldNum" sz="quarter" idx="3"/>
          </p:nvPr>
        </p:nvSpPr>
        <p:spPr>
          <a:xfrm>
            <a:off x="4963758" y="6341951"/>
            <a:ext cx="4302919" cy="339883"/>
          </a:xfrm>
          <a:prstGeom prst="rect">
            <a:avLst/>
          </a:prstGeom>
        </p:spPr>
        <p:txBody>
          <a:bodyPr vert="horz" lIns="91440" tIns="45720" rIns="91440" bIns="45720" rtlCol="0" anchor="b"/>
          <a:lstStyle>
            <a:lvl1pPr algn="r">
              <a:defRPr sz="1200"/>
            </a:lvl1pPr>
          </a:lstStyle>
          <a:p>
            <a:fld id="{860E04BA-0720-B041-AACC-AA3AF1BEF570}" type="slidenum">
              <a:t>‹#›</a:t>
            </a:fld>
            <a:endParaRPr lang="sv-SE"/>
          </a:p>
        </p:txBody>
      </p:sp>
      <p:pic>
        <p:nvPicPr>
          <p:cNvPr id="6" name="Bildobjekt 5">
            <a:extLst>
              <a:ext uri="{FF2B5EF4-FFF2-40B4-BE49-F238E27FC236}">
                <a16:creationId xmlns:a16="http://schemas.microsoft.com/office/drawing/2014/main" id="{6B15FEB4-6F33-4C70-95DF-E7C50AF8C36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8103" y="6266707"/>
            <a:ext cx="2043749" cy="379810"/>
          </a:xfrm>
          <a:prstGeom prst="rect">
            <a:avLst/>
          </a:prstGeom>
        </p:spPr>
      </p:pic>
    </p:spTree>
    <p:extLst>
      <p:ext uri="{BB962C8B-B14F-4D97-AF65-F5344CB8AC3E}">
        <p14:creationId xmlns:p14="http://schemas.microsoft.com/office/powerpoint/2010/main" val="3841870052"/>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551659" y="169943"/>
            <a:ext cx="4302919" cy="281175"/>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5075239" y="169943"/>
            <a:ext cx="4302919" cy="281175"/>
          </a:xfrm>
          <a:prstGeom prst="rect">
            <a:avLst/>
          </a:prstGeom>
        </p:spPr>
        <p:txBody>
          <a:bodyPr vert="horz" lIns="91440" tIns="45720" rIns="91440" bIns="45720" rtlCol="0"/>
          <a:lstStyle>
            <a:lvl1pPr algn="r">
              <a:defRPr sz="1200"/>
            </a:lvl1pPr>
          </a:lstStyle>
          <a:p>
            <a:fld id="{10163ACF-5542-4D48-AD21-C4535F21D93E}" type="datetime1">
              <a:rPr lang="sv-SE" smtClean="0"/>
              <a:t>2026-03-27</a:t>
            </a:fld>
            <a:endParaRPr lang="sv-SE"/>
          </a:p>
        </p:txBody>
      </p:sp>
      <p:sp>
        <p:nvSpPr>
          <p:cNvPr id="4" name="Platshållare för bildobjekt 3"/>
          <p:cNvSpPr>
            <a:spLocks noGrp="1" noRot="1" noChangeAspect="1"/>
          </p:cNvSpPr>
          <p:nvPr>
            <p:ph type="sldImg" idx="2"/>
          </p:nvPr>
        </p:nvSpPr>
        <p:spPr>
          <a:xfrm>
            <a:off x="2700338" y="509588"/>
            <a:ext cx="4529137" cy="2547937"/>
          </a:xfrm>
          <a:prstGeom prst="rect">
            <a:avLst/>
          </a:prstGeom>
          <a:noFill/>
          <a:ln w="12700">
            <a:solidFill>
              <a:schemeClr val="tx1"/>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992982" y="3228896"/>
            <a:ext cx="7943850" cy="2979102"/>
          </a:xfrm>
          <a:prstGeom prst="rect">
            <a:avLst/>
          </a:prstGeom>
        </p:spPr>
        <p:txBody>
          <a:bodyPr vert="horz" lIns="91440" tIns="45720" rIns="91440" bIns="45720" rtlCol="0"/>
          <a:lstStyle/>
          <a:p>
            <a:pPr lvl="0"/>
            <a:r>
              <a:rPr lang="en-GB" err="1"/>
              <a:t>Klicka</a:t>
            </a:r>
            <a:r>
              <a:rPr lang="en-GB"/>
              <a:t> </a:t>
            </a:r>
            <a:r>
              <a:rPr lang="en-GB" err="1"/>
              <a:t>här</a:t>
            </a:r>
            <a:r>
              <a:rPr lang="en-GB"/>
              <a:t> </a:t>
            </a:r>
            <a:r>
              <a:rPr lang="en-GB" err="1"/>
              <a:t>för</a:t>
            </a:r>
            <a:r>
              <a:rPr lang="en-GB"/>
              <a:t> </a:t>
            </a:r>
            <a:r>
              <a:rPr lang="en-GB" err="1"/>
              <a:t>att</a:t>
            </a:r>
            <a:r>
              <a:rPr lang="en-GB"/>
              <a:t> </a:t>
            </a:r>
            <a:r>
              <a:rPr lang="en-GB" err="1"/>
              <a:t>ändra</a:t>
            </a:r>
            <a:r>
              <a:rPr lang="en-GB"/>
              <a:t> format </a:t>
            </a:r>
            <a:r>
              <a:rPr lang="en-GB" err="1"/>
              <a:t>på</a:t>
            </a:r>
            <a:r>
              <a:rPr lang="en-GB"/>
              <a:t> </a:t>
            </a:r>
            <a:r>
              <a:rPr lang="en-GB" err="1"/>
              <a:t>bakgrundstexten</a:t>
            </a:r>
            <a:endParaRPr lang="en-GB"/>
          </a:p>
          <a:p>
            <a:pPr lvl="1"/>
            <a:r>
              <a:rPr lang="en-GB" err="1"/>
              <a:t>Nivå</a:t>
            </a:r>
            <a:r>
              <a:rPr lang="en-GB"/>
              <a:t> </a:t>
            </a:r>
            <a:r>
              <a:rPr lang="en-GB" err="1"/>
              <a:t>två</a:t>
            </a:r>
            <a:endParaRPr lang="en-GB"/>
          </a:p>
          <a:p>
            <a:pPr lvl="2"/>
            <a:r>
              <a:rPr lang="en-GB" err="1"/>
              <a:t>Nivå</a:t>
            </a:r>
            <a:r>
              <a:rPr lang="en-GB"/>
              <a:t> </a:t>
            </a:r>
            <a:r>
              <a:rPr lang="en-GB" err="1"/>
              <a:t>tre</a:t>
            </a:r>
            <a:endParaRPr lang="en-GB"/>
          </a:p>
          <a:p>
            <a:pPr lvl="3"/>
            <a:r>
              <a:rPr lang="en-GB" err="1"/>
              <a:t>Nivå</a:t>
            </a:r>
            <a:r>
              <a:rPr lang="en-GB"/>
              <a:t> </a:t>
            </a:r>
            <a:r>
              <a:rPr lang="en-GB" err="1"/>
              <a:t>fyra</a:t>
            </a:r>
            <a:endParaRPr lang="en-GB"/>
          </a:p>
          <a:p>
            <a:pPr lvl="4"/>
            <a:r>
              <a:rPr lang="en-GB" err="1"/>
              <a:t>Nivå</a:t>
            </a:r>
            <a:r>
              <a:rPr lang="en-GB"/>
              <a:t> fem</a:t>
            </a:r>
            <a:endParaRPr lang="sv-SE"/>
          </a:p>
        </p:txBody>
      </p:sp>
      <p:sp>
        <p:nvSpPr>
          <p:cNvPr id="6" name="Platshållare för sidfot 5"/>
          <p:cNvSpPr>
            <a:spLocks noGrp="1"/>
          </p:cNvSpPr>
          <p:nvPr>
            <p:ph type="ftr" sz="quarter" idx="4"/>
          </p:nvPr>
        </p:nvSpPr>
        <p:spPr>
          <a:xfrm>
            <a:off x="551657" y="6303664"/>
            <a:ext cx="8826501" cy="339883"/>
          </a:xfrm>
          <a:prstGeom prst="rect">
            <a:avLst/>
          </a:prstGeom>
        </p:spPr>
        <p:txBody>
          <a:bodyPr vert="horz" lIns="91440" tIns="45720" rIns="91440" bIns="45720" rtlCol="0" anchor="b"/>
          <a:lstStyle>
            <a:lvl1pPr algn="ctr">
              <a:defRPr sz="1200"/>
            </a:lvl1pPr>
          </a:lstStyle>
          <a:p>
            <a:endParaRPr lang="sv-SE"/>
          </a:p>
        </p:txBody>
      </p:sp>
      <p:sp>
        <p:nvSpPr>
          <p:cNvPr id="7" name="Platshållare för bildnummer 6"/>
          <p:cNvSpPr>
            <a:spLocks noGrp="1"/>
          </p:cNvSpPr>
          <p:nvPr>
            <p:ph type="sldNum" sz="quarter" idx="5"/>
          </p:nvPr>
        </p:nvSpPr>
        <p:spPr>
          <a:xfrm>
            <a:off x="5075239" y="6303664"/>
            <a:ext cx="4302919" cy="339883"/>
          </a:xfrm>
          <a:prstGeom prst="rect">
            <a:avLst/>
          </a:prstGeom>
        </p:spPr>
        <p:txBody>
          <a:bodyPr vert="horz" lIns="91440" tIns="45720" rIns="91440" bIns="45720" rtlCol="0" anchor="b"/>
          <a:lstStyle>
            <a:lvl1pPr algn="r">
              <a:defRPr sz="1200"/>
            </a:lvl1pPr>
          </a:lstStyle>
          <a:p>
            <a:fld id="{DD16377A-0A78-E044-A3A1-CA5CF8DD6905}" type="slidenum">
              <a:t>‹#›</a:t>
            </a:fld>
            <a:endParaRPr lang="sv-SE"/>
          </a:p>
        </p:txBody>
      </p:sp>
      <p:pic>
        <p:nvPicPr>
          <p:cNvPr id="9" name="Bildobjekt 8">
            <a:extLst>
              <a:ext uri="{FF2B5EF4-FFF2-40B4-BE49-F238E27FC236}">
                <a16:creationId xmlns:a16="http://schemas.microsoft.com/office/drawing/2014/main" id="{8107FC38-E399-4223-9018-4E55A5AA0C1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8103" y="6266707"/>
            <a:ext cx="2043749" cy="379810"/>
          </a:xfrm>
          <a:prstGeom prst="rect">
            <a:avLst/>
          </a:prstGeom>
        </p:spPr>
      </p:pic>
    </p:spTree>
    <p:extLst>
      <p:ext uri="{BB962C8B-B14F-4D97-AF65-F5344CB8AC3E}">
        <p14:creationId xmlns:p14="http://schemas.microsoft.com/office/powerpoint/2010/main" val="582886270"/>
      </p:ext>
    </p:extLst>
  </p:cSld>
  <p:clrMap bg1="lt1" tx1="dk1" bg2="lt2" tx2="dk2" accent1="accent1" accent2="accent2" accent3="accent3" accent4="accent4" accent5="accent5" accent6="accent6" hlink="hlink" folHlink="folHlink"/>
  <p:hf/>
  <p:notesStyle>
    <a:lvl1pPr marL="0" algn="l" defTabSz="457200" rtl="0" eaLnBrk="1" latinLnBrk="0" hangingPunct="1">
      <a:defRPr sz="1200" kern="1200">
        <a:solidFill>
          <a:schemeClr val="tx1"/>
        </a:solidFill>
        <a:latin typeface="+mn-lt"/>
        <a:ea typeface="+mn-ea"/>
        <a:cs typeface="+mn-cs"/>
      </a:defRPr>
    </a:lvl1pPr>
    <a:lvl2pPr marL="315450" indent="-171450" algn="l" defTabSz="457200" rtl="0" eaLnBrk="1" latinLnBrk="0" hangingPunct="1">
      <a:buFont typeface="Arial" panose="020B0604020202020204" pitchFamily="34" charset="0"/>
      <a:buChar char="•"/>
      <a:defRPr sz="1200" kern="1200">
        <a:solidFill>
          <a:schemeClr val="tx1"/>
        </a:solidFill>
        <a:latin typeface="+mn-lt"/>
        <a:ea typeface="+mn-ea"/>
        <a:cs typeface="+mn-cs"/>
      </a:defRPr>
    </a:lvl2pPr>
    <a:lvl3pPr marL="446088" indent="-182563" algn="l" defTabSz="457200" rtl="0" eaLnBrk="1" latinLnBrk="0" hangingPunct="1">
      <a:buFont typeface="Arial" panose="020B0604020202020204" pitchFamily="34" charset="0"/>
      <a:buChar char="•"/>
      <a:defRPr sz="1200" kern="1200">
        <a:solidFill>
          <a:schemeClr val="tx1"/>
        </a:solidFill>
        <a:latin typeface="+mn-lt"/>
        <a:ea typeface="+mn-ea"/>
        <a:cs typeface="+mn-cs"/>
      </a:defRPr>
    </a:lvl3pPr>
    <a:lvl4pPr marL="628650" indent="-182563" algn="l" defTabSz="457200" rtl="0" eaLnBrk="1" latinLnBrk="0" hangingPunct="1">
      <a:buFont typeface="Arial" panose="020B0604020202020204" pitchFamily="34" charset="0"/>
      <a:buChar char="•"/>
      <a:defRPr sz="1200" kern="1200">
        <a:solidFill>
          <a:schemeClr val="tx1"/>
        </a:solidFill>
        <a:latin typeface="+mn-lt"/>
        <a:ea typeface="+mn-ea"/>
        <a:cs typeface="+mn-cs"/>
      </a:defRPr>
    </a:lvl4pPr>
    <a:lvl5pPr marL="811213" indent="-182563" algn="l" defTabSz="457200" rtl="0" eaLnBrk="1" latinLnBrk="0" hangingPunct="1">
      <a:buFont typeface="Arial" panose="020B0604020202020204" pitchFamily="34" charset="0"/>
      <a:buChar char="•"/>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Header Placeholder 3"/>
          <p:cNvSpPr>
            <a:spLocks noGrp="1"/>
          </p:cNvSpPr>
          <p:nvPr>
            <p:ph type="hdr" sz="quarter"/>
          </p:nvPr>
        </p:nvSpPr>
        <p:spPr/>
        <p:txBody>
          <a:bodyPr/>
          <a:lstStyle/>
          <a:p>
            <a:endParaRPr lang="sv-SE"/>
          </a:p>
        </p:txBody>
      </p:sp>
      <p:sp>
        <p:nvSpPr>
          <p:cNvPr id="5" name="Date Placeholder 4"/>
          <p:cNvSpPr>
            <a:spLocks noGrp="1"/>
          </p:cNvSpPr>
          <p:nvPr>
            <p:ph type="dt" idx="1"/>
          </p:nvPr>
        </p:nvSpPr>
        <p:spPr/>
        <p:txBody>
          <a:bodyPr/>
          <a:lstStyle/>
          <a:p>
            <a:fld id="{9FEDCB23-AAF6-4A32-8139-2031FBDE2542}" type="datetime1">
              <a:rPr lang="sv-SE" smtClean="0"/>
              <a:t>2026-03-27</a:t>
            </a:fld>
            <a:endParaRPr lang="sv-SE"/>
          </a:p>
        </p:txBody>
      </p:sp>
      <p:sp>
        <p:nvSpPr>
          <p:cNvPr id="6" name="Footer Placeholder 5"/>
          <p:cNvSpPr>
            <a:spLocks noGrp="1"/>
          </p:cNvSpPr>
          <p:nvPr>
            <p:ph type="ftr" sz="quarter" idx="4"/>
          </p:nvPr>
        </p:nvSpPr>
        <p:spPr/>
        <p:txBody>
          <a:bodyPr/>
          <a:lstStyle/>
          <a:p>
            <a:endParaRPr lang="sv-SE"/>
          </a:p>
        </p:txBody>
      </p:sp>
      <p:sp>
        <p:nvSpPr>
          <p:cNvPr id="7" name="Slide Number Placeholder 6"/>
          <p:cNvSpPr>
            <a:spLocks noGrp="1"/>
          </p:cNvSpPr>
          <p:nvPr>
            <p:ph type="sldNum" sz="quarter" idx="5"/>
          </p:nvPr>
        </p:nvSpPr>
        <p:spPr/>
        <p:txBody>
          <a:bodyPr/>
          <a:lstStyle/>
          <a:p>
            <a:fld id="{DD16377A-0A78-E044-A3A1-CA5CF8DD6905}" type="slidenum">
              <a:rPr lang="sv-SE" smtClean="0"/>
              <a:t>3</a:t>
            </a:fld>
            <a:endParaRPr lang="sv-SE"/>
          </a:p>
        </p:txBody>
      </p:sp>
    </p:spTree>
    <p:extLst>
      <p:ext uri="{BB962C8B-B14F-4D97-AF65-F5344CB8AC3E}">
        <p14:creationId xmlns:p14="http://schemas.microsoft.com/office/powerpoint/2010/main" val="33183477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a:solidFill>
                  <a:srgbClr val="1C2935"/>
                </a:solidFill>
                <a:latin typeface="Century Gothic" panose="020B0502020202020204" pitchFamily="34" charset="0"/>
              </a:rPr>
              <a:t>Info meetings together with the NPC concerning the NCT scheme on-boarding.</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a:solidFill>
                  <a:srgbClr val="1C2935"/>
                </a:solidFill>
                <a:latin typeface="Century Gothic" panose="020B0502020202020204" pitchFamily="34" charset="0"/>
              </a:rPr>
              <a:t>Concerning technical changes in relation to the STEP2 DKK transition:</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a:solidFill>
                  <a:srgbClr val="1C2935"/>
                </a:solidFill>
                <a:latin typeface="Century Gothic" panose="020B0502020202020204" pitchFamily="34" charset="0"/>
              </a:rPr>
              <a:t>Information meeting aimed at ERP vendors took place 4 February 2026. </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a:solidFill>
                  <a:srgbClr val="1C2935"/>
                </a:solidFill>
                <a:latin typeface="Century Gothic" panose="020B0502020202020204" pitchFamily="34" charset="0"/>
              </a:rPr>
              <a:t>FI and GI cards: common payment slips and Giro slip. Implementation is planned for expected Q2 2028 – exact timing will be communicated in Q2 2026.</a:t>
            </a:r>
          </a:p>
        </p:txBody>
      </p:sp>
      <p:sp>
        <p:nvSpPr>
          <p:cNvPr id="4" name="Footer Placeholder 3"/>
          <p:cNvSpPr>
            <a:spLocks noGrp="1"/>
          </p:cNvSpPr>
          <p:nvPr>
            <p:ph type="ftr"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363A38"/>
              </a:solidFill>
              <a:effectLst/>
              <a:uLnTx/>
              <a:uFillTx/>
              <a:latin typeface="Century Gothic"/>
              <a:ea typeface="+mn-ea"/>
            </a:endParaRPr>
          </a:p>
        </p:txBody>
      </p:sp>
      <p:sp>
        <p:nvSpPr>
          <p:cNvPr id="5" name="Header Placeholder 4"/>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1C2935"/>
              </a:solidFill>
              <a:effectLst/>
              <a:uLnTx/>
              <a:uFillTx/>
              <a:latin typeface="Century Gothic"/>
              <a:ea typeface="+mn-ea"/>
              <a:cs typeface="+mn-cs"/>
            </a:endParaRPr>
          </a:p>
        </p:txBody>
      </p:sp>
      <p:sp>
        <p:nvSpPr>
          <p:cNvPr id="6" name="Date Placeholder 5"/>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913CE9C-9E3B-4693-B4BA-F16AA7F8AF4A}" type="datetime1">
              <a:rPr kumimoji="0" lang="sv-SE" sz="1000" b="1" i="0" u="none" strike="noStrike" kern="1200" cap="none" spc="0" normalizeH="0" baseline="0" noProof="0" smtClean="0">
                <a:ln>
                  <a:noFill/>
                </a:ln>
                <a:solidFill>
                  <a:srgbClr val="1C2935"/>
                </a:solidFill>
                <a:effectLst/>
                <a:uLnTx/>
                <a:uFillTx/>
                <a:latin typeface="Century Gothic"/>
                <a:ea typeface="+mn-ea"/>
                <a:cs typeface="+mn-cs"/>
              </a:rPr>
              <a:t>2026-03-27</a:t>
            </a:fld>
            <a:endParaRPr kumimoji="0" lang="en-GB" sz="1000" b="1" i="0" u="none" strike="noStrike" kern="1200" cap="none" spc="0" normalizeH="0" baseline="0" noProof="0">
              <a:ln>
                <a:noFill/>
              </a:ln>
              <a:solidFill>
                <a:srgbClr val="1C2935"/>
              </a:solidFill>
              <a:effectLst/>
              <a:uLnTx/>
              <a:uFillTx/>
              <a:latin typeface="Century Gothic"/>
              <a:ea typeface="+mn-ea"/>
              <a:cs typeface="+mn-cs"/>
            </a:endParaRPr>
          </a:p>
        </p:txBody>
      </p:sp>
      <p:sp>
        <p:nvSpPr>
          <p:cNvPr id="7" name="Slide Number Placeholder 6"/>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74A5A2F-ECD0-4A51-A9E7-D8DA645BD5CD}" type="slidenum">
              <a:rPr kumimoji="0" lang="en-GB" sz="1000" b="0" i="0" u="none" strike="noStrike" kern="1200" cap="none" spc="0" normalizeH="0" baseline="0" noProof="0" smtClean="0">
                <a:ln>
                  <a:noFill/>
                </a:ln>
                <a:solidFill>
                  <a:srgbClr val="363A38"/>
                </a:solidFill>
                <a:effectLst/>
                <a:uLnTx/>
                <a:uFillTx/>
                <a:latin typeface="Century Gothic"/>
                <a:ea typeface="+mn-ea"/>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GB" sz="1000" b="0" i="0" u="none" strike="noStrike" kern="1200" cap="none" spc="0" normalizeH="0" baseline="0" noProof="0">
              <a:ln>
                <a:noFill/>
              </a:ln>
              <a:solidFill>
                <a:srgbClr val="363A38"/>
              </a:solidFill>
              <a:effectLst/>
              <a:uLnTx/>
              <a:uFillTx/>
              <a:latin typeface="Century Gothic"/>
              <a:ea typeface="+mn-ea"/>
            </a:endParaRPr>
          </a:p>
        </p:txBody>
      </p:sp>
    </p:spTree>
    <p:extLst>
      <p:ext uri="{BB962C8B-B14F-4D97-AF65-F5344CB8AC3E}">
        <p14:creationId xmlns:p14="http://schemas.microsoft.com/office/powerpoint/2010/main" val="5163562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en-US"/>
              <a:t>It may be added that the final rules for non‑euro in relation to VOP are pending the forthcoming PSR (Payment Service Regulation), which is expected to be </a:t>
            </a:r>
            <a:r>
              <a:rPr lang="en-US" err="1"/>
              <a:t>finalised</a:t>
            </a:r>
            <a:r>
              <a:rPr lang="en-US"/>
              <a:t> in July this year.</a:t>
            </a:r>
            <a:endParaRPr lang="da-DK"/>
          </a:p>
        </p:txBody>
      </p:sp>
      <p:sp>
        <p:nvSpPr>
          <p:cNvPr id="4" name="Pladsholder til sli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D84F7C1-ED8E-7F49-BA89-CA3A7C522CD5}" type="slidenum">
              <a:rPr kumimoji="0" lang="da-DK" sz="1000" b="0" i="0" u="none" strike="noStrike" kern="1200" cap="none" spc="0" normalizeH="0" baseline="0" noProof="0" smtClean="0">
                <a:ln>
                  <a:noFill/>
                </a:ln>
                <a:solidFill>
                  <a:srgbClr val="363A38"/>
                </a:solidFill>
                <a:effectLst/>
                <a:uLnTx/>
                <a:uFillTx/>
                <a:latin typeface="Century Gothic"/>
                <a:ea typeface="+mn-ea"/>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da-DK" sz="1000" b="0" i="0" u="none" strike="noStrike" kern="1200" cap="none" spc="0" normalizeH="0" baseline="0" noProof="0">
              <a:ln>
                <a:noFill/>
              </a:ln>
              <a:solidFill>
                <a:srgbClr val="363A38"/>
              </a:solidFill>
              <a:effectLst/>
              <a:uLnTx/>
              <a:uFillTx/>
              <a:latin typeface="Century Gothic"/>
              <a:ea typeface="+mn-ea"/>
            </a:endParaRPr>
          </a:p>
        </p:txBody>
      </p:sp>
    </p:spTree>
    <p:extLst>
      <p:ext uri="{BB962C8B-B14F-4D97-AF65-F5344CB8AC3E}">
        <p14:creationId xmlns:p14="http://schemas.microsoft.com/office/powerpoint/2010/main" val="37563436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0D126C-E59D-FEBF-D6C9-F0A550EA5F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6D2750-4E02-00F4-0E88-1993099D5B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B48A011-00DC-4736-13F7-67EEBFE5B222}"/>
              </a:ext>
            </a:extLst>
          </p:cNvPr>
          <p:cNvSpPr>
            <a:spLocks noGrp="1"/>
          </p:cNvSpPr>
          <p:nvPr>
            <p:ph type="body" idx="1"/>
          </p:nvPr>
        </p:nvSpPr>
        <p:spPr/>
        <p:txBody>
          <a:bodyPr/>
          <a:lstStyle/>
          <a:p>
            <a:endParaRPr lang="sv-SE"/>
          </a:p>
        </p:txBody>
      </p:sp>
      <p:sp>
        <p:nvSpPr>
          <p:cNvPr id="4" name="Header Placeholder 3">
            <a:extLst>
              <a:ext uri="{FF2B5EF4-FFF2-40B4-BE49-F238E27FC236}">
                <a16:creationId xmlns:a16="http://schemas.microsoft.com/office/drawing/2014/main" id="{3964AEEE-BF03-A552-E778-0639683BA888}"/>
              </a:ext>
            </a:extLst>
          </p:cNvPr>
          <p:cNvSpPr>
            <a:spLocks noGrp="1"/>
          </p:cNvSpPr>
          <p:nvPr>
            <p:ph type="hdr" sz="quarter"/>
          </p:nvPr>
        </p:nvSpPr>
        <p:spPr/>
        <p:txBody>
          <a:bodyPr/>
          <a:lstStyle/>
          <a:p>
            <a:endParaRPr lang="sv-SE"/>
          </a:p>
        </p:txBody>
      </p:sp>
      <p:sp>
        <p:nvSpPr>
          <p:cNvPr id="5" name="Date Placeholder 4">
            <a:extLst>
              <a:ext uri="{FF2B5EF4-FFF2-40B4-BE49-F238E27FC236}">
                <a16:creationId xmlns:a16="http://schemas.microsoft.com/office/drawing/2014/main" id="{8F3168B8-2285-BC46-FD66-76726DBF694F}"/>
              </a:ext>
            </a:extLst>
          </p:cNvPr>
          <p:cNvSpPr>
            <a:spLocks noGrp="1"/>
          </p:cNvSpPr>
          <p:nvPr>
            <p:ph type="dt" idx="1"/>
          </p:nvPr>
        </p:nvSpPr>
        <p:spPr/>
        <p:txBody>
          <a:bodyPr/>
          <a:lstStyle/>
          <a:p>
            <a:fld id="{DB7DCE31-8879-4340-9775-03C4F78E5AC6}" type="datetime1">
              <a:rPr lang="sv-SE" smtClean="0"/>
              <a:t>2026-03-27</a:t>
            </a:fld>
            <a:endParaRPr lang="sv-SE"/>
          </a:p>
        </p:txBody>
      </p:sp>
      <p:sp>
        <p:nvSpPr>
          <p:cNvPr id="6" name="Footer Placeholder 5">
            <a:extLst>
              <a:ext uri="{FF2B5EF4-FFF2-40B4-BE49-F238E27FC236}">
                <a16:creationId xmlns:a16="http://schemas.microsoft.com/office/drawing/2014/main" id="{95D75FB5-43E7-34FC-1D21-B1C24E7BD27D}"/>
              </a:ext>
            </a:extLst>
          </p:cNvPr>
          <p:cNvSpPr>
            <a:spLocks noGrp="1"/>
          </p:cNvSpPr>
          <p:nvPr>
            <p:ph type="ftr" sz="quarter" idx="4"/>
          </p:nvPr>
        </p:nvSpPr>
        <p:spPr/>
        <p:txBody>
          <a:bodyPr/>
          <a:lstStyle/>
          <a:p>
            <a:endParaRPr lang="sv-SE"/>
          </a:p>
        </p:txBody>
      </p:sp>
      <p:sp>
        <p:nvSpPr>
          <p:cNvPr id="7" name="Slide Number Placeholder 6">
            <a:extLst>
              <a:ext uri="{FF2B5EF4-FFF2-40B4-BE49-F238E27FC236}">
                <a16:creationId xmlns:a16="http://schemas.microsoft.com/office/drawing/2014/main" id="{C3FE5355-739B-2593-E87F-1A3C48D1DDFC}"/>
              </a:ext>
            </a:extLst>
          </p:cNvPr>
          <p:cNvSpPr>
            <a:spLocks noGrp="1"/>
          </p:cNvSpPr>
          <p:nvPr>
            <p:ph type="sldNum" sz="quarter" idx="5"/>
          </p:nvPr>
        </p:nvSpPr>
        <p:spPr/>
        <p:txBody>
          <a:bodyPr/>
          <a:lstStyle/>
          <a:p>
            <a:fld id="{DD16377A-0A78-E044-A3A1-CA5CF8DD6905}" type="slidenum">
              <a:rPr lang="sv-SE" smtClean="0"/>
              <a:t>23</a:t>
            </a:fld>
            <a:endParaRPr lang="sv-SE"/>
          </a:p>
        </p:txBody>
      </p:sp>
    </p:spTree>
    <p:extLst>
      <p:ext uri="{BB962C8B-B14F-4D97-AF65-F5344CB8AC3E}">
        <p14:creationId xmlns:p14="http://schemas.microsoft.com/office/powerpoint/2010/main" val="9915869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5D4B6D-E75C-3BCC-788E-9273C1FC19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9B9CD5-F3C7-79F3-A0FA-94223E1707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799AC1C-292B-76D2-2E6D-CCA184069240}"/>
              </a:ext>
            </a:extLst>
          </p:cNvPr>
          <p:cNvSpPr>
            <a:spLocks noGrp="1"/>
          </p:cNvSpPr>
          <p:nvPr>
            <p:ph type="body" idx="1"/>
          </p:nvPr>
        </p:nvSpPr>
        <p:spPr/>
        <p:txBody>
          <a:bodyPr/>
          <a:lstStyle/>
          <a:p>
            <a:endParaRPr lang="sv-SE"/>
          </a:p>
        </p:txBody>
      </p:sp>
      <p:sp>
        <p:nvSpPr>
          <p:cNvPr id="4" name="Header Placeholder 3">
            <a:extLst>
              <a:ext uri="{FF2B5EF4-FFF2-40B4-BE49-F238E27FC236}">
                <a16:creationId xmlns:a16="http://schemas.microsoft.com/office/drawing/2014/main" id="{8E5EE1CC-1D43-1284-90E5-7810ACE1154F}"/>
              </a:ext>
            </a:extLst>
          </p:cNvPr>
          <p:cNvSpPr>
            <a:spLocks noGrp="1"/>
          </p:cNvSpPr>
          <p:nvPr>
            <p:ph type="hdr" sz="quarter"/>
          </p:nvPr>
        </p:nvSpPr>
        <p:spPr/>
        <p:txBody>
          <a:bodyPr/>
          <a:lstStyle/>
          <a:p>
            <a:endParaRPr lang="sv-SE"/>
          </a:p>
        </p:txBody>
      </p:sp>
      <p:sp>
        <p:nvSpPr>
          <p:cNvPr id="5" name="Date Placeholder 4">
            <a:extLst>
              <a:ext uri="{FF2B5EF4-FFF2-40B4-BE49-F238E27FC236}">
                <a16:creationId xmlns:a16="http://schemas.microsoft.com/office/drawing/2014/main" id="{570D294A-D2E3-73CC-E596-49C27A8867AE}"/>
              </a:ext>
            </a:extLst>
          </p:cNvPr>
          <p:cNvSpPr>
            <a:spLocks noGrp="1"/>
          </p:cNvSpPr>
          <p:nvPr>
            <p:ph type="dt" idx="1"/>
          </p:nvPr>
        </p:nvSpPr>
        <p:spPr/>
        <p:txBody>
          <a:bodyPr/>
          <a:lstStyle/>
          <a:p>
            <a:fld id="{E2F09A99-4732-4B20-B043-C1B70838C55C}" type="datetime1">
              <a:rPr lang="sv-SE" smtClean="0"/>
              <a:t>2026-03-27</a:t>
            </a:fld>
            <a:endParaRPr lang="sv-SE"/>
          </a:p>
        </p:txBody>
      </p:sp>
      <p:sp>
        <p:nvSpPr>
          <p:cNvPr id="6" name="Footer Placeholder 5">
            <a:extLst>
              <a:ext uri="{FF2B5EF4-FFF2-40B4-BE49-F238E27FC236}">
                <a16:creationId xmlns:a16="http://schemas.microsoft.com/office/drawing/2014/main" id="{88032AEA-0328-9D75-C328-A492E23C9255}"/>
              </a:ext>
            </a:extLst>
          </p:cNvPr>
          <p:cNvSpPr>
            <a:spLocks noGrp="1"/>
          </p:cNvSpPr>
          <p:nvPr>
            <p:ph type="ftr" sz="quarter" idx="4"/>
          </p:nvPr>
        </p:nvSpPr>
        <p:spPr/>
        <p:txBody>
          <a:bodyPr/>
          <a:lstStyle/>
          <a:p>
            <a:endParaRPr lang="sv-SE"/>
          </a:p>
        </p:txBody>
      </p:sp>
      <p:sp>
        <p:nvSpPr>
          <p:cNvPr id="7" name="Slide Number Placeholder 6">
            <a:extLst>
              <a:ext uri="{FF2B5EF4-FFF2-40B4-BE49-F238E27FC236}">
                <a16:creationId xmlns:a16="http://schemas.microsoft.com/office/drawing/2014/main" id="{ACE9CDB2-711A-A05B-0048-399966C61B7F}"/>
              </a:ext>
            </a:extLst>
          </p:cNvPr>
          <p:cNvSpPr>
            <a:spLocks noGrp="1"/>
          </p:cNvSpPr>
          <p:nvPr>
            <p:ph type="sldNum" sz="quarter" idx="5"/>
          </p:nvPr>
        </p:nvSpPr>
        <p:spPr/>
        <p:txBody>
          <a:bodyPr/>
          <a:lstStyle/>
          <a:p>
            <a:fld id="{DD16377A-0A78-E044-A3A1-CA5CF8DD6905}" type="slidenum">
              <a:rPr lang="sv-SE" smtClean="0"/>
              <a:t>24</a:t>
            </a:fld>
            <a:endParaRPr lang="sv-SE"/>
          </a:p>
        </p:txBody>
      </p:sp>
    </p:spTree>
    <p:extLst>
      <p:ext uri="{BB962C8B-B14F-4D97-AF65-F5344CB8AC3E}">
        <p14:creationId xmlns:p14="http://schemas.microsoft.com/office/powerpoint/2010/main" val="22685177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sv-SE"/>
          </a:p>
        </p:txBody>
      </p:sp>
      <p:sp>
        <p:nvSpPr>
          <p:cNvPr id="4" name="Header Placeholder 3"/>
          <p:cNvSpPr>
            <a:spLocks noGrp="1"/>
          </p:cNvSpPr>
          <p:nvPr>
            <p:ph type="hdr" sz="quarter"/>
          </p:nvPr>
        </p:nvSpPr>
        <p:spPr/>
        <p:txBody>
          <a:bodyPr/>
          <a:lstStyle/>
          <a:p>
            <a:endParaRPr lang="sv-SE"/>
          </a:p>
        </p:txBody>
      </p:sp>
      <p:sp>
        <p:nvSpPr>
          <p:cNvPr id="5" name="Date Placeholder 4"/>
          <p:cNvSpPr>
            <a:spLocks noGrp="1"/>
          </p:cNvSpPr>
          <p:nvPr>
            <p:ph type="dt" idx="1"/>
          </p:nvPr>
        </p:nvSpPr>
        <p:spPr/>
        <p:txBody>
          <a:bodyPr/>
          <a:lstStyle/>
          <a:p>
            <a:fld id="{E5CAF22C-48B7-483D-91B7-C77D6594F0AB}" type="datetime1">
              <a:rPr lang="sv-SE" smtClean="0"/>
              <a:t>2026-03-27</a:t>
            </a:fld>
            <a:endParaRPr lang="sv-SE"/>
          </a:p>
        </p:txBody>
      </p:sp>
      <p:sp>
        <p:nvSpPr>
          <p:cNvPr id="6" name="Footer Placeholder 5"/>
          <p:cNvSpPr>
            <a:spLocks noGrp="1"/>
          </p:cNvSpPr>
          <p:nvPr>
            <p:ph type="ftr" sz="quarter" idx="4"/>
          </p:nvPr>
        </p:nvSpPr>
        <p:spPr/>
        <p:txBody>
          <a:bodyPr/>
          <a:lstStyle/>
          <a:p>
            <a:endParaRPr lang="sv-SE"/>
          </a:p>
        </p:txBody>
      </p:sp>
      <p:sp>
        <p:nvSpPr>
          <p:cNvPr id="7" name="Slide Number Placeholder 6"/>
          <p:cNvSpPr>
            <a:spLocks noGrp="1"/>
          </p:cNvSpPr>
          <p:nvPr>
            <p:ph type="sldNum" sz="quarter" idx="5"/>
          </p:nvPr>
        </p:nvSpPr>
        <p:spPr/>
        <p:txBody>
          <a:bodyPr/>
          <a:lstStyle/>
          <a:p>
            <a:fld id="{DD16377A-0A78-E044-A3A1-CA5CF8DD6905}" type="slidenum">
              <a:rPr lang="sv-SE" smtClean="0"/>
              <a:t>26</a:t>
            </a:fld>
            <a:endParaRPr lang="sv-SE"/>
          </a:p>
        </p:txBody>
      </p:sp>
    </p:spTree>
    <p:extLst>
      <p:ext uri="{BB962C8B-B14F-4D97-AF65-F5344CB8AC3E}">
        <p14:creationId xmlns:p14="http://schemas.microsoft.com/office/powerpoint/2010/main" val="5621266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65AA44-8BB3-D613-8A37-970D03073E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5B0ED7-AEF4-DDD8-294F-BD3AAC891DF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8CE462-A077-CB2C-D979-FE0D22A7FBD5}"/>
              </a:ext>
            </a:extLst>
          </p:cNvPr>
          <p:cNvSpPr>
            <a:spLocks noGrp="1"/>
          </p:cNvSpPr>
          <p:nvPr>
            <p:ph type="body" idx="1"/>
          </p:nvPr>
        </p:nvSpPr>
        <p:spPr/>
        <p:txBody>
          <a:bodyPr/>
          <a:lstStyle/>
          <a:p>
            <a:endParaRPr lang="sv-SE"/>
          </a:p>
        </p:txBody>
      </p:sp>
      <p:sp>
        <p:nvSpPr>
          <p:cNvPr id="4" name="Header Placeholder 3">
            <a:extLst>
              <a:ext uri="{FF2B5EF4-FFF2-40B4-BE49-F238E27FC236}">
                <a16:creationId xmlns:a16="http://schemas.microsoft.com/office/drawing/2014/main" id="{27C92C23-824E-0914-E6C5-B4865E5572A0}"/>
              </a:ext>
            </a:extLst>
          </p:cNvPr>
          <p:cNvSpPr>
            <a:spLocks noGrp="1"/>
          </p:cNvSpPr>
          <p:nvPr>
            <p:ph type="hdr" sz="quarter"/>
          </p:nvPr>
        </p:nvSpPr>
        <p:spPr/>
        <p:txBody>
          <a:bodyPr/>
          <a:lstStyle/>
          <a:p>
            <a:endParaRPr lang="sv-SE"/>
          </a:p>
        </p:txBody>
      </p:sp>
      <p:sp>
        <p:nvSpPr>
          <p:cNvPr id="5" name="Date Placeholder 4">
            <a:extLst>
              <a:ext uri="{FF2B5EF4-FFF2-40B4-BE49-F238E27FC236}">
                <a16:creationId xmlns:a16="http://schemas.microsoft.com/office/drawing/2014/main" id="{0C64DA8E-6D54-8F6D-D266-4358A3AE64A8}"/>
              </a:ext>
            </a:extLst>
          </p:cNvPr>
          <p:cNvSpPr>
            <a:spLocks noGrp="1"/>
          </p:cNvSpPr>
          <p:nvPr>
            <p:ph type="dt" idx="1"/>
          </p:nvPr>
        </p:nvSpPr>
        <p:spPr/>
        <p:txBody>
          <a:bodyPr/>
          <a:lstStyle/>
          <a:p>
            <a:fld id="{D999026F-1735-4BAA-9820-5DD67BE7E9E1}" type="datetime1">
              <a:rPr lang="sv-SE" smtClean="0"/>
              <a:t>2026-03-27</a:t>
            </a:fld>
            <a:endParaRPr lang="sv-SE"/>
          </a:p>
        </p:txBody>
      </p:sp>
      <p:sp>
        <p:nvSpPr>
          <p:cNvPr id="6" name="Footer Placeholder 5">
            <a:extLst>
              <a:ext uri="{FF2B5EF4-FFF2-40B4-BE49-F238E27FC236}">
                <a16:creationId xmlns:a16="http://schemas.microsoft.com/office/drawing/2014/main" id="{3938E171-CC57-1DDD-058B-F72FE5E32FE3}"/>
              </a:ext>
            </a:extLst>
          </p:cNvPr>
          <p:cNvSpPr>
            <a:spLocks noGrp="1"/>
          </p:cNvSpPr>
          <p:nvPr>
            <p:ph type="ftr" sz="quarter" idx="4"/>
          </p:nvPr>
        </p:nvSpPr>
        <p:spPr/>
        <p:txBody>
          <a:bodyPr/>
          <a:lstStyle/>
          <a:p>
            <a:endParaRPr lang="sv-SE"/>
          </a:p>
        </p:txBody>
      </p:sp>
      <p:sp>
        <p:nvSpPr>
          <p:cNvPr id="7" name="Slide Number Placeholder 6">
            <a:extLst>
              <a:ext uri="{FF2B5EF4-FFF2-40B4-BE49-F238E27FC236}">
                <a16:creationId xmlns:a16="http://schemas.microsoft.com/office/drawing/2014/main" id="{B93DCB4E-6B0B-9518-3497-D0D4B1AE7AFE}"/>
              </a:ext>
            </a:extLst>
          </p:cNvPr>
          <p:cNvSpPr>
            <a:spLocks noGrp="1"/>
          </p:cNvSpPr>
          <p:nvPr>
            <p:ph type="sldNum" sz="quarter" idx="5"/>
          </p:nvPr>
        </p:nvSpPr>
        <p:spPr/>
        <p:txBody>
          <a:bodyPr/>
          <a:lstStyle/>
          <a:p>
            <a:fld id="{DD16377A-0A78-E044-A3A1-CA5CF8DD6905}" type="slidenum">
              <a:rPr lang="sv-SE" smtClean="0"/>
              <a:t>27</a:t>
            </a:fld>
            <a:endParaRPr lang="sv-SE"/>
          </a:p>
        </p:txBody>
      </p:sp>
    </p:spTree>
    <p:extLst>
      <p:ext uri="{BB962C8B-B14F-4D97-AF65-F5344CB8AC3E}">
        <p14:creationId xmlns:p14="http://schemas.microsoft.com/office/powerpoint/2010/main" val="19847350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txBody>
          <a:bodyPr/>
          <a:lstStyle/>
          <a:p>
            <a:endParaRPr lang="en-GB"/>
          </a:p>
        </p:txBody>
      </p:sp>
      <p:sp>
        <p:nvSpPr>
          <p:cNvPr id="3" name="Platshållare för anteckningar 2"/>
          <p:cNvSpPr>
            <a:spLocks noGrp="1"/>
          </p:cNvSpPr>
          <p:nvPr>
            <p:ph type="body" idx="1"/>
          </p:nvPr>
        </p:nvSpPr>
        <p:spPr/>
        <p:txBody>
          <a:bodyPr/>
          <a:lstStyle/>
          <a:p>
            <a:endParaRPr lang="en-GB"/>
          </a:p>
        </p:txBody>
      </p:sp>
      <p:sp>
        <p:nvSpPr>
          <p:cNvPr id="4" name="Platshållare för sidhuvud 3"/>
          <p:cNvSpPr>
            <a:spLocks noGrp="1"/>
          </p:cNvSpPr>
          <p:nvPr>
            <p:ph type="hdr" sz="quarter"/>
          </p:nvPr>
        </p:nvSpPr>
        <p:spPr/>
        <p:txBody>
          <a:bodyPr/>
          <a:lstStyle/>
          <a:p>
            <a:endParaRPr lang="sv-SE"/>
          </a:p>
        </p:txBody>
      </p:sp>
      <p:sp>
        <p:nvSpPr>
          <p:cNvPr id="5" name="Platshållare för datum 4"/>
          <p:cNvSpPr>
            <a:spLocks noGrp="1"/>
          </p:cNvSpPr>
          <p:nvPr>
            <p:ph type="dt" idx="1"/>
          </p:nvPr>
        </p:nvSpPr>
        <p:spPr/>
        <p:txBody>
          <a:bodyPr/>
          <a:lstStyle/>
          <a:p>
            <a:fld id="{0687C2A6-E7DE-4F38-B58D-62DD3143A941}" type="datetime1">
              <a:rPr lang="sv-SE" smtClean="0"/>
              <a:t>2026-03-27</a:t>
            </a:fld>
            <a:endParaRPr lang="sv-SE"/>
          </a:p>
        </p:txBody>
      </p:sp>
      <p:sp>
        <p:nvSpPr>
          <p:cNvPr id="6" name="Platshållare för sidfot 5"/>
          <p:cNvSpPr>
            <a:spLocks noGrp="1"/>
          </p:cNvSpPr>
          <p:nvPr>
            <p:ph type="ftr" sz="quarter" idx="4"/>
          </p:nvPr>
        </p:nvSpPr>
        <p:spPr/>
        <p:txBody>
          <a:bodyPr/>
          <a:lstStyle/>
          <a:p>
            <a:endParaRPr lang="sv-SE"/>
          </a:p>
        </p:txBody>
      </p:sp>
      <p:sp>
        <p:nvSpPr>
          <p:cNvPr id="7" name="Platshållare för bildnummer 6"/>
          <p:cNvSpPr>
            <a:spLocks noGrp="1"/>
          </p:cNvSpPr>
          <p:nvPr>
            <p:ph type="sldNum" sz="quarter" idx="5"/>
          </p:nvPr>
        </p:nvSpPr>
        <p:spPr/>
        <p:txBody>
          <a:bodyPr/>
          <a:lstStyle/>
          <a:p>
            <a:fld id="{DD16377A-0A78-E044-A3A1-CA5CF8DD6905}" type="slidenum">
              <a:rPr lang="en-GB" smtClean="0"/>
              <a:t>29</a:t>
            </a:fld>
            <a:endParaRPr lang="en-GB"/>
          </a:p>
        </p:txBody>
      </p:sp>
    </p:spTree>
    <p:extLst>
      <p:ext uri="{BB962C8B-B14F-4D97-AF65-F5344CB8AC3E}">
        <p14:creationId xmlns:p14="http://schemas.microsoft.com/office/powerpoint/2010/main" val="34518388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txBody>
          <a:bodyPr/>
          <a:lstStyle/>
          <a:p>
            <a:endParaRPr lang="en-GB"/>
          </a:p>
        </p:txBody>
      </p:sp>
      <p:sp>
        <p:nvSpPr>
          <p:cNvPr id="3" name="Platshållare för anteckningar 2"/>
          <p:cNvSpPr>
            <a:spLocks noGrp="1"/>
          </p:cNvSpPr>
          <p:nvPr>
            <p:ph type="body" idx="1"/>
          </p:nvPr>
        </p:nvSpPr>
        <p:spPr/>
        <p:txBody>
          <a:bodyPr/>
          <a:lstStyle/>
          <a:p>
            <a:r>
              <a:rPr lang="sv-SE" b="1"/>
              <a:t>#06 </a:t>
            </a:r>
            <a:r>
              <a:rPr lang="sv-SE"/>
              <a:t>– Changes </a:t>
            </a:r>
            <a:r>
              <a:rPr lang="sv-SE" err="1"/>
              <a:t>made</a:t>
            </a:r>
            <a:r>
              <a:rPr lang="sv-SE"/>
              <a:t> in pacs.008 to be </a:t>
            </a:r>
            <a:r>
              <a:rPr lang="sv-SE" err="1"/>
              <a:t>aligned</a:t>
            </a:r>
            <a:r>
              <a:rPr lang="sv-SE"/>
              <a:t> with pain.001 under </a:t>
            </a:r>
            <a:r>
              <a:rPr lang="sv-SE" err="1"/>
              <a:t>Structured</a:t>
            </a:r>
            <a:r>
              <a:rPr lang="sv-SE"/>
              <a:t> </a:t>
            </a:r>
            <a:r>
              <a:rPr lang="sv-SE" err="1"/>
              <a:t>Remittance</a:t>
            </a:r>
            <a:r>
              <a:rPr lang="sv-SE"/>
              <a:t> information and present </a:t>
            </a:r>
            <a:r>
              <a:rPr lang="sv-SE" err="1"/>
              <a:t>more</a:t>
            </a:r>
            <a:r>
              <a:rPr lang="sv-SE"/>
              <a:t> in the </a:t>
            </a:r>
            <a:r>
              <a:rPr lang="sv-SE" err="1"/>
              <a:t>pdf</a:t>
            </a:r>
            <a:endParaRPr lang="sv-SE"/>
          </a:p>
          <a:p>
            <a:r>
              <a:rPr lang="sv-SE" b="1"/>
              <a:t>#07 </a:t>
            </a:r>
            <a:r>
              <a:rPr lang="sv-SE"/>
              <a:t>– Sign the Legal opinion </a:t>
            </a:r>
            <a:r>
              <a:rPr lang="sv-SE" err="1"/>
              <a:t>can</a:t>
            </a:r>
            <a:r>
              <a:rPr lang="sv-SE"/>
              <a:t> </a:t>
            </a:r>
            <a:r>
              <a:rPr lang="sv-SE" err="1"/>
              <a:t>also</a:t>
            </a:r>
            <a:r>
              <a:rPr lang="sv-SE"/>
              <a:t> be a </a:t>
            </a:r>
            <a:r>
              <a:rPr lang="sv-SE" err="1"/>
              <a:t>Cheif</a:t>
            </a:r>
            <a:r>
              <a:rPr lang="sv-SE"/>
              <a:t> </a:t>
            </a:r>
            <a:r>
              <a:rPr lang="sv-SE" err="1"/>
              <a:t>complinace</a:t>
            </a:r>
            <a:r>
              <a:rPr lang="sv-SE"/>
              <a:t> </a:t>
            </a:r>
            <a:r>
              <a:rPr lang="sv-SE" err="1"/>
              <a:t>office</a:t>
            </a:r>
            <a:r>
              <a:rPr lang="sv-SE"/>
              <a:t> – </a:t>
            </a:r>
            <a:r>
              <a:rPr lang="sv-SE" err="1"/>
              <a:t>don’t</a:t>
            </a:r>
            <a:r>
              <a:rPr lang="sv-SE"/>
              <a:t>  </a:t>
            </a:r>
            <a:r>
              <a:rPr lang="sv-SE" err="1"/>
              <a:t>have</a:t>
            </a:r>
            <a:r>
              <a:rPr lang="sv-SE"/>
              <a:t> to be an external legal </a:t>
            </a:r>
            <a:r>
              <a:rPr lang="sv-SE" err="1"/>
              <a:t>councel</a:t>
            </a:r>
            <a:endParaRPr lang="sv-SE"/>
          </a:p>
          <a:p>
            <a:r>
              <a:rPr lang="sv-SE" b="1"/>
              <a:t>#09 </a:t>
            </a:r>
            <a:r>
              <a:rPr lang="sv-SE"/>
              <a:t>– </a:t>
            </a:r>
            <a:r>
              <a:rPr lang="sv-SE" err="1"/>
              <a:t>Earlier</a:t>
            </a:r>
            <a:r>
              <a:rPr lang="sv-SE"/>
              <a:t> decision ”no legal </a:t>
            </a:r>
            <a:r>
              <a:rPr lang="sv-SE" err="1"/>
              <a:t>requirements</a:t>
            </a:r>
            <a:r>
              <a:rPr lang="sv-SE"/>
              <a:t> in the Nordics as in SEPA, SEPA Regulation” and c</a:t>
            </a:r>
            <a:r>
              <a:rPr lang="en-GB" sz="1200" b="0" i="0" u="none" strike="noStrike" kern="1200" baseline="0" err="1">
                <a:solidFill>
                  <a:schemeClr val="tx1"/>
                </a:solidFill>
                <a:latin typeface="+mn-lt"/>
                <a:ea typeface="+mn-ea"/>
                <a:cs typeface="+mn-cs"/>
              </a:rPr>
              <a:t>ould</a:t>
            </a:r>
            <a:r>
              <a:rPr lang="en-GB" sz="1200" b="0" i="0" u="none" strike="noStrike" kern="1200" baseline="0">
                <a:solidFill>
                  <a:schemeClr val="tx1"/>
                </a:solidFill>
                <a:latin typeface="+mn-lt"/>
                <a:ea typeface="+mn-ea"/>
                <a:cs typeface="+mn-cs"/>
              </a:rPr>
              <a:t> conflict with the principle of proportional access to payment systems and could create a risk of excluding potential participants that currently participate in national domestic clearing when migrating to the NPC schemes. These circumstances to have changed and market progress remains slow, still no readiness. </a:t>
            </a:r>
          </a:p>
          <a:p>
            <a:pPr marL="0" marR="0" lvl="0" indent="0" algn="l" defTabSz="457200" rtl="0" eaLnBrk="1" fontAlgn="auto" latinLnBrk="0" hangingPunct="1">
              <a:lnSpc>
                <a:spcPct val="100000"/>
              </a:lnSpc>
              <a:spcBef>
                <a:spcPts val="0"/>
              </a:spcBef>
              <a:spcAft>
                <a:spcPts val="0"/>
              </a:spcAft>
              <a:buClrTx/>
              <a:buSzTx/>
              <a:buFontTx/>
              <a:buNone/>
              <a:tabLst/>
              <a:defRPr/>
            </a:pPr>
            <a:r>
              <a:rPr lang="en-GB" b="1"/>
              <a:t>#10 </a:t>
            </a:r>
            <a:r>
              <a:rPr lang="en-GB"/>
              <a:t>– </a:t>
            </a:r>
            <a:r>
              <a:rPr lang="en-GB" sz="1200" b="0" i="0" u="none" strike="noStrike" kern="1200" baseline="0">
                <a:solidFill>
                  <a:schemeClr val="tx1"/>
                </a:solidFill>
                <a:latin typeface="+mn-lt"/>
                <a:ea typeface="+mn-ea"/>
                <a:cs typeface="+mn-cs"/>
              </a:rPr>
              <a:t>Allowing a short name for Original Message Name Identification “pacs.008” (pacs.008.001.08) </a:t>
            </a:r>
          </a:p>
        </p:txBody>
      </p:sp>
      <p:sp>
        <p:nvSpPr>
          <p:cNvPr id="4" name="Platshållare för sidhuvud 3"/>
          <p:cNvSpPr>
            <a:spLocks noGrp="1"/>
          </p:cNvSpPr>
          <p:nvPr>
            <p:ph type="hdr" sz="quarter"/>
          </p:nvPr>
        </p:nvSpPr>
        <p:spPr/>
        <p:txBody>
          <a:bodyPr/>
          <a:lstStyle/>
          <a:p>
            <a:endParaRPr lang="sv-SE"/>
          </a:p>
        </p:txBody>
      </p:sp>
      <p:sp>
        <p:nvSpPr>
          <p:cNvPr id="5" name="Platshållare för datum 4"/>
          <p:cNvSpPr>
            <a:spLocks noGrp="1"/>
          </p:cNvSpPr>
          <p:nvPr>
            <p:ph type="dt" idx="1"/>
          </p:nvPr>
        </p:nvSpPr>
        <p:spPr/>
        <p:txBody>
          <a:bodyPr/>
          <a:lstStyle/>
          <a:p>
            <a:fld id="{17EE7932-9818-44AC-A68D-A189E57306BC}" type="datetime1">
              <a:rPr lang="sv-SE" smtClean="0"/>
              <a:t>2026-03-27</a:t>
            </a:fld>
            <a:endParaRPr lang="sv-SE"/>
          </a:p>
        </p:txBody>
      </p:sp>
      <p:sp>
        <p:nvSpPr>
          <p:cNvPr id="6" name="Platshållare för sidfot 5"/>
          <p:cNvSpPr>
            <a:spLocks noGrp="1"/>
          </p:cNvSpPr>
          <p:nvPr>
            <p:ph type="ftr" sz="quarter" idx="4"/>
          </p:nvPr>
        </p:nvSpPr>
        <p:spPr/>
        <p:txBody>
          <a:bodyPr/>
          <a:lstStyle/>
          <a:p>
            <a:endParaRPr lang="sv-SE"/>
          </a:p>
        </p:txBody>
      </p:sp>
      <p:sp>
        <p:nvSpPr>
          <p:cNvPr id="7" name="Platshållare för bildnummer 6"/>
          <p:cNvSpPr>
            <a:spLocks noGrp="1"/>
          </p:cNvSpPr>
          <p:nvPr>
            <p:ph type="sldNum" sz="quarter" idx="5"/>
          </p:nvPr>
        </p:nvSpPr>
        <p:spPr/>
        <p:txBody>
          <a:bodyPr/>
          <a:lstStyle/>
          <a:p>
            <a:fld id="{DD16377A-0A78-E044-A3A1-CA5CF8DD6905}" type="slidenum">
              <a:rPr lang="en-GB" smtClean="0"/>
              <a:t>31</a:t>
            </a:fld>
            <a:endParaRPr lang="en-GB"/>
          </a:p>
        </p:txBody>
      </p:sp>
    </p:spTree>
    <p:extLst>
      <p:ext uri="{BB962C8B-B14F-4D97-AF65-F5344CB8AC3E}">
        <p14:creationId xmlns:p14="http://schemas.microsoft.com/office/powerpoint/2010/main" val="36538137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a:t>#06 </a:t>
            </a:r>
            <a:r>
              <a:rPr lang="sv-SE"/>
              <a:t>– ISO </a:t>
            </a:r>
            <a:r>
              <a:rPr lang="sv-SE" err="1"/>
              <a:t>newer</a:t>
            </a:r>
            <a:r>
              <a:rPr lang="sv-SE"/>
              <a:t> </a:t>
            </a:r>
            <a:r>
              <a:rPr lang="sv-SE" err="1"/>
              <a:t>verison</a:t>
            </a:r>
            <a:r>
              <a:rPr lang="sv-SE"/>
              <a:t> migration – </a:t>
            </a:r>
            <a:r>
              <a:rPr lang="en-GB" sz="1200" b="0" i="0" u="none" strike="noStrike" kern="1200" baseline="0">
                <a:solidFill>
                  <a:schemeClr val="tx1"/>
                </a:solidFill>
                <a:latin typeface="+mn-lt"/>
                <a:ea typeface="+mn-ea"/>
                <a:cs typeface="+mn-cs"/>
              </a:rPr>
              <a:t>latest available ISO 20022 version at that future point in time</a:t>
            </a:r>
            <a:r>
              <a:rPr lang="sv-SE"/>
              <a:t> – </a:t>
            </a:r>
            <a:r>
              <a:rPr lang="sv-SE" err="1"/>
              <a:t>may</a:t>
            </a:r>
            <a:r>
              <a:rPr lang="sv-SE"/>
              <a:t> </a:t>
            </a:r>
            <a:r>
              <a:rPr lang="sv-SE" err="1"/>
              <a:t>lead</a:t>
            </a:r>
            <a:r>
              <a:rPr lang="sv-SE"/>
              <a:t> to that the CM is happening </a:t>
            </a:r>
            <a:r>
              <a:rPr lang="sv-SE" err="1"/>
              <a:t>eariler</a:t>
            </a:r>
            <a:r>
              <a:rPr lang="sv-SE"/>
              <a:t> to </a:t>
            </a:r>
            <a:r>
              <a:rPr lang="sv-SE" err="1"/>
              <a:t>give</a:t>
            </a:r>
            <a:r>
              <a:rPr lang="sv-SE"/>
              <a:t> the market </a:t>
            </a:r>
            <a:r>
              <a:rPr lang="sv-SE" err="1"/>
              <a:t>more</a:t>
            </a:r>
            <a:r>
              <a:rPr lang="sv-SE"/>
              <a:t> time for the implantation. </a:t>
            </a:r>
          </a:p>
          <a:p>
            <a:r>
              <a:rPr lang="sv-SE" b="1"/>
              <a:t>#07 </a:t>
            </a:r>
            <a:r>
              <a:rPr lang="sv-SE"/>
              <a:t>– EPC </a:t>
            </a:r>
            <a:r>
              <a:rPr lang="sv-SE" err="1"/>
              <a:t>Oversight</a:t>
            </a:r>
            <a:r>
              <a:rPr lang="sv-SE"/>
              <a:t> </a:t>
            </a:r>
            <a:r>
              <a:rPr lang="sv-SE" err="1"/>
              <a:t>recommendations</a:t>
            </a:r>
            <a:r>
              <a:rPr lang="sv-SE"/>
              <a:t> to </a:t>
            </a:r>
            <a:r>
              <a:rPr lang="sv-SE" err="1"/>
              <a:t>more</a:t>
            </a:r>
            <a:r>
              <a:rPr lang="sv-SE"/>
              <a:t> </a:t>
            </a:r>
            <a:r>
              <a:rPr lang="sv-SE" err="1"/>
              <a:t>proactive</a:t>
            </a:r>
            <a:r>
              <a:rPr lang="sv-SE"/>
              <a:t> </a:t>
            </a:r>
            <a:r>
              <a:rPr lang="sv-SE" err="1"/>
              <a:t>role</a:t>
            </a:r>
            <a:r>
              <a:rPr lang="sv-SE"/>
              <a:t> in </a:t>
            </a:r>
            <a:r>
              <a:rPr lang="sv-SE" err="1"/>
              <a:t>ensuring</a:t>
            </a:r>
            <a:r>
              <a:rPr lang="sv-SE"/>
              <a:t> </a:t>
            </a:r>
            <a:r>
              <a:rPr lang="sv-SE" err="1"/>
              <a:t>compliance</a:t>
            </a:r>
            <a:r>
              <a:rPr lang="sv-SE"/>
              <a:t> of </a:t>
            </a:r>
            <a:r>
              <a:rPr lang="sv-SE" err="1"/>
              <a:t>scheme</a:t>
            </a:r>
            <a:r>
              <a:rPr lang="sv-SE"/>
              <a:t> participants. Area of attention – AOS – extra </a:t>
            </a:r>
            <a:r>
              <a:rPr lang="sv-SE" err="1"/>
              <a:t>paragraphs</a:t>
            </a:r>
            <a:r>
              <a:rPr lang="sv-SE"/>
              <a:t> in </a:t>
            </a:r>
            <a:r>
              <a:rPr lang="sv-SE" err="1"/>
              <a:t>Rulebook</a:t>
            </a:r>
            <a:r>
              <a:rPr lang="sv-SE"/>
              <a:t> – </a:t>
            </a:r>
            <a:r>
              <a:rPr lang="sv-SE" err="1"/>
              <a:t>very</a:t>
            </a:r>
            <a:r>
              <a:rPr lang="sv-SE"/>
              <a:t> </a:t>
            </a:r>
            <a:r>
              <a:rPr lang="sv-SE" err="1"/>
              <a:t>much</a:t>
            </a:r>
            <a:r>
              <a:rPr lang="sv-SE"/>
              <a:t> like how NPC </a:t>
            </a:r>
            <a:r>
              <a:rPr lang="sv-SE" err="1"/>
              <a:t>already</a:t>
            </a:r>
            <a:r>
              <a:rPr lang="sv-SE"/>
              <a:t> work </a:t>
            </a:r>
            <a:r>
              <a:rPr lang="sv-SE" err="1"/>
              <a:t>today</a:t>
            </a:r>
            <a:r>
              <a:rPr lang="sv-SE"/>
              <a:t> with AOS. </a:t>
            </a:r>
          </a:p>
          <a:p>
            <a:r>
              <a:rPr lang="sv-SE" b="1"/>
              <a:t>#10 </a:t>
            </a:r>
            <a:r>
              <a:rPr lang="sv-SE"/>
              <a:t>- </a:t>
            </a:r>
            <a:r>
              <a:rPr lang="en-GB" sz="1200" b="0" i="0" u="none" strike="noStrike" kern="1200" baseline="0">
                <a:solidFill>
                  <a:schemeClr val="tx1"/>
                </a:solidFill>
                <a:latin typeface="+mn-lt"/>
                <a:ea typeface="+mn-ea"/>
                <a:cs typeface="+mn-cs"/>
              </a:rPr>
              <a:t>Merchant-Beneficiary initiated “repayment” feature under the SCT Inst scheme being similar to what is known under e.g., the payment card schemes </a:t>
            </a:r>
            <a:r>
              <a:rPr lang="sv-SE" sz="1200" b="0" i="0" u="none" strike="noStrike" kern="1200" baseline="0">
                <a:solidFill>
                  <a:schemeClr val="tx1"/>
                </a:solidFill>
                <a:latin typeface="+mn-lt"/>
                <a:ea typeface="+mn-ea"/>
                <a:cs typeface="+mn-cs"/>
              </a:rPr>
              <a:t>(</a:t>
            </a:r>
            <a:r>
              <a:rPr lang="sv-SE" sz="1200" b="0" i="0" u="none" strike="noStrike" kern="1200" baseline="0" err="1">
                <a:solidFill>
                  <a:schemeClr val="tx1"/>
                </a:solidFill>
                <a:latin typeface="+mn-lt"/>
                <a:ea typeface="+mn-ea"/>
                <a:cs typeface="+mn-cs"/>
              </a:rPr>
              <a:t>Spain</a:t>
            </a:r>
            <a:r>
              <a:rPr lang="sv-SE" sz="1200" b="0" i="0" u="none" strike="noStrike" kern="1200" baseline="0">
                <a:solidFill>
                  <a:schemeClr val="tx1"/>
                </a:solidFill>
                <a:latin typeface="+mn-lt"/>
                <a:ea typeface="+mn-ea"/>
                <a:cs typeface="+mn-cs"/>
              </a:rPr>
              <a:t> do it </a:t>
            </a:r>
            <a:r>
              <a:rPr lang="sv-SE" sz="1200" b="0" i="0" u="none" strike="noStrike" kern="1200" baseline="0" err="1">
                <a:solidFill>
                  <a:schemeClr val="tx1"/>
                </a:solidFill>
                <a:latin typeface="+mn-lt"/>
                <a:ea typeface="+mn-ea"/>
                <a:cs typeface="+mn-cs"/>
              </a:rPr>
              <a:t>already</a:t>
            </a:r>
            <a:r>
              <a:rPr lang="sv-SE" sz="1200" b="0" i="0" u="none" strike="noStrike" kern="1200" baseline="0">
                <a:solidFill>
                  <a:schemeClr val="tx1"/>
                </a:solidFill>
                <a:latin typeface="+mn-lt"/>
                <a:ea typeface="+mn-ea"/>
                <a:cs typeface="+mn-cs"/>
              </a:rPr>
              <a:t> with AOS and </a:t>
            </a:r>
            <a:r>
              <a:rPr lang="sv-SE" sz="1200" b="0" i="0" u="none" strike="noStrike" kern="1200" baseline="0" err="1">
                <a:solidFill>
                  <a:schemeClr val="tx1"/>
                </a:solidFill>
                <a:latin typeface="+mn-lt"/>
                <a:ea typeface="+mn-ea"/>
                <a:cs typeface="+mn-cs"/>
              </a:rPr>
              <a:t>can</a:t>
            </a:r>
            <a:r>
              <a:rPr lang="sv-SE" sz="1200" b="0" i="0" u="none" strike="noStrike" kern="1200" baseline="0">
                <a:solidFill>
                  <a:schemeClr val="tx1"/>
                </a:solidFill>
                <a:latin typeface="+mn-lt"/>
                <a:ea typeface="+mn-ea"/>
                <a:cs typeface="+mn-cs"/>
              </a:rPr>
              <a:t> m</a:t>
            </a:r>
            <a:r>
              <a:rPr lang="en-GB" sz="1200" b="0" i="0" u="none" strike="noStrike" kern="1200" baseline="0" err="1">
                <a:solidFill>
                  <a:schemeClr val="tx1"/>
                </a:solidFill>
                <a:latin typeface="+mn-lt"/>
                <a:ea typeface="+mn-ea"/>
                <a:cs typeface="+mn-cs"/>
              </a:rPr>
              <a:t>ake</a:t>
            </a:r>
            <a:r>
              <a:rPr lang="en-GB" sz="1200" b="0" i="0" u="none" strike="noStrike" kern="1200" baseline="0">
                <a:solidFill>
                  <a:schemeClr val="tx1"/>
                </a:solidFill>
                <a:latin typeface="+mn-lt"/>
                <a:ea typeface="+mn-ea"/>
                <a:cs typeface="+mn-cs"/>
              </a:rPr>
              <a:t> a return of funds without the Originator having to initiate first an SCT Inst Recall or a Request for Recall by the Originator (RFRO) request. This “Repayment procedure – allowing the beneficiary to return funds”. Not only for SCT POI but for all SCT Inst. Pacs.008 vs pacs.004? </a:t>
            </a:r>
          </a:p>
          <a:p>
            <a:endParaRPr lang="en-GB"/>
          </a:p>
        </p:txBody>
      </p:sp>
      <p:sp>
        <p:nvSpPr>
          <p:cNvPr id="4" name="Platshållare för sidhuvud 3"/>
          <p:cNvSpPr>
            <a:spLocks noGrp="1"/>
          </p:cNvSpPr>
          <p:nvPr>
            <p:ph type="hdr" sz="quarter"/>
          </p:nvPr>
        </p:nvSpPr>
        <p:spPr/>
        <p:txBody>
          <a:bodyPr/>
          <a:lstStyle/>
          <a:p>
            <a:endParaRPr lang="sv-SE"/>
          </a:p>
        </p:txBody>
      </p:sp>
      <p:sp>
        <p:nvSpPr>
          <p:cNvPr id="5" name="Platshållare för datum 4"/>
          <p:cNvSpPr>
            <a:spLocks noGrp="1"/>
          </p:cNvSpPr>
          <p:nvPr>
            <p:ph type="dt" idx="1"/>
          </p:nvPr>
        </p:nvSpPr>
        <p:spPr/>
        <p:txBody>
          <a:bodyPr/>
          <a:lstStyle/>
          <a:p>
            <a:fld id="{4C67A4AF-47AC-4711-B0A2-68C98CDF8A9C}" type="datetime1">
              <a:rPr lang="sv-SE" smtClean="0"/>
              <a:t>2026-03-27</a:t>
            </a:fld>
            <a:endParaRPr lang="sv-SE"/>
          </a:p>
        </p:txBody>
      </p:sp>
      <p:sp>
        <p:nvSpPr>
          <p:cNvPr id="6" name="Platshållare för sidfot 5"/>
          <p:cNvSpPr>
            <a:spLocks noGrp="1"/>
          </p:cNvSpPr>
          <p:nvPr>
            <p:ph type="ftr" sz="quarter" idx="4"/>
          </p:nvPr>
        </p:nvSpPr>
        <p:spPr/>
        <p:txBody>
          <a:bodyPr/>
          <a:lstStyle/>
          <a:p>
            <a:endParaRPr lang="sv-SE"/>
          </a:p>
        </p:txBody>
      </p:sp>
      <p:sp>
        <p:nvSpPr>
          <p:cNvPr id="7" name="Platshållare för bildnummer 6"/>
          <p:cNvSpPr>
            <a:spLocks noGrp="1"/>
          </p:cNvSpPr>
          <p:nvPr>
            <p:ph type="sldNum" sz="quarter" idx="5"/>
          </p:nvPr>
        </p:nvSpPr>
        <p:spPr/>
        <p:txBody>
          <a:bodyPr/>
          <a:lstStyle/>
          <a:p>
            <a:fld id="{DD16377A-0A78-E044-A3A1-CA5CF8DD6905}" type="slidenum">
              <a:rPr lang="en-GB" smtClean="0"/>
              <a:t>32</a:t>
            </a:fld>
            <a:endParaRPr lang="en-GB"/>
          </a:p>
        </p:txBody>
      </p:sp>
    </p:spTree>
    <p:extLst>
      <p:ext uri="{BB962C8B-B14F-4D97-AF65-F5344CB8AC3E}">
        <p14:creationId xmlns:p14="http://schemas.microsoft.com/office/powerpoint/2010/main" val="25734864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a:t>#22 </a:t>
            </a:r>
            <a:r>
              <a:rPr lang="sv-SE"/>
              <a:t>– </a:t>
            </a:r>
            <a:r>
              <a:rPr lang="sv-SE" err="1"/>
              <a:t>Effectivness</a:t>
            </a:r>
            <a:r>
              <a:rPr lang="sv-SE"/>
              <a:t> date – to be </a:t>
            </a:r>
            <a:r>
              <a:rPr lang="sv-SE" err="1"/>
              <a:t>aligned</a:t>
            </a:r>
            <a:r>
              <a:rPr lang="sv-SE"/>
              <a:t> with </a:t>
            </a:r>
            <a:r>
              <a:rPr lang="en-GB" sz="1200" b="0" i="0" u="none" strike="noStrike" kern="1200" baseline="0">
                <a:solidFill>
                  <a:schemeClr val="tx1"/>
                </a:solidFill>
                <a:latin typeface="+mn-lt"/>
                <a:ea typeface="+mn-ea"/>
                <a:cs typeface="+mn-cs"/>
              </a:rPr>
              <a:t>SWIFT standards, November ECB releases </a:t>
            </a:r>
          </a:p>
          <a:p>
            <a:r>
              <a:rPr lang="en-GB" b="1"/>
              <a:t>#27 </a:t>
            </a:r>
            <a:r>
              <a:rPr lang="en-GB"/>
              <a:t>– P</a:t>
            </a:r>
            <a:r>
              <a:rPr lang="en-GB" sz="1200" b="0" i="0" u="none" strike="noStrike" kern="1200" baseline="0">
                <a:solidFill>
                  <a:schemeClr val="tx1"/>
                </a:solidFill>
                <a:latin typeface="+mn-lt"/>
                <a:ea typeface="+mn-ea"/>
                <a:cs typeface="+mn-cs"/>
              </a:rPr>
              <a:t>ossibility for the Beneficiary to return a SCT Inst transaction after the amount is credited, allowing the use of the Return R-transaction reason “return by order of the Beneficiary” – using pacs.004.</a:t>
            </a:r>
          </a:p>
          <a:p>
            <a:r>
              <a:rPr lang="en-GB" sz="1200" b="1" i="0" u="none" strike="noStrike" kern="1200" baseline="0">
                <a:solidFill>
                  <a:schemeClr val="tx1"/>
                </a:solidFill>
                <a:latin typeface="+mn-lt"/>
                <a:ea typeface="+mn-ea"/>
                <a:cs typeface="+mn-cs"/>
              </a:rPr>
              <a:t>#35 </a:t>
            </a:r>
            <a:r>
              <a:rPr lang="en-GB" sz="1200" b="0" i="0" u="none" strike="noStrike" kern="1200" baseline="0">
                <a:solidFill>
                  <a:schemeClr val="tx1"/>
                </a:solidFill>
                <a:latin typeface="+mn-lt"/>
                <a:ea typeface="+mn-ea"/>
                <a:cs typeface="+mn-cs"/>
              </a:rPr>
              <a:t>– Recall procedure is 10 BBD for DUPL and TECH and 13 mouth for FRAD. Need more time for e.g., bulk payments. 13 to much, 15 BBD is instead suggested. </a:t>
            </a:r>
          </a:p>
          <a:p>
            <a:r>
              <a:rPr lang="en-GB" sz="1200" b="1" i="0" u="none" strike="noStrike" kern="1200" baseline="0">
                <a:solidFill>
                  <a:schemeClr val="tx1"/>
                </a:solidFill>
                <a:latin typeface="+mn-lt"/>
                <a:ea typeface="+mn-ea"/>
                <a:cs typeface="+mn-cs"/>
              </a:rPr>
              <a:t>#42 </a:t>
            </a:r>
            <a:r>
              <a:rPr lang="en-GB" sz="1200" b="0" i="0" u="none" strike="noStrike" kern="1200" baseline="0">
                <a:solidFill>
                  <a:schemeClr val="tx1"/>
                </a:solidFill>
                <a:latin typeface="+mn-lt"/>
                <a:ea typeface="+mn-ea"/>
                <a:cs typeface="+mn-cs"/>
              </a:rPr>
              <a:t>- Introduction of a reference in Beneficiary/Merchant-initiated payments (used for refunds or chargebacks) to link the SCT Inst transaction of that refund or chargeback to the original SCT Inst transaction. By introducing a reference ID in the SCT Inst message linked to a refund or a chargeback, this will help the PSPs in linking this SCT Inst transaction to the original SCT Inst transaction. </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800" b="1" noProof="0"/>
              <a:t>#45 – </a:t>
            </a:r>
            <a:r>
              <a:rPr lang="en-US" sz="800" b="0" noProof="0"/>
              <a:t>Indicator in SCT Inst to indicate if the transaction is related to POI (yes/no). EPC: Purpose code or category purpose can already be used to indicate that. </a:t>
            </a:r>
            <a:endParaRPr lang="en-US" sz="800" b="1" noProof="0"/>
          </a:p>
          <a:p>
            <a:endParaRPr lang="en-GB"/>
          </a:p>
        </p:txBody>
      </p:sp>
      <p:sp>
        <p:nvSpPr>
          <p:cNvPr id="4" name="Platshållare för sidhuvud 3"/>
          <p:cNvSpPr>
            <a:spLocks noGrp="1"/>
          </p:cNvSpPr>
          <p:nvPr>
            <p:ph type="hdr" sz="quarter"/>
          </p:nvPr>
        </p:nvSpPr>
        <p:spPr/>
        <p:txBody>
          <a:bodyPr/>
          <a:lstStyle/>
          <a:p>
            <a:endParaRPr lang="sv-SE"/>
          </a:p>
        </p:txBody>
      </p:sp>
      <p:sp>
        <p:nvSpPr>
          <p:cNvPr id="5" name="Platshållare för datum 4"/>
          <p:cNvSpPr>
            <a:spLocks noGrp="1"/>
          </p:cNvSpPr>
          <p:nvPr>
            <p:ph type="dt" idx="1"/>
          </p:nvPr>
        </p:nvSpPr>
        <p:spPr/>
        <p:txBody>
          <a:bodyPr/>
          <a:lstStyle/>
          <a:p>
            <a:fld id="{B19BA781-091F-4205-949F-3BFD52584C67}" type="datetime1">
              <a:rPr lang="sv-SE" smtClean="0"/>
              <a:t>2026-03-27</a:t>
            </a:fld>
            <a:endParaRPr lang="sv-SE"/>
          </a:p>
        </p:txBody>
      </p:sp>
      <p:sp>
        <p:nvSpPr>
          <p:cNvPr id="6" name="Platshållare för sidfot 5"/>
          <p:cNvSpPr>
            <a:spLocks noGrp="1"/>
          </p:cNvSpPr>
          <p:nvPr>
            <p:ph type="ftr" sz="quarter" idx="4"/>
          </p:nvPr>
        </p:nvSpPr>
        <p:spPr/>
        <p:txBody>
          <a:bodyPr/>
          <a:lstStyle/>
          <a:p>
            <a:endParaRPr lang="sv-SE"/>
          </a:p>
        </p:txBody>
      </p:sp>
      <p:sp>
        <p:nvSpPr>
          <p:cNvPr id="7" name="Platshållare för bildnummer 6"/>
          <p:cNvSpPr>
            <a:spLocks noGrp="1"/>
          </p:cNvSpPr>
          <p:nvPr>
            <p:ph type="sldNum" sz="quarter" idx="5"/>
          </p:nvPr>
        </p:nvSpPr>
        <p:spPr/>
        <p:txBody>
          <a:bodyPr/>
          <a:lstStyle/>
          <a:p>
            <a:fld id="{DD16377A-0A78-E044-A3A1-CA5CF8DD6905}" type="slidenum">
              <a:rPr lang="en-GB" smtClean="0"/>
              <a:t>33</a:t>
            </a:fld>
            <a:endParaRPr lang="en-GB"/>
          </a:p>
        </p:txBody>
      </p:sp>
    </p:spTree>
    <p:extLst>
      <p:ext uri="{BB962C8B-B14F-4D97-AF65-F5344CB8AC3E}">
        <p14:creationId xmlns:p14="http://schemas.microsoft.com/office/powerpoint/2010/main" val="7548997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6286D5-AC42-C61C-3D8F-610E867ABE0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2885B56-D036-561C-9CF2-6466FFDF316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E9ED0F-2D6E-C7D2-475A-686802085EB2}"/>
              </a:ext>
            </a:extLst>
          </p:cNvPr>
          <p:cNvSpPr>
            <a:spLocks noGrp="1"/>
          </p:cNvSpPr>
          <p:nvPr>
            <p:ph type="body" idx="1"/>
          </p:nvPr>
        </p:nvSpPr>
        <p:spPr/>
        <p:txBody>
          <a:bodyPr/>
          <a:lstStyle/>
          <a:p>
            <a:endParaRPr lang="sv-SE"/>
          </a:p>
        </p:txBody>
      </p:sp>
      <p:sp>
        <p:nvSpPr>
          <p:cNvPr id="4" name="Header Placeholder 3">
            <a:extLst>
              <a:ext uri="{FF2B5EF4-FFF2-40B4-BE49-F238E27FC236}">
                <a16:creationId xmlns:a16="http://schemas.microsoft.com/office/drawing/2014/main" id="{56CF946D-E197-8601-3A5D-FE6FB7D6625F}"/>
              </a:ext>
            </a:extLst>
          </p:cNvPr>
          <p:cNvSpPr>
            <a:spLocks noGrp="1"/>
          </p:cNvSpPr>
          <p:nvPr>
            <p:ph type="hdr" sz="quarter"/>
          </p:nvPr>
        </p:nvSpPr>
        <p:spPr/>
        <p:txBody>
          <a:bodyPr/>
          <a:lstStyle/>
          <a:p>
            <a:endParaRPr lang="sv-SE"/>
          </a:p>
        </p:txBody>
      </p:sp>
      <p:sp>
        <p:nvSpPr>
          <p:cNvPr id="5" name="Date Placeholder 4">
            <a:extLst>
              <a:ext uri="{FF2B5EF4-FFF2-40B4-BE49-F238E27FC236}">
                <a16:creationId xmlns:a16="http://schemas.microsoft.com/office/drawing/2014/main" id="{06476899-DADE-9F96-FBA5-5FB6827C25B3}"/>
              </a:ext>
            </a:extLst>
          </p:cNvPr>
          <p:cNvSpPr>
            <a:spLocks noGrp="1"/>
          </p:cNvSpPr>
          <p:nvPr>
            <p:ph type="dt" idx="1"/>
          </p:nvPr>
        </p:nvSpPr>
        <p:spPr/>
        <p:txBody>
          <a:bodyPr/>
          <a:lstStyle/>
          <a:p>
            <a:fld id="{B4AA93DB-AB42-4CB4-B62B-EA02526A64EE}" type="datetime1">
              <a:rPr lang="sv-SE" smtClean="0"/>
              <a:t>2026-03-27</a:t>
            </a:fld>
            <a:endParaRPr lang="sv-SE"/>
          </a:p>
        </p:txBody>
      </p:sp>
      <p:sp>
        <p:nvSpPr>
          <p:cNvPr id="6" name="Footer Placeholder 5">
            <a:extLst>
              <a:ext uri="{FF2B5EF4-FFF2-40B4-BE49-F238E27FC236}">
                <a16:creationId xmlns:a16="http://schemas.microsoft.com/office/drawing/2014/main" id="{4A717CB4-894A-AE65-7F76-02B0A2998759}"/>
              </a:ext>
            </a:extLst>
          </p:cNvPr>
          <p:cNvSpPr>
            <a:spLocks noGrp="1"/>
          </p:cNvSpPr>
          <p:nvPr>
            <p:ph type="ftr" sz="quarter" idx="4"/>
          </p:nvPr>
        </p:nvSpPr>
        <p:spPr/>
        <p:txBody>
          <a:bodyPr/>
          <a:lstStyle/>
          <a:p>
            <a:endParaRPr lang="sv-SE"/>
          </a:p>
        </p:txBody>
      </p:sp>
      <p:sp>
        <p:nvSpPr>
          <p:cNvPr id="7" name="Slide Number Placeholder 6">
            <a:extLst>
              <a:ext uri="{FF2B5EF4-FFF2-40B4-BE49-F238E27FC236}">
                <a16:creationId xmlns:a16="http://schemas.microsoft.com/office/drawing/2014/main" id="{1C84BD70-0EE2-44F5-DACD-D45F18ABD46F}"/>
              </a:ext>
            </a:extLst>
          </p:cNvPr>
          <p:cNvSpPr>
            <a:spLocks noGrp="1"/>
          </p:cNvSpPr>
          <p:nvPr>
            <p:ph type="sldNum" sz="quarter" idx="5"/>
          </p:nvPr>
        </p:nvSpPr>
        <p:spPr/>
        <p:txBody>
          <a:bodyPr/>
          <a:lstStyle/>
          <a:p>
            <a:fld id="{DD16377A-0A78-E044-A3A1-CA5CF8DD6905}" type="slidenum">
              <a:rPr lang="sv-SE" smtClean="0"/>
              <a:t>4</a:t>
            </a:fld>
            <a:endParaRPr lang="sv-SE"/>
          </a:p>
        </p:txBody>
      </p:sp>
    </p:spTree>
    <p:extLst>
      <p:ext uri="{BB962C8B-B14F-4D97-AF65-F5344CB8AC3E}">
        <p14:creationId xmlns:p14="http://schemas.microsoft.com/office/powerpoint/2010/main" val="8294711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txBody>
          <a:bodyPr/>
          <a:lstStyle/>
          <a:p>
            <a:endParaRPr lang="en-GB"/>
          </a:p>
        </p:txBody>
      </p:sp>
      <p:sp>
        <p:nvSpPr>
          <p:cNvPr id="3" name="Platshållare för anteckningar 2"/>
          <p:cNvSpPr>
            <a:spLocks noGrp="1"/>
          </p:cNvSpPr>
          <p:nvPr>
            <p:ph type="body" idx="1"/>
          </p:nvPr>
        </p:nvSpPr>
        <p:spPr/>
        <p:txBody>
          <a:bodyPr/>
          <a:lstStyle/>
          <a:p>
            <a:endParaRPr lang="en-GB"/>
          </a:p>
        </p:txBody>
      </p:sp>
      <p:sp>
        <p:nvSpPr>
          <p:cNvPr id="4" name="Platshållare för sidhuvud 3"/>
          <p:cNvSpPr>
            <a:spLocks noGrp="1"/>
          </p:cNvSpPr>
          <p:nvPr>
            <p:ph type="hdr" sz="quarter"/>
          </p:nvPr>
        </p:nvSpPr>
        <p:spPr/>
        <p:txBody>
          <a:bodyPr/>
          <a:lstStyle/>
          <a:p>
            <a:endParaRPr lang="sv-SE"/>
          </a:p>
        </p:txBody>
      </p:sp>
      <p:sp>
        <p:nvSpPr>
          <p:cNvPr id="5" name="Platshållare för datum 4"/>
          <p:cNvSpPr>
            <a:spLocks noGrp="1"/>
          </p:cNvSpPr>
          <p:nvPr>
            <p:ph type="dt" idx="1"/>
          </p:nvPr>
        </p:nvSpPr>
        <p:spPr/>
        <p:txBody>
          <a:bodyPr/>
          <a:lstStyle/>
          <a:p>
            <a:fld id="{2359AFF1-5D92-47D5-9A63-313D3EC89D95}" type="datetime1">
              <a:rPr lang="sv-SE" smtClean="0"/>
              <a:t>2026-03-27</a:t>
            </a:fld>
            <a:endParaRPr lang="sv-SE"/>
          </a:p>
        </p:txBody>
      </p:sp>
      <p:sp>
        <p:nvSpPr>
          <p:cNvPr id="6" name="Platshållare för sidfot 5"/>
          <p:cNvSpPr>
            <a:spLocks noGrp="1"/>
          </p:cNvSpPr>
          <p:nvPr>
            <p:ph type="ftr" sz="quarter" idx="4"/>
          </p:nvPr>
        </p:nvSpPr>
        <p:spPr/>
        <p:txBody>
          <a:bodyPr/>
          <a:lstStyle/>
          <a:p>
            <a:endParaRPr lang="sv-SE"/>
          </a:p>
        </p:txBody>
      </p:sp>
      <p:sp>
        <p:nvSpPr>
          <p:cNvPr id="7" name="Platshållare för bildnummer 6"/>
          <p:cNvSpPr>
            <a:spLocks noGrp="1"/>
          </p:cNvSpPr>
          <p:nvPr>
            <p:ph type="sldNum" sz="quarter" idx="5"/>
          </p:nvPr>
        </p:nvSpPr>
        <p:spPr/>
        <p:txBody>
          <a:bodyPr/>
          <a:lstStyle/>
          <a:p>
            <a:fld id="{DD16377A-0A78-E044-A3A1-CA5CF8DD6905}" type="slidenum">
              <a:rPr lang="en-GB" smtClean="0"/>
              <a:t>34</a:t>
            </a:fld>
            <a:endParaRPr lang="en-GB"/>
          </a:p>
        </p:txBody>
      </p:sp>
    </p:spTree>
    <p:extLst>
      <p:ext uri="{BB962C8B-B14F-4D97-AF65-F5344CB8AC3E}">
        <p14:creationId xmlns:p14="http://schemas.microsoft.com/office/powerpoint/2010/main" val="29393644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540BBD-8E63-4241-1C9C-BF320EA15D49}"/>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13C1F777-37AF-BE33-AABE-24C93B5BAD5D}"/>
              </a:ext>
            </a:extLst>
          </p:cNvPr>
          <p:cNvSpPr>
            <a:spLocks noGrp="1" noRot="1" noChangeAspect="1"/>
          </p:cNvSpPr>
          <p:nvPr>
            <p:ph type="sldImg"/>
          </p:nvPr>
        </p:nvSpPr>
        <p:spPr/>
        <p:txBody>
          <a:bodyPr/>
          <a:lstStyle/>
          <a:p>
            <a:endParaRPr lang="en-GB"/>
          </a:p>
        </p:txBody>
      </p:sp>
      <p:sp>
        <p:nvSpPr>
          <p:cNvPr id="3" name="Platshållare för anteckningar 2">
            <a:extLst>
              <a:ext uri="{FF2B5EF4-FFF2-40B4-BE49-F238E27FC236}">
                <a16:creationId xmlns:a16="http://schemas.microsoft.com/office/drawing/2014/main" id="{BB75A0D3-D6BB-D3CF-0F0A-53956384765F}"/>
              </a:ext>
            </a:extLst>
          </p:cNvPr>
          <p:cNvSpPr>
            <a:spLocks noGrp="1"/>
          </p:cNvSpPr>
          <p:nvPr>
            <p:ph type="body" idx="1"/>
          </p:nvPr>
        </p:nvSpPr>
        <p:spPr/>
        <p:txBody>
          <a:bodyPr/>
          <a:lstStyle/>
          <a:p>
            <a:endParaRPr lang="en-GB"/>
          </a:p>
        </p:txBody>
      </p:sp>
      <p:sp>
        <p:nvSpPr>
          <p:cNvPr id="4" name="Platshållare för sidhuvud 3">
            <a:extLst>
              <a:ext uri="{FF2B5EF4-FFF2-40B4-BE49-F238E27FC236}">
                <a16:creationId xmlns:a16="http://schemas.microsoft.com/office/drawing/2014/main" id="{AE59DDDE-CAB4-D098-027B-3BEB546D20BB}"/>
              </a:ext>
            </a:extLst>
          </p:cNvPr>
          <p:cNvSpPr>
            <a:spLocks noGrp="1"/>
          </p:cNvSpPr>
          <p:nvPr>
            <p:ph type="hdr" sz="quarter"/>
          </p:nvPr>
        </p:nvSpPr>
        <p:spPr/>
        <p:txBody>
          <a:bodyPr/>
          <a:lstStyle/>
          <a:p>
            <a:endParaRPr lang="sv-SE"/>
          </a:p>
        </p:txBody>
      </p:sp>
      <p:sp>
        <p:nvSpPr>
          <p:cNvPr id="5" name="Platshållare för datum 4">
            <a:extLst>
              <a:ext uri="{FF2B5EF4-FFF2-40B4-BE49-F238E27FC236}">
                <a16:creationId xmlns:a16="http://schemas.microsoft.com/office/drawing/2014/main" id="{90A28B5A-9150-9ABC-90D9-E5596D26F194}"/>
              </a:ext>
            </a:extLst>
          </p:cNvPr>
          <p:cNvSpPr>
            <a:spLocks noGrp="1"/>
          </p:cNvSpPr>
          <p:nvPr>
            <p:ph type="dt" idx="1"/>
          </p:nvPr>
        </p:nvSpPr>
        <p:spPr/>
        <p:txBody>
          <a:bodyPr/>
          <a:lstStyle/>
          <a:p>
            <a:fld id="{EEE22C53-44D3-4437-BC5B-2A40482CA3B4}" type="datetime1">
              <a:rPr lang="sv-SE" smtClean="0"/>
              <a:t>2026-03-27</a:t>
            </a:fld>
            <a:endParaRPr lang="sv-SE"/>
          </a:p>
        </p:txBody>
      </p:sp>
      <p:sp>
        <p:nvSpPr>
          <p:cNvPr id="6" name="Platshållare för sidfot 5">
            <a:extLst>
              <a:ext uri="{FF2B5EF4-FFF2-40B4-BE49-F238E27FC236}">
                <a16:creationId xmlns:a16="http://schemas.microsoft.com/office/drawing/2014/main" id="{D983EBE9-BE52-EEEB-526D-505018476BA0}"/>
              </a:ext>
            </a:extLst>
          </p:cNvPr>
          <p:cNvSpPr>
            <a:spLocks noGrp="1"/>
          </p:cNvSpPr>
          <p:nvPr>
            <p:ph type="ftr" sz="quarter" idx="4"/>
          </p:nvPr>
        </p:nvSpPr>
        <p:spPr/>
        <p:txBody>
          <a:bodyPr/>
          <a:lstStyle/>
          <a:p>
            <a:endParaRPr lang="sv-SE"/>
          </a:p>
        </p:txBody>
      </p:sp>
      <p:sp>
        <p:nvSpPr>
          <p:cNvPr id="7" name="Platshållare för bildnummer 6">
            <a:extLst>
              <a:ext uri="{FF2B5EF4-FFF2-40B4-BE49-F238E27FC236}">
                <a16:creationId xmlns:a16="http://schemas.microsoft.com/office/drawing/2014/main" id="{1AFE639D-B4C2-C0A7-561F-13E7132F9A84}"/>
              </a:ext>
            </a:extLst>
          </p:cNvPr>
          <p:cNvSpPr>
            <a:spLocks noGrp="1"/>
          </p:cNvSpPr>
          <p:nvPr>
            <p:ph type="sldNum" sz="quarter" idx="5"/>
          </p:nvPr>
        </p:nvSpPr>
        <p:spPr/>
        <p:txBody>
          <a:bodyPr/>
          <a:lstStyle/>
          <a:p>
            <a:fld id="{DD16377A-0A78-E044-A3A1-CA5CF8DD6905}" type="slidenum">
              <a:rPr lang="en-GB" smtClean="0"/>
              <a:t>36</a:t>
            </a:fld>
            <a:endParaRPr lang="en-GB"/>
          </a:p>
        </p:txBody>
      </p:sp>
    </p:spTree>
    <p:extLst>
      <p:ext uri="{BB962C8B-B14F-4D97-AF65-F5344CB8AC3E}">
        <p14:creationId xmlns:p14="http://schemas.microsoft.com/office/powerpoint/2010/main" val="961751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8EF9B7-7EDA-1266-B919-8EBD25FE615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A0A79F-09E6-2694-B318-6A1256AA6F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836A200-6732-59EF-E25D-644591554EC0}"/>
              </a:ext>
            </a:extLst>
          </p:cNvPr>
          <p:cNvSpPr>
            <a:spLocks noGrp="1"/>
          </p:cNvSpPr>
          <p:nvPr>
            <p:ph type="body" idx="1"/>
          </p:nvPr>
        </p:nvSpPr>
        <p:spPr/>
        <p:txBody>
          <a:bodyPr/>
          <a:lstStyle/>
          <a:p>
            <a:endParaRPr lang="sv-SE"/>
          </a:p>
        </p:txBody>
      </p:sp>
      <p:sp>
        <p:nvSpPr>
          <p:cNvPr id="4" name="Header Placeholder 3">
            <a:extLst>
              <a:ext uri="{FF2B5EF4-FFF2-40B4-BE49-F238E27FC236}">
                <a16:creationId xmlns:a16="http://schemas.microsoft.com/office/drawing/2014/main" id="{57A52C8F-518D-F5E9-72A9-9E4A535DBA6F}"/>
              </a:ext>
            </a:extLst>
          </p:cNvPr>
          <p:cNvSpPr>
            <a:spLocks noGrp="1"/>
          </p:cNvSpPr>
          <p:nvPr>
            <p:ph type="hdr" sz="quarter"/>
          </p:nvPr>
        </p:nvSpPr>
        <p:spPr/>
        <p:txBody>
          <a:bodyPr/>
          <a:lstStyle/>
          <a:p>
            <a:endParaRPr lang="sv-SE"/>
          </a:p>
        </p:txBody>
      </p:sp>
      <p:sp>
        <p:nvSpPr>
          <p:cNvPr id="5" name="Date Placeholder 4">
            <a:extLst>
              <a:ext uri="{FF2B5EF4-FFF2-40B4-BE49-F238E27FC236}">
                <a16:creationId xmlns:a16="http://schemas.microsoft.com/office/drawing/2014/main" id="{876AC44A-1DD4-8D7E-C9A8-CE1956BFFC91}"/>
              </a:ext>
            </a:extLst>
          </p:cNvPr>
          <p:cNvSpPr>
            <a:spLocks noGrp="1"/>
          </p:cNvSpPr>
          <p:nvPr>
            <p:ph type="dt" idx="1"/>
          </p:nvPr>
        </p:nvSpPr>
        <p:spPr/>
        <p:txBody>
          <a:bodyPr/>
          <a:lstStyle/>
          <a:p>
            <a:fld id="{7706E6FD-AE46-437E-B27D-39D8FD23AE3C}" type="datetime1">
              <a:rPr lang="sv-SE" smtClean="0"/>
              <a:t>2026-03-27</a:t>
            </a:fld>
            <a:endParaRPr lang="sv-SE"/>
          </a:p>
        </p:txBody>
      </p:sp>
      <p:sp>
        <p:nvSpPr>
          <p:cNvPr id="6" name="Footer Placeholder 5">
            <a:extLst>
              <a:ext uri="{FF2B5EF4-FFF2-40B4-BE49-F238E27FC236}">
                <a16:creationId xmlns:a16="http://schemas.microsoft.com/office/drawing/2014/main" id="{7F3777F1-7687-2D4B-92D3-9163FD136F49}"/>
              </a:ext>
            </a:extLst>
          </p:cNvPr>
          <p:cNvSpPr>
            <a:spLocks noGrp="1"/>
          </p:cNvSpPr>
          <p:nvPr>
            <p:ph type="ftr" sz="quarter" idx="4"/>
          </p:nvPr>
        </p:nvSpPr>
        <p:spPr/>
        <p:txBody>
          <a:bodyPr/>
          <a:lstStyle/>
          <a:p>
            <a:endParaRPr lang="sv-SE"/>
          </a:p>
        </p:txBody>
      </p:sp>
      <p:sp>
        <p:nvSpPr>
          <p:cNvPr id="7" name="Slide Number Placeholder 6">
            <a:extLst>
              <a:ext uri="{FF2B5EF4-FFF2-40B4-BE49-F238E27FC236}">
                <a16:creationId xmlns:a16="http://schemas.microsoft.com/office/drawing/2014/main" id="{AC5078F8-B404-88FE-4753-181139F7D539}"/>
              </a:ext>
            </a:extLst>
          </p:cNvPr>
          <p:cNvSpPr>
            <a:spLocks noGrp="1"/>
          </p:cNvSpPr>
          <p:nvPr>
            <p:ph type="sldNum" sz="quarter" idx="5"/>
          </p:nvPr>
        </p:nvSpPr>
        <p:spPr/>
        <p:txBody>
          <a:bodyPr/>
          <a:lstStyle/>
          <a:p>
            <a:fld id="{DD16377A-0A78-E044-A3A1-CA5CF8DD6905}" type="slidenum">
              <a:rPr lang="sv-SE" smtClean="0"/>
              <a:t>37</a:t>
            </a:fld>
            <a:endParaRPr lang="sv-SE"/>
          </a:p>
        </p:txBody>
      </p:sp>
    </p:spTree>
    <p:extLst>
      <p:ext uri="{BB962C8B-B14F-4D97-AF65-F5344CB8AC3E}">
        <p14:creationId xmlns:p14="http://schemas.microsoft.com/office/powerpoint/2010/main" val="129368136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en-GB"/>
          </a:p>
        </p:txBody>
      </p:sp>
      <p:sp>
        <p:nvSpPr>
          <p:cNvPr id="4" name="Platshållare för sidhuvud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Platshållare för datum 4"/>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0A67BD-AF4A-4A56-976F-9482AE46B813}" type="datetime1">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t>2026-03-2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Platshållare för sidfot 5"/>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Platshållare för bildnumm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16377A-0A78-E044-A3A1-CA5CF8DD690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64110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9952BE-30CC-2D2A-3879-F149BF61A8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1C5D4E-7689-65C4-C028-3D36BBF013A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C10AD17-8557-5B09-7C75-5AEADA41E049}"/>
              </a:ext>
            </a:extLst>
          </p:cNvPr>
          <p:cNvSpPr>
            <a:spLocks noGrp="1"/>
          </p:cNvSpPr>
          <p:nvPr>
            <p:ph type="body" idx="1"/>
          </p:nvPr>
        </p:nvSpPr>
        <p:spPr/>
        <p:txBody>
          <a:bodyPr/>
          <a:lstStyle/>
          <a:p>
            <a:endParaRPr lang="sv-SE"/>
          </a:p>
        </p:txBody>
      </p:sp>
      <p:sp>
        <p:nvSpPr>
          <p:cNvPr id="4" name="Header Placeholder 3">
            <a:extLst>
              <a:ext uri="{FF2B5EF4-FFF2-40B4-BE49-F238E27FC236}">
                <a16:creationId xmlns:a16="http://schemas.microsoft.com/office/drawing/2014/main" id="{3A4A4EE0-6C29-1F1A-A060-A29CE8662429}"/>
              </a:ext>
            </a:extLst>
          </p:cNvPr>
          <p:cNvSpPr>
            <a:spLocks noGrp="1"/>
          </p:cNvSpPr>
          <p:nvPr>
            <p:ph type="hdr" sz="quarter"/>
          </p:nvPr>
        </p:nvSpPr>
        <p:spPr/>
        <p:txBody>
          <a:bodyPr/>
          <a:lstStyle/>
          <a:p>
            <a:endParaRPr lang="sv-SE"/>
          </a:p>
        </p:txBody>
      </p:sp>
      <p:sp>
        <p:nvSpPr>
          <p:cNvPr id="5" name="Date Placeholder 4">
            <a:extLst>
              <a:ext uri="{FF2B5EF4-FFF2-40B4-BE49-F238E27FC236}">
                <a16:creationId xmlns:a16="http://schemas.microsoft.com/office/drawing/2014/main" id="{DB802025-60CB-59C7-0AAA-1517833DC846}"/>
              </a:ext>
            </a:extLst>
          </p:cNvPr>
          <p:cNvSpPr>
            <a:spLocks noGrp="1"/>
          </p:cNvSpPr>
          <p:nvPr>
            <p:ph type="dt" idx="1"/>
          </p:nvPr>
        </p:nvSpPr>
        <p:spPr/>
        <p:txBody>
          <a:bodyPr/>
          <a:lstStyle/>
          <a:p>
            <a:fld id="{2DF689E2-16F4-45DD-B285-5DA3CBACE0E4}" type="datetime1">
              <a:rPr lang="sv-SE" smtClean="0"/>
              <a:t>2026-03-27</a:t>
            </a:fld>
            <a:endParaRPr lang="sv-SE"/>
          </a:p>
        </p:txBody>
      </p:sp>
      <p:sp>
        <p:nvSpPr>
          <p:cNvPr id="6" name="Footer Placeholder 5">
            <a:extLst>
              <a:ext uri="{FF2B5EF4-FFF2-40B4-BE49-F238E27FC236}">
                <a16:creationId xmlns:a16="http://schemas.microsoft.com/office/drawing/2014/main" id="{4AF2AFC8-48EC-7EBE-33EF-11D337C48D99}"/>
              </a:ext>
            </a:extLst>
          </p:cNvPr>
          <p:cNvSpPr>
            <a:spLocks noGrp="1"/>
          </p:cNvSpPr>
          <p:nvPr>
            <p:ph type="ftr" sz="quarter" idx="4"/>
          </p:nvPr>
        </p:nvSpPr>
        <p:spPr/>
        <p:txBody>
          <a:bodyPr/>
          <a:lstStyle/>
          <a:p>
            <a:endParaRPr lang="sv-SE"/>
          </a:p>
        </p:txBody>
      </p:sp>
      <p:sp>
        <p:nvSpPr>
          <p:cNvPr id="7" name="Slide Number Placeholder 6">
            <a:extLst>
              <a:ext uri="{FF2B5EF4-FFF2-40B4-BE49-F238E27FC236}">
                <a16:creationId xmlns:a16="http://schemas.microsoft.com/office/drawing/2014/main" id="{033330BF-CFC1-9363-2DC9-50F58789695F}"/>
              </a:ext>
            </a:extLst>
          </p:cNvPr>
          <p:cNvSpPr>
            <a:spLocks noGrp="1"/>
          </p:cNvSpPr>
          <p:nvPr>
            <p:ph type="sldNum" sz="quarter" idx="5"/>
          </p:nvPr>
        </p:nvSpPr>
        <p:spPr/>
        <p:txBody>
          <a:bodyPr/>
          <a:lstStyle/>
          <a:p>
            <a:fld id="{DD16377A-0A78-E044-A3A1-CA5CF8DD6905}" type="slidenum">
              <a:rPr lang="sv-SE" smtClean="0"/>
              <a:t>42</a:t>
            </a:fld>
            <a:endParaRPr lang="sv-SE"/>
          </a:p>
        </p:txBody>
      </p:sp>
    </p:spTree>
    <p:extLst>
      <p:ext uri="{BB962C8B-B14F-4D97-AF65-F5344CB8AC3E}">
        <p14:creationId xmlns:p14="http://schemas.microsoft.com/office/powerpoint/2010/main" val="29606862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04A08B-D070-9ADA-9BD1-8140B8FE2E9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85C565-1826-E03D-A729-D6FAA860B30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FD09DEF-8BDC-9C3D-EA87-41500FDD5180}"/>
              </a:ext>
            </a:extLst>
          </p:cNvPr>
          <p:cNvSpPr>
            <a:spLocks noGrp="1"/>
          </p:cNvSpPr>
          <p:nvPr>
            <p:ph type="body" idx="1"/>
          </p:nvPr>
        </p:nvSpPr>
        <p:spPr/>
        <p:txBody>
          <a:bodyPr/>
          <a:lstStyle/>
          <a:p>
            <a:endParaRPr lang="sv-SE"/>
          </a:p>
        </p:txBody>
      </p:sp>
      <p:sp>
        <p:nvSpPr>
          <p:cNvPr id="4" name="Header Placeholder 3">
            <a:extLst>
              <a:ext uri="{FF2B5EF4-FFF2-40B4-BE49-F238E27FC236}">
                <a16:creationId xmlns:a16="http://schemas.microsoft.com/office/drawing/2014/main" id="{B27519E0-E9F2-74DA-F206-E1BDBD79BC58}"/>
              </a:ext>
            </a:extLst>
          </p:cNvPr>
          <p:cNvSpPr>
            <a:spLocks noGrp="1"/>
          </p:cNvSpPr>
          <p:nvPr>
            <p:ph type="hdr" sz="quarter"/>
          </p:nvPr>
        </p:nvSpPr>
        <p:spPr/>
        <p:txBody>
          <a:bodyPr/>
          <a:lstStyle/>
          <a:p>
            <a:endParaRPr lang="sv-SE"/>
          </a:p>
        </p:txBody>
      </p:sp>
      <p:sp>
        <p:nvSpPr>
          <p:cNvPr id="5" name="Date Placeholder 4">
            <a:extLst>
              <a:ext uri="{FF2B5EF4-FFF2-40B4-BE49-F238E27FC236}">
                <a16:creationId xmlns:a16="http://schemas.microsoft.com/office/drawing/2014/main" id="{44D690B1-3BEF-1E80-D112-8EF1022F8F86}"/>
              </a:ext>
            </a:extLst>
          </p:cNvPr>
          <p:cNvSpPr>
            <a:spLocks noGrp="1"/>
          </p:cNvSpPr>
          <p:nvPr>
            <p:ph type="dt" idx="1"/>
          </p:nvPr>
        </p:nvSpPr>
        <p:spPr/>
        <p:txBody>
          <a:bodyPr/>
          <a:lstStyle/>
          <a:p>
            <a:fld id="{C7312888-6361-4F41-8A8F-C82D5748DFEB}" type="datetime1">
              <a:rPr lang="sv-SE" smtClean="0"/>
              <a:t>2026-03-27</a:t>
            </a:fld>
            <a:endParaRPr lang="sv-SE"/>
          </a:p>
        </p:txBody>
      </p:sp>
      <p:sp>
        <p:nvSpPr>
          <p:cNvPr id="6" name="Footer Placeholder 5">
            <a:extLst>
              <a:ext uri="{FF2B5EF4-FFF2-40B4-BE49-F238E27FC236}">
                <a16:creationId xmlns:a16="http://schemas.microsoft.com/office/drawing/2014/main" id="{7C32333F-7AB3-E906-54A4-7EE625F8DA12}"/>
              </a:ext>
            </a:extLst>
          </p:cNvPr>
          <p:cNvSpPr>
            <a:spLocks noGrp="1"/>
          </p:cNvSpPr>
          <p:nvPr>
            <p:ph type="ftr" sz="quarter" idx="4"/>
          </p:nvPr>
        </p:nvSpPr>
        <p:spPr/>
        <p:txBody>
          <a:bodyPr/>
          <a:lstStyle/>
          <a:p>
            <a:endParaRPr lang="sv-SE"/>
          </a:p>
        </p:txBody>
      </p:sp>
      <p:sp>
        <p:nvSpPr>
          <p:cNvPr id="7" name="Slide Number Placeholder 6">
            <a:extLst>
              <a:ext uri="{FF2B5EF4-FFF2-40B4-BE49-F238E27FC236}">
                <a16:creationId xmlns:a16="http://schemas.microsoft.com/office/drawing/2014/main" id="{D3A5E61A-E583-A10D-E141-2293BCF54446}"/>
              </a:ext>
            </a:extLst>
          </p:cNvPr>
          <p:cNvSpPr>
            <a:spLocks noGrp="1"/>
          </p:cNvSpPr>
          <p:nvPr>
            <p:ph type="sldNum" sz="quarter" idx="5"/>
          </p:nvPr>
        </p:nvSpPr>
        <p:spPr/>
        <p:txBody>
          <a:bodyPr/>
          <a:lstStyle/>
          <a:p>
            <a:fld id="{DD16377A-0A78-E044-A3A1-CA5CF8DD6905}" type="slidenum">
              <a:rPr lang="sv-SE" smtClean="0"/>
              <a:t>44</a:t>
            </a:fld>
            <a:endParaRPr lang="sv-SE"/>
          </a:p>
        </p:txBody>
      </p:sp>
    </p:spTree>
    <p:extLst>
      <p:ext uri="{BB962C8B-B14F-4D97-AF65-F5344CB8AC3E}">
        <p14:creationId xmlns:p14="http://schemas.microsoft.com/office/powerpoint/2010/main" val="40672759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BF080B-434C-8EA4-83EA-B1F225F79D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D87F8F-E538-DDEB-A261-D95F1B63ECE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A532733-A020-8BEC-A056-2CDBB887F945}"/>
              </a:ext>
            </a:extLst>
          </p:cNvPr>
          <p:cNvSpPr>
            <a:spLocks noGrp="1"/>
          </p:cNvSpPr>
          <p:nvPr>
            <p:ph type="body" idx="1"/>
          </p:nvPr>
        </p:nvSpPr>
        <p:spPr/>
        <p:txBody>
          <a:bodyPr/>
          <a:lstStyle/>
          <a:p>
            <a:endParaRPr lang="sv-SE"/>
          </a:p>
        </p:txBody>
      </p:sp>
      <p:sp>
        <p:nvSpPr>
          <p:cNvPr id="4" name="Header Placeholder 3">
            <a:extLst>
              <a:ext uri="{FF2B5EF4-FFF2-40B4-BE49-F238E27FC236}">
                <a16:creationId xmlns:a16="http://schemas.microsoft.com/office/drawing/2014/main" id="{312273F8-D12D-F3CB-0A5E-F23A33648D96}"/>
              </a:ext>
            </a:extLst>
          </p:cNvPr>
          <p:cNvSpPr>
            <a:spLocks noGrp="1"/>
          </p:cNvSpPr>
          <p:nvPr>
            <p:ph type="hdr" sz="quarter"/>
          </p:nvPr>
        </p:nvSpPr>
        <p:spPr/>
        <p:txBody>
          <a:bodyPr/>
          <a:lstStyle/>
          <a:p>
            <a:endParaRPr lang="sv-SE"/>
          </a:p>
        </p:txBody>
      </p:sp>
      <p:sp>
        <p:nvSpPr>
          <p:cNvPr id="5" name="Date Placeholder 4">
            <a:extLst>
              <a:ext uri="{FF2B5EF4-FFF2-40B4-BE49-F238E27FC236}">
                <a16:creationId xmlns:a16="http://schemas.microsoft.com/office/drawing/2014/main" id="{8F73FEAE-31AF-991A-D4A8-C0F46B9DEE86}"/>
              </a:ext>
            </a:extLst>
          </p:cNvPr>
          <p:cNvSpPr>
            <a:spLocks noGrp="1"/>
          </p:cNvSpPr>
          <p:nvPr>
            <p:ph type="dt" idx="1"/>
          </p:nvPr>
        </p:nvSpPr>
        <p:spPr/>
        <p:txBody>
          <a:bodyPr/>
          <a:lstStyle/>
          <a:p>
            <a:fld id="{B5E3FBB9-D04A-4A9D-AF19-9566D8A83DC0}" type="datetime1">
              <a:rPr lang="sv-SE" smtClean="0"/>
              <a:t>2026-03-27</a:t>
            </a:fld>
            <a:endParaRPr lang="sv-SE"/>
          </a:p>
        </p:txBody>
      </p:sp>
      <p:sp>
        <p:nvSpPr>
          <p:cNvPr id="6" name="Footer Placeholder 5">
            <a:extLst>
              <a:ext uri="{FF2B5EF4-FFF2-40B4-BE49-F238E27FC236}">
                <a16:creationId xmlns:a16="http://schemas.microsoft.com/office/drawing/2014/main" id="{4AA63420-2579-86C8-BC79-E6E2BC878F8A}"/>
              </a:ext>
            </a:extLst>
          </p:cNvPr>
          <p:cNvSpPr>
            <a:spLocks noGrp="1"/>
          </p:cNvSpPr>
          <p:nvPr>
            <p:ph type="ftr" sz="quarter" idx="4"/>
          </p:nvPr>
        </p:nvSpPr>
        <p:spPr/>
        <p:txBody>
          <a:bodyPr/>
          <a:lstStyle/>
          <a:p>
            <a:endParaRPr lang="sv-SE"/>
          </a:p>
        </p:txBody>
      </p:sp>
      <p:sp>
        <p:nvSpPr>
          <p:cNvPr id="7" name="Slide Number Placeholder 6">
            <a:extLst>
              <a:ext uri="{FF2B5EF4-FFF2-40B4-BE49-F238E27FC236}">
                <a16:creationId xmlns:a16="http://schemas.microsoft.com/office/drawing/2014/main" id="{02B0BCA6-722F-45A1-0482-44F46676F2F3}"/>
              </a:ext>
            </a:extLst>
          </p:cNvPr>
          <p:cNvSpPr>
            <a:spLocks noGrp="1"/>
          </p:cNvSpPr>
          <p:nvPr>
            <p:ph type="sldNum" sz="quarter" idx="5"/>
          </p:nvPr>
        </p:nvSpPr>
        <p:spPr/>
        <p:txBody>
          <a:bodyPr/>
          <a:lstStyle/>
          <a:p>
            <a:fld id="{DD16377A-0A78-E044-A3A1-CA5CF8DD6905}" type="slidenum">
              <a:rPr lang="sv-SE" smtClean="0"/>
              <a:t>45</a:t>
            </a:fld>
            <a:endParaRPr lang="sv-SE"/>
          </a:p>
        </p:txBody>
      </p:sp>
    </p:spTree>
    <p:extLst>
      <p:ext uri="{BB962C8B-B14F-4D97-AF65-F5344CB8AC3E}">
        <p14:creationId xmlns:p14="http://schemas.microsoft.com/office/powerpoint/2010/main" val="402088682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sidhuvud 3"/>
          <p:cNvSpPr>
            <a:spLocks noGrp="1"/>
          </p:cNvSpPr>
          <p:nvPr>
            <p:ph type="hdr" sz="quarter"/>
          </p:nvPr>
        </p:nvSpPr>
        <p:spPr/>
        <p:txBody>
          <a:bodyPr/>
          <a:lstStyle/>
          <a:p>
            <a:endParaRPr lang="sv-SE"/>
          </a:p>
        </p:txBody>
      </p:sp>
      <p:sp>
        <p:nvSpPr>
          <p:cNvPr id="5" name="Platshållare för datum 4"/>
          <p:cNvSpPr>
            <a:spLocks noGrp="1"/>
          </p:cNvSpPr>
          <p:nvPr>
            <p:ph type="dt" idx="1"/>
          </p:nvPr>
        </p:nvSpPr>
        <p:spPr/>
        <p:txBody>
          <a:bodyPr/>
          <a:lstStyle/>
          <a:p>
            <a:fld id="{D96D18B1-2D3F-4CEF-9759-96D965664F8F}" type="datetime1">
              <a:rPr lang="sv-SE" smtClean="0"/>
              <a:t>2026-03-27</a:t>
            </a:fld>
            <a:endParaRPr lang="sv-SE"/>
          </a:p>
        </p:txBody>
      </p:sp>
      <p:sp>
        <p:nvSpPr>
          <p:cNvPr id="6" name="Platshållare för sidfot 5"/>
          <p:cNvSpPr>
            <a:spLocks noGrp="1"/>
          </p:cNvSpPr>
          <p:nvPr>
            <p:ph type="ftr" sz="quarter" idx="4"/>
          </p:nvPr>
        </p:nvSpPr>
        <p:spPr/>
        <p:txBody>
          <a:bodyPr/>
          <a:lstStyle/>
          <a:p>
            <a:endParaRPr lang="sv-SE"/>
          </a:p>
        </p:txBody>
      </p:sp>
      <p:sp>
        <p:nvSpPr>
          <p:cNvPr id="7" name="Platshållare för bildnummer 6"/>
          <p:cNvSpPr>
            <a:spLocks noGrp="1"/>
          </p:cNvSpPr>
          <p:nvPr>
            <p:ph type="sldNum" sz="quarter" idx="5"/>
          </p:nvPr>
        </p:nvSpPr>
        <p:spPr/>
        <p:txBody>
          <a:bodyPr/>
          <a:lstStyle/>
          <a:p>
            <a:fld id="{DD16377A-0A78-E044-A3A1-CA5CF8DD6905}" type="slidenum">
              <a:rPr lang="sv-SE" smtClean="0"/>
              <a:t>47</a:t>
            </a:fld>
            <a:endParaRPr lang="sv-SE"/>
          </a:p>
        </p:txBody>
      </p:sp>
    </p:spTree>
    <p:extLst>
      <p:ext uri="{BB962C8B-B14F-4D97-AF65-F5344CB8AC3E}">
        <p14:creationId xmlns:p14="http://schemas.microsoft.com/office/powerpoint/2010/main" val="16803899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83543C-D04C-735D-A1D5-6D31838E2B9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E456D4F-D36E-B452-6C64-1BD97FC79E9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5CC8352-227A-AEC5-ACA3-3A367F437DA4}"/>
              </a:ext>
            </a:extLst>
          </p:cNvPr>
          <p:cNvSpPr>
            <a:spLocks noGrp="1"/>
          </p:cNvSpPr>
          <p:nvPr>
            <p:ph type="body" idx="1"/>
          </p:nvPr>
        </p:nvSpPr>
        <p:spPr/>
        <p:txBody>
          <a:bodyPr/>
          <a:lstStyle/>
          <a:p>
            <a:endParaRPr lang="sv-SE"/>
          </a:p>
        </p:txBody>
      </p:sp>
      <p:sp>
        <p:nvSpPr>
          <p:cNvPr id="4" name="Header Placeholder 3">
            <a:extLst>
              <a:ext uri="{FF2B5EF4-FFF2-40B4-BE49-F238E27FC236}">
                <a16:creationId xmlns:a16="http://schemas.microsoft.com/office/drawing/2014/main" id="{5C9123F0-0CCC-6898-3E92-9FCC867BB2E0}"/>
              </a:ext>
            </a:extLst>
          </p:cNvPr>
          <p:cNvSpPr>
            <a:spLocks noGrp="1"/>
          </p:cNvSpPr>
          <p:nvPr>
            <p:ph type="hdr" sz="quarter"/>
          </p:nvPr>
        </p:nvSpPr>
        <p:spPr/>
        <p:txBody>
          <a:bodyPr/>
          <a:lstStyle/>
          <a:p>
            <a:endParaRPr lang="sv-SE"/>
          </a:p>
        </p:txBody>
      </p:sp>
      <p:sp>
        <p:nvSpPr>
          <p:cNvPr id="5" name="Date Placeholder 4">
            <a:extLst>
              <a:ext uri="{FF2B5EF4-FFF2-40B4-BE49-F238E27FC236}">
                <a16:creationId xmlns:a16="http://schemas.microsoft.com/office/drawing/2014/main" id="{B24D7E78-3F3E-490A-3F73-86EFF5A4A401}"/>
              </a:ext>
            </a:extLst>
          </p:cNvPr>
          <p:cNvSpPr>
            <a:spLocks noGrp="1"/>
          </p:cNvSpPr>
          <p:nvPr>
            <p:ph type="dt" idx="1"/>
          </p:nvPr>
        </p:nvSpPr>
        <p:spPr/>
        <p:txBody>
          <a:bodyPr/>
          <a:lstStyle/>
          <a:p>
            <a:fld id="{358FB0D5-D2DB-4DA5-97C7-FD62A0D55360}" type="datetime1">
              <a:rPr lang="sv-SE" smtClean="0"/>
              <a:t>2026-03-27</a:t>
            </a:fld>
            <a:endParaRPr lang="sv-SE"/>
          </a:p>
        </p:txBody>
      </p:sp>
      <p:sp>
        <p:nvSpPr>
          <p:cNvPr id="6" name="Footer Placeholder 5">
            <a:extLst>
              <a:ext uri="{FF2B5EF4-FFF2-40B4-BE49-F238E27FC236}">
                <a16:creationId xmlns:a16="http://schemas.microsoft.com/office/drawing/2014/main" id="{0ABF768A-59D2-A4F7-8AD8-C28EBF4A94F9}"/>
              </a:ext>
            </a:extLst>
          </p:cNvPr>
          <p:cNvSpPr>
            <a:spLocks noGrp="1"/>
          </p:cNvSpPr>
          <p:nvPr>
            <p:ph type="ftr" sz="quarter" idx="4"/>
          </p:nvPr>
        </p:nvSpPr>
        <p:spPr/>
        <p:txBody>
          <a:bodyPr/>
          <a:lstStyle/>
          <a:p>
            <a:endParaRPr lang="sv-SE"/>
          </a:p>
        </p:txBody>
      </p:sp>
      <p:sp>
        <p:nvSpPr>
          <p:cNvPr id="7" name="Slide Number Placeholder 6">
            <a:extLst>
              <a:ext uri="{FF2B5EF4-FFF2-40B4-BE49-F238E27FC236}">
                <a16:creationId xmlns:a16="http://schemas.microsoft.com/office/drawing/2014/main" id="{F6B5C6CF-7893-C30F-B6FF-9A522445A094}"/>
              </a:ext>
            </a:extLst>
          </p:cNvPr>
          <p:cNvSpPr>
            <a:spLocks noGrp="1"/>
          </p:cNvSpPr>
          <p:nvPr>
            <p:ph type="sldNum" sz="quarter" idx="5"/>
          </p:nvPr>
        </p:nvSpPr>
        <p:spPr/>
        <p:txBody>
          <a:bodyPr/>
          <a:lstStyle/>
          <a:p>
            <a:fld id="{DD16377A-0A78-E044-A3A1-CA5CF8DD6905}" type="slidenum">
              <a:rPr lang="sv-SE" smtClean="0"/>
              <a:t>7</a:t>
            </a:fld>
            <a:endParaRPr lang="sv-SE"/>
          </a:p>
        </p:txBody>
      </p:sp>
    </p:spTree>
    <p:extLst>
      <p:ext uri="{BB962C8B-B14F-4D97-AF65-F5344CB8AC3E}">
        <p14:creationId xmlns:p14="http://schemas.microsoft.com/office/powerpoint/2010/main" val="25895896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3268E0-EA64-4803-8B1C-9FA51F8B92F8}"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92357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defTabSz="955732"/>
            <a:endParaRPr lang="nb-NO"/>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3268E0-EA64-4803-8B1C-9FA51F8B92F8}"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36718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DB85CF-6B51-EEEA-54CF-CE31BB70E88B}"/>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94025E18-3444-A829-8700-DF01EDA133F4}"/>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A61CDC12-80C6-4AAF-82D5-00B9673C2F53}"/>
              </a:ext>
            </a:extLst>
          </p:cNvPr>
          <p:cNvSpPr>
            <a:spLocks noGrp="1"/>
          </p:cNvSpPr>
          <p:nvPr>
            <p:ph type="body" idx="1"/>
          </p:nvPr>
        </p:nvSpPr>
        <p:spPr/>
        <p:txBody>
          <a:bodyPr/>
          <a:lstStyle/>
          <a:p>
            <a:pPr defTabSz="955732"/>
            <a:endParaRPr lang="nb-NO"/>
          </a:p>
        </p:txBody>
      </p:sp>
      <p:sp>
        <p:nvSpPr>
          <p:cNvPr id="4" name="Plassholder for lysbildenummer 3">
            <a:extLst>
              <a:ext uri="{FF2B5EF4-FFF2-40B4-BE49-F238E27FC236}">
                <a16:creationId xmlns:a16="http://schemas.microsoft.com/office/drawing/2014/main" id="{80070820-21E3-7BA4-62F3-584D437C4F4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3268E0-EA64-4803-8B1C-9FA51F8B92F8}"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97641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8BAF5B-4F55-2FC8-0FF3-4AFF90E314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06DD1A1-6A41-D4CE-6809-7C14F8DCD6A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EB07109-DA29-095E-BD98-6D80AE26E3B7}"/>
              </a:ext>
            </a:extLst>
          </p:cNvPr>
          <p:cNvSpPr>
            <a:spLocks noGrp="1"/>
          </p:cNvSpPr>
          <p:nvPr>
            <p:ph type="body" idx="1"/>
          </p:nvPr>
        </p:nvSpPr>
        <p:spPr/>
        <p:txBody>
          <a:bodyPr/>
          <a:lstStyle/>
          <a:p>
            <a:endParaRPr lang="sv-SE"/>
          </a:p>
        </p:txBody>
      </p:sp>
      <p:sp>
        <p:nvSpPr>
          <p:cNvPr id="4" name="Header Placeholder 3">
            <a:extLst>
              <a:ext uri="{FF2B5EF4-FFF2-40B4-BE49-F238E27FC236}">
                <a16:creationId xmlns:a16="http://schemas.microsoft.com/office/drawing/2014/main" id="{46CD06E6-8196-A88F-AB1B-87B6C237B10C}"/>
              </a:ext>
            </a:extLst>
          </p:cNvPr>
          <p:cNvSpPr>
            <a:spLocks noGrp="1"/>
          </p:cNvSpPr>
          <p:nvPr>
            <p:ph type="hdr" sz="quarter"/>
          </p:nvPr>
        </p:nvSpPr>
        <p:spPr/>
        <p:txBody>
          <a:bodyPr/>
          <a:lstStyle/>
          <a:p>
            <a:endParaRPr lang="sv-SE"/>
          </a:p>
        </p:txBody>
      </p:sp>
      <p:sp>
        <p:nvSpPr>
          <p:cNvPr id="5" name="Date Placeholder 4">
            <a:extLst>
              <a:ext uri="{FF2B5EF4-FFF2-40B4-BE49-F238E27FC236}">
                <a16:creationId xmlns:a16="http://schemas.microsoft.com/office/drawing/2014/main" id="{9DF0DD6C-6B25-1722-ECFB-67A1689399B7}"/>
              </a:ext>
            </a:extLst>
          </p:cNvPr>
          <p:cNvSpPr>
            <a:spLocks noGrp="1"/>
          </p:cNvSpPr>
          <p:nvPr>
            <p:ph type="dt" idx="1"/>
          </p:nvPr>
        </p:nvSpPr>
        <p:spPr/>
        <p:txBody>
          <a:bodyPr/>
          <a:lstStyle/>
          <a:p>
            <a:fld id="{C86569E0-48A8-4C04-AE26-EA33FD3D5254}" type="datetime1">
              <a:rPr lang="sv-SE" smtClean="0"/>
              <a:t>2026-03-27</a:t>
            </a:fld>
            <a:endParaRPr lang="sv-SE"/>
          </a:p>
        </p:txBody>
      </p:sp>
      <p:sp>
        <p:nvSpPr>
          <p:cNvPr id="6" name="Footer Placeholder 5">
            <a:extLst>
              <a:ext uri="{FF2B5EF4-FFF2-40B4-BE49-F238E27FC236}">
                <a16:creationId xmlns:a16="http://schemas.microsoft.com/office/drawing/2014/main" id="{0FCA62B5-D56C-52A8-0BFC-95C872B2482A}"/>
              </a:ext>
            </a:extLst>
          </p:cNvPr>
          <p:cNvSpPr>
            <a:spLocks noGrp="1"/>
          </p:cNvSpPr>
          <p:nvPr>
            <p:ph type="ftr" sz="quarter" idx="4"/>
          </p:nvPr>
        </p:nvSpPr>
        <p:spPr/>
        <p:txBody>
          <a:bodyPr/>
          <a:lstStyle/>
          <a:p>
            <a:endParaRPr lang="sv-SE"/>
          </a:p>
        </p:txBody>
      </p:sp>
      <p:sp>
        <p:nvSpPr>
          <p:cNvPr id="7" name="Slide Number Placeholder 6">
            <a:extLst>
              <a:ext uri="{FF2B5EF4-FFF2-40B4-BE49-F238E27FC236}">
                <a16:creationId xmlns:a16="http://schemas.microsoft.com/office/drawing/2014/main" id="{817E3A5F-E786-E483-F4D2-92225D2394A0}"/>
              </a:ext>
            </a:extLst>
          </p:cNvPr>
          <p:cNvSpPr>
            <a:spLocks noGrp="1"/>
          </p:cNvSpPr>
          <p:nvPr>
            <p:ph type="sldNum" sz="quarter" idx="5"/>
          </p:nvPr>
        </p:nvSpPr>
        <p:spPr/>
        <p:txBody>
          <a:bodyPr/>
          <a:lstStyle/>
          <a:p>
            <a:fld id="{DD16377A-0A78-E044-A3A1-CA5CF8DD6905}" type="slidenum">
              <a:rPr lang="sv-SE" smtClean="0"/>
              <a:t>11</a:t>
            </a:fld>
            <a:endParaRPr lang="sv-SE"/>
          </a:p>
        </p:txBody>
      </p:sp>
    </p:spTree>
    <p:extLst>
      <p:ext uri="{BB962C8B-B14F-4D97-AF65-F5344CB8AC3E}">
        <p14:creationId xmlns:p14="http://schemas.microsoft.com/office/powerpoint/2010/main" val="4818717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2228DB-74F4-EEAC-8FB1-32ACFE7FC4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05D4C54-A835-4969-65C4-5B0779A8E2A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887AAE0-15AF-E632-7CD4-4933748B72E8}"/>
              </a:ext>
            </a:extLst>
          </p:cNvPr>
          <p:cNvSpPr>
            <a:spLocks noGrp="1"/>
          </p:cNvSpPr>
          <p:nvPr>
            <p:ph type="body" idx="1"/>
          </p:nvPr>
        </p:nvSpPr>
        <p:spPr/>
        <p:txBody>
          <a:bodyPr/>
          <a:lstStyle/>
          <a:p>
            <a:endParaRPr lang="sv-SE"/>
          </a:p>
        </p:txBody>
      </p:sp>
      <p:sp>
        <p:nvSpPr>
          <p:cNvPr id="4" name="Header Placeholder 3">
            <a:extLst>
              <a:ext uri="{FF2B5EF4-FFF2-40B4-BE49-F238E27FC236}">
                <a16:creationId xmlns:a16="http://schemas.microsoft.com/office/drawing/2014/main" id="{B4CCDDB8-FCB0-441A-3AF8-43DBD321F639}"/>
              </a:ext>
            </a:extLst>
          </p:cNvPr>
          <p:cNvSpPr>
            <a:spLocks noGrp="1"/>
          </p:cNvSpPr>
          <p:nvPr>
            <p:ph type="hdr" sz="quarter"/>
          </p:nvPr>
        </p:nvSpPr>
        <p:spPr/>
        <p:txBody>
          <a:bodyPr/>
          <a:lstStyle/>
          <a:p>
            <a:endParaRPr lang="sv-SE"/>
          </a:p>
        </p:txBody>
      </p:sp>
      <p:sp>
        <p:nvSpPr>
          <p:cNvPr id="5" name="Date Placeholder 4">
            <a:extLst>
              <a:ext uri="{FF2B5EF4-FFF2-40B4-BE49-F238E27FC236}">
                <a16:creationId xmlns:a16="http://schemas.microsoft.com/office/drawing/2014/main" id="{29538215-11B4-7E9A-C651-3CC2A90ABC96}"/>
              </a:ext>
            </a:extLst>
          </p:cNvPr>
          <p:cNvSpPr>
            <a:spLocks noGrp="1"/>
          </p:cNvSpPr>
          <p:nvPr>
            <p:ph type="dt" idx="1"/>
          </p:nvPr>
        </p:nvSpPr>
        <p:spPr/>
        <p:txBody>
          <a:bodyPr/>
          <a:lstStyle/>
          <a:p>
            <a:fld id="{A71698CE-B4B0-47F5-A756-23A244A519F7}" type="datetime1">
              <a:rPr lang="sv-SE" smtClean="0"/>
              <a:t>2026-03-27</a:t>
            </a:fld>
            <a:endParaRPr lang="sv-SE"/>
          </a:p>
        </p:txBody>
      </p:sp>
      <p:sp>
        <p:nvSpPr>
          <p:cNvPr id="6" name="Footer Placeholder 5">
            <a:extLst>
              <a:ext uri="{FF2B5EF4-FFF2-40B4-BE49-F238E27FC236}">
                <a16:creationId xmlns:a16="http://schemas.microsoft.com/office/drawing/2014/main" id="{DC1BA65F-7F11-D2E2-6BA4-9DC4E92885AF}"/>
              </a:ext>
            </a:extLst>
          </p:cNvPr>
          <p:cNvSpPr>
            <a:spLocks noGrp="1"/>
          </p:cNvSpPr>
          <p:nvPr>
            <p:ph type="ftr" sz="quarter" idx="4"/>
          </p:nvPr>
        </p:nvSpPr>
        <p:spPr/>
        <p:txBody>
          <a:bodyPr/>
          <a:lstStyle/>
          <a:p>
            <a:endParaRPr lang="sv-SE"/>
          </a:p>
        </p:txBody>
      </p:sp>
      <p:sp>
        <p:nvSpPr>
          <p:cNvPr id="7" name="Slide Number Placeholder 6">
            <a:extLst>
              <a:ext uri="{FF2B5EF4-FFF2-40B4-BE49-F238E27FC236}">
                <a16:creationId xmlns:a16="http://schemas.microsoft.com/office/drawing/2014/main" id="{3F859E3F-1CE1-1F2C-AF2E-46458B2CECAC}"/>
              </a:ext>
            </a:extLst>
          </p:cNvPr>
          <p:cNvSpPr>
            <a:spLocks noGrp="1"/>
          </p:cNvSpPr>
          <p:nvPr>
            <p:ph type="sldNum" sz="quarter" idx="5"/>
          </p:nvPr>
        </p:nvSpPr>
        <p:spPr/>
        <p:txBody>
          <a:bodyPr/>
          <a:lstStyle/>
          <a:p>
            <a:fld id="{DD16377A-0A78-E044-A3A1-CA5CF8DD6905}" type="slidenum">
              <a:rPr lang="sv-SE" smtClean="0"/>
              <a:t>13</a:t>
            </a:fld>
            <a:endParaRPr lang="sv-SE"/>
          </a:p>
        </p:txBody>
      </p:sp>
    </p:spTree>
    <p:extLst>
      <p:ext uri="{BB962C8B-B14F-4D97-AF65-F5344CB8AC3E}">
        <p14:creationId xmlns:p14="http://schemas.microsoft.com/office/powerpoint/2010/main" val="32115192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D84F7C1-ED8E-7F49-BA89-CA3A7C522CD5}" type="slidenum">
              <a:rPr kumimoji="0" lang="da-DK" sz="1000" b="0" i="0" u="none" strike="noStrike" kern="1200" cap="none" spc="0" normalizeH="0" baseline="0" noProof="0" smtClean="0">
                <a:ln>
                  <a:noFill/>
                </a:ln>
                <a:solidFill>
                  <a:srgbClr val="363A38"/>
                </a:solidFill>
                <a:effectLst/>
                <a:uLnTx/>
                <a:uFillTx/>
                <a:latin typeface="Century Gothic"/>
                <a:ea typeface="+mn-ea"/>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da-DK" sz="1000" b="0" i="0" u="none" strike="noStrike" kern="1200" cap="none" spc="0" normalizeH="0" baseline="0" noProof="0">
              <a:ln>
                <a:noFill/>
              </a:ln>
              <a:solidFill>
                <a:srgbClr val="363A38"/>
              </a:solidFill>
              <a:effectLst/>
              <a:uLnTx/>
              <a:uFillTx/>
              <a:latin typeface="Century Gothic"/>
              <a:ea typeface="+mn-ea"/>
            </a:endParaRPr>
          </a:p>
        </p:txBody>
      </p:sp>
    </p:spTree>
    <p:extLst>
      <p:ext uri="{BB962C8B-B14F-4D97-AF65-F5344CB8AC3E}">
        <p14:creationId xmlns:p14="http://schemas.microsoft.com/office/powerpoint/2010/main" val="41458761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3.jpe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1.jpe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image" Target="../media/image22.pn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image" Target="../media/image22.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3.emf"/><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4.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ntent 1 Blue">
    <p:spTree>
      <p:nvGrpSpPr>
        <p:cNvPr id="1" name=""/>
        <p:cNvGrpSpPr/>
        <p:nvPr/>
      </p:nvGrpSpPr>
      <p:grpSpPr>
        <a:xfrm>
          <a:off x="0" y="0"/>
          <a:ext cx="0" cy="0"/>
          <a:chOff x="0" y="0"/>
          <a:chExt cx="0" cy="0"/>
        </a:xfrm>
      </p:grpSpPr>
      <p:sp>
        <p:nvSpPr>
          <p:cNvPr id="20" name="Rektangel 19"/>
          <p:cNvSpPr/>
          <p:nvPr userDrawn="1"/>
        </p:nvSpPr>
        <p:spPr>
          <a:xfrm>
            <a:off x="4572000" y="0"/>
            <a:ext cx="4572000" cy="5143500"/>
          </a:xfrm>
          <a:prstGeom prst="rect">
            <a:avLst/>
          </a:prstGeom>
          <a:solidFill>
            <a:schemeClr val="tx2"/>
          </a:solidFill>
          <a:ln>
            <a:noFill/>
          </a:ln>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sv-SE"/>
          </a:p>
        </p:txBody>
      </p:sp>
      <p:grpSp>
        <p:nvGrpSpPr>
          <p:cNvPr id="22" name="Grupp 21">
            <a:extLst>
              <a:ext uri="{FF2B5EF4-FFF2-40B4-BE49-F238E27FC236}">
                <a16:creationId xmlns:a16="http://schemas.microsoft.com/office/drawing/2014/main" id="{58A4F037-5372-4F50-AB2C-80E4F015FDE0}"/>
              </a:ext>
            </a:extLst>
          </p:cNvPr>
          <p:cNvGrpSpPr/>
          <p:nvPr userDrawn="1"/>
        </p:nvGrpSpPr>
        <p:grpSpPr>
          <a:xfrm>
            <a:off x="4099911" y="-1785593"/>
            <a:ext cx="8908892" cy="8714685"/>
            <a:chOff x="3589405" y="387640"/>
            <a:chExt cx="5873827" cy="5872463"/>
          </a:xfrm>
          <a:solidFill>
            <a:schemeClr val="bg1">
              <a:alpha val="10000"/>
            </a:schemeClr>
          </a:solidFill>
        </p:grpSpPr>
        <p:sp>
          <p:nvSpPr>
            <p:cNvPr id="23" name="Freeform 5">
              <a:extLst>
                <a:ext uri="{FF2B5EF4-FFF2-40B4-BE49-F238E27FC236}">
                  <a16:creationId xmlns:a16="http://schemas.microsoft.com/office/drawing/2014/main" id="{7C1D4E85-F2CE-4336-8CC8-25E235311297}"/>
                </a:ext>
              </a:extLst>
            </p:cNvPr>
            <p:cNvSpPr>
              <a:spLocks/>
            </p:cNvSpPr>
            <p:nvPr/>
          </p:nvSpPr>
          <p:spPr bwMode="auto">
            <a:xfrm>
              <a:off x="3871774" y="678194"/>
              <a:ext cx="1392749" cy="1400934"/>
            </a:xfrm>
            <a:custGeom>
              <a:avLst/>
              <a:gdLst>
                <a:gd name="T0" fmla="*/ 2096 w 2096"/>
                <a:gd name="T1" fmla="*/ 0 h 2108"/>
                <a:gd name="T2" fmla="*/ 877 w 2096"/>
                <a:gd name="T3" fmla="*/ 863 h 2108"/>
                <a:gd name="T4" fmla="*/ 0 w 2096"/>
                <a:gd name="T5" fmla="*/ 2108 h 2108"/>
                <a:gd name="T6" fmla="*/ 981 w 2096"/>
                <a:gd name="T7" fmla="*/ 948 h 2108"/>
                <a:gd name="T8" fmla="*/ 2096 w 2096"/>
                <a:gd name="T9" fmla="*/ 0 h 2108"/>
              </a:gdLst>
              <a:ahLst/>
              <a:cxnLst>
                <a:cxn ang="0">
                  <a:pos x="T0" y="T1"/>
                </a:cxn>
                <a:cxn ang="0">
                  <a:pos x="T2" y="T3"/>
                </a:cxn>
                <a:cxn ang="0">
                  <a:pos x="T4" y="T5"/>
                </a:cxn>
                <a:cxn ang="0">
                  <a:pos x="T6" y="T7"/>
                </a:cxn>
                <a:cxn ang="0">
                  <a:pos x="T8" y="T9"/>
                </a:cxn>
              </a:cxnLst>
              <a:rect l="0" t="0" r="r" b="b"/>
              <a:pathLst>
                <a:path w="2096" h="2108">
                  <a:moveTo>
                    <a:pt x="2096" y="0"/>
                  </a:moveTo>
                  <a:cubicBezTo>
                    <a:pt x="1655" y="211"/>
                    <a:pt x="1242" y="498"/>
                    <a:pt x="877" y="863"/>
                  </a:cubicBezTo>
                  <a:cubicBezTo>
                    <a:pt x="504" y="1235"/>
                    <a:pt x="213" y="1658"/>
                    <a:pt x="0" y="2108"/>
                  </a:cubicBezTo>
                  <a:cubicBezTo>
                    <a:pt x="254" y="1741"/>
                    <a:pt x="588" y="1343"/>
                    <a:pt x="981" y="948"/>
                  </a:cubicBezTo>
                  <a:cubicBezTo>
                    <a:pt x="1360" y="571"/>
                    <a:pt x="1741" y="249"/>
                    <a:pt x="209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4" name="Freeform 6">
              <a:extLst>
                <a:ext uri="{FF2B5EF4-FFF2-40B4-BE49-F238E27FC236}">
                  <a16:creationId xmlns:a16="http://schemas.microsoft.com/office/drawing/2014/main" id="{AAC8634F-3E34-4168-8D60-19B3A00C0D81}"/>
                </a:ext>
              </a:extLst>
            </p:cNvPr>
            <p:cNvSpPr>
              <a:spLocks/>
            </p:cNvSpPr>
            <p:nvPr/>
          </p:nvSpPr>
          <p:spPr bwMode="auto">
            <a:xfrm>
              <a:off x="3635784" y="435383"/>
              <a:ext cx="2381724" cy="2399457"/>
            </a:xfrm>
            <a:custGeom>
              <a:avLst/>
              <a:gdLst>
                <a:gd name="T0" fmla="*/ 446 w 3585"/>
                <a:gd name="T1" fmla="*/ 2866 h 3609"/>
                <a:gd name="T2" fmla="*/ 484 w 3585"/>
                <a:gd name="T3" fmla="*/ 2811 h 3609"/>
                <a:gd name="T4" fmla="*/ 1565 w 3585"/>
                <a:gd name="T5" fmla="*/ 1541 h 3609"/>
                <a:gd name="T6" fmla="*/ 2835 w 3585"/>
                <a:gd name="T7" fmla="*/ 460 h 3609"/>
                <a:gd name="T8" fmla="*/ 2891 w 3585"/>
                <a:gd name="T9" fmla="*/ 422 h 3609"/>
                <a:gd name="T10" fmla="*/ 2945 w 3585"/>
                <a:gd name="T11" fmla="*/ 385 h 3609"/>
                <a:gd name="T12" fmla="*/ 3585 w 3585"/>
                <a:gd name="T13" fmla="*/ 0 h 3609"/>
                <a:gd name="T14" fmla="*/ 3071 w 3585"/>
                <a:gd name="T15" fmla="*/ 123 h 3609"/>
                <a:gd name="T16" fmla="*/ 2863 w 3585"/>
                <a:gd name="T17" fmla="*/ 239 h 3609"/>
                <a:gd name="T18" fmla="*/ 2809 w 3585"/>
                <a:gd name="T19" fmla="*/ 272 h 3609"/>
                <a:gd name="T20" fmla="*/ 2752 w 3585"/>
                <a:gd name="T21" fmla="*/ 307 h 3609"/>
                <a:gd name="T22" fmla="*/ 1420 w 3585"/>
                <a:gd name="T23" fmla="*/ 1396 h 3609"/>
                <a:gd name="T24" fmla="*/ 331 w 3585"/>
                <a:gd name="T25" fmla="*/ 2728 h 3609"/>
                <a:gd name="T26" fmla="*/ 296 w 3585"/>
                <a:gd name="T27" fmla="*/ 2785 h 3609"/>
                <a:gd name="T28" fmla="*/ 263 w 3585"/>
                <a:gd name="T29" fmla="*/ 2839 h 3609"/>
                <a:gd name="T30" fmla="*/ 113 w 3585"/>
                <a:gd name="T31" fmla="*/ 3114 h 3609"/>
                <a:gd name="T32" fmla="*/ 0 w 3585"/>
                <a:gd name="T33" fmla="*/ 3609 h 3609"/>
                <a:gd name="T34" fmla="*/ 408 w 3585"/>
                <a:gd name="T35" fmla="*/ 2921 h 3609"/>
                <a:gd name="T36" fmla="*/ 446 w 3585"/>
                <a:gd name="T37" fmla="*/ 2866 h 3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85" h="3609">
                  <a:moveTo>
                    <a:pt x="446" y="2866"/>
                  </a:moveTo>
                  <a:cubicBezTo>
                    <a:pt x="459" y="2848"/>
                    <a:pt x="471" y="2830"/>
                    <a:pt x="484" y="2811"/>
                  </a:cubicBezTo>
                  <a:cubicBezTo>
                    <a:pt x="775" y="2399"/>
                    <a:pt x="1141" y="1966"/>
                    <a:pt x="1565" y="1541"/>
                  </a:cubicBezTo>
                  <a:cubicBezTo>
                    <a:pt x="1990" y="1117"/>
                    <a:pt x="2423" y="751"/>
                    <a:pt x="2835" y="460"/>
                  </a:cubicBezTo>
                  <a:cubicBezTo>
                    <a:pt x="2854" y="447"/>
                    <a:pt x="2872" y="435"/>
                    <a:pt x="2891" y="422"/>
                  </a:cubicBezTo>
                  <a:cubicBezTo>
                    <a:pt x="2909" y="409"/>
                    <a:pt x="2927" y="397"/>
                    <a:pt x="2945" y="385"/>
                  </a:cubicBezTo>
                  <a:cubicBezTo>
                    <a:pt x="3167" y="233"/>
                    <a:pt x="3382" y="104"/>
                    <a:pt x="3585" y="0"/>
                  </a:cubicBezTo>
                  <a:cubicBezTo>
                    <a:pt x="3412" y="31"/>
                    <a:pt x="3240" y="72"/>
                    <a:pt x="3071" y="123"/>
                  </a:cubicBezTo>
                  <a:cubicBezTo>
                    <a:pt x="3004" y="158"/>
                    <a:pt x="2935" y="196"/>
                    <a:pt x="2863" y="239"/>
                  </a:cubicBezTo>
                  <a:cubicBezTo>
                    <a:pt x="2845" y="249"/>
                    <a:pt x="2827" y="261"/>
                    <a:pt x="2809" y="272"/>
                  </a:cubicBezTo>
                  <a:cubicBezTo>
                    <a:pt x="2790" y="284"/>
                    <a:pt x="2771" y="294"/>
                    <a:pt x="2752" y="307"/>
                  </a:cubicBezTo>
                  <a:cubicBezTo>
                    <a:pt x="2343" y="565"/>
                    <a:pt x="1875" y="939"/>
                    <a:pt x="1420" y="1396"/>
                  </a:cubicBezTo>
                  <a:cubicBezTo>
                    <a:pt x="963" y="1851"/>
                    <a:pt x="589" y="2319"/>
                    <a:pt x="331" y="2728"/>
                  </a:cubicBezTo>
                  <a:cubicBezTo>
                    <a:pt x="318" y="2747"/>
                    <a:pt x="308" y="2766"/>
                    <a:pt x="296" y="2785"/>
                  </a:cubicBezTo>
                  <a:cubicBezTo>
                    <a:pt x="285" y="2803"/>
                    <a:pt x="273" y="2821"/>
                    <a:pt x="263" y="2839"/>
                  </a:cubicBezTo>
                  <a:cubicBezTo>
                    <a:pt x="205" y="2935"/>
                    <a:pt x="156" y="3027"/>
                    <a:pt x="113" y="3114"/>
                  </a:cubicBezTo>
                  <a:cubicBezTo>
                    <a:pt x="65" y="3277"/>
                    <a:pt x="28" y="3443"/>
                    <a:pt x="0" y="3609"/>
                  </a:cubicBezTo>
                  <a:cubicBezTo>
                    <a:pt x="107" y="3392"/>
                    <a:pt x="245" y="3161"/>
                    <a:pt x="408" y="2921"/>
                  </a:cubicBezTo>
                  <a:cubicBezTo>
                    <a:pt x="421" y="2903"/>
                    <a:pt x="433" y="2885"/>
                    <a:pt x="446" y="28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5" name="Freeform 7">
              <a:extLst>
                <a:ext uri="{FF2B5EF4-FFF2-40B4-BE49-F238E27FC236}">
                  <a16:creationId xmlns:a16="http://schemas.microsoft.com/office/drawing/2014/main" id="{1044E1AF-5D57-4C57-A718-661729CA160C}"/>
                </a:ext>
              </a:extLst>
            </p:cNvPr>
            <p:cNvSpPr>
              <a:spLocks/>
            </p:cNvSpPr>
            <p:nvPr/>
          </p:nvSpPr>
          <p:spPr bwMode="auto">
            <a:xfrm>
              <a:off x="3589405" y="387640"/>
              <a:ext cx="3051498" cy="3077416"/>
            </a:xfrm>
            <a:custGeom>
              <a:avLst/>
              <a:gdLst>
                <a:gd name="T0" fmla="*/ 267 w 4592"/>
                <a:gd name="T1" fmla="*/ 4024 h 4629"/>
                <a:gd name="T2" fmla="*/ 1026 w 4592"/>
                <a:gd name="T3" fmla="*/ 2858 h 4629"/>
                <a:gd name="T4" fmla="*/ 1121 w 4592"/>
                <a:gd name="T5" fmla="*/ 2738 h 4629"/>
                <a:gd name="T6" fmla="*/ 1236 w 4592"/>
                <a:gd name="T7" fmla="*/ 2597 h 4629"/>
                <a:gd name="T8" fmla="*/ 1896 w 4592"/>
                <a:gd name="T9" fmla="*/ 1875 h 4629"/>
                <a:gd name="T10" fmla="*/ 2618 w 4592"/>
                <a:gd name="T11" fmla="*/ 1215 h 4629"/>
                <a:gd name="T12" fmla="*/ 2759 w 4592"/>
                <a:gd name="T13" fmla="*/ 1101 h 4629"/>
                <a:gd name="T14" fmla="*/ 2878 w 4592"/>
                <a:gd name="T15" fmla="*/ 1006 h 4629"/>
                <a:gd name="T16" fmla="*/ 4045 w 4592"/>
                <a:gd name="T17" fmla="*/ 246 h 4629"/>
                <a:gd name="T18" fmla="*/ 4104 w 4592"/>
                <a:gd name="T19" fmla="*/ 217 h 4629"/>
                <a:gd name="T20" fmla="*/ 4159 w 4592"/>
                <a:gd name="T21" fmla="*/ 189 h 4629"/>
                <a:gd name="T22" fmla="*/ 4592 w 4592"/>
                <a:gd name="T23" fmla="*/ 6 h 4629"/>
                <a:gd name="T24" fmla="*/ 4098 w 4592"/>
                <a:gd name="T25" fmla="*/ 16 h 4629"/>
                <a:gd name="T26" fmla="*/ 4059 w 4592"/>
                <a:gd name="T27" fmla="*/ 19 h 4629"/>
                <a:gd name="T28" fmla="*/ 4034 w 4592"/>
                <a:gd name="T29" fmla="*/ 29 h 4629"/>
                <a:gd name="T30" fmla="*/ 3987 w 4592"/>
                <a:gd name="T31" fmla="*/ 49 h 4629"/>
                <a:gd name="T32" fmla="*/ 3976 w 4592"/>
                <a:gd name="T33" fmla="*/ 53 h 4629"/>
                <a:gd name="T34" fmla="*/ 3018 w 4592"/>
                <a:gd name="T35" fmla="*/ 598 h 4629"/>
                <a:gd name="T36" fmla="*/ 2950 w 4592"/>
                <a:gd name="T37" fmla="*/ 644 h 4629"/>
                <a:gd name="T38" fmla="*/ 2877 w 4592"/>
                <a:gd name="T39" fmla="*/ 698 h 4629"/>
                <a:gd name="T40" fmla="*/ 1717 w 4592"/>
                <a:gd name="T41" fmla="*/ 1696 h 4629"/>
                <a:gd name="T42" fmla="*/ 718 w 4592"/>
                <a:gd name="T43" fmla="*/ 2856 h 4629"/>
                <a:gd name="T44" fmla="*/ 665 w 4592"/>
                <a:gd name="T45" fmla="*/ 2929 h 4629"/>
                <a:gd name="T46" fmla="*/ 618 w 4592"/>
                <a:gd name="T47" fmla="*/ 2997 h 4629"/>
                <a:gd name="T48" fmla="*/ 74 w 4592"/>
                <a:gd name="T49" fmla="*/ 3955 h 4629"/>
                <a:gd name="T50" fmla="*/ 50 w 4592"/>
                <a:gd name="T51" fmla="*/ 4013 h 4629"/>
                <a:gd name="T52" fmla="*/ 28 w 4592"/>
                <a:gd name="T53" fmla="*/ 4070 h 4629"/>
                <a:gd name="T54" fmla="*/ 17 w 4592"/>
                <a:gd name="T55" fmla="*/ 4101 h 4629"/>
                <a:gd name="T56" fmla="*/ 8 w 4592"/>
                <a:gd name="T57" fmla="*/ 4629 h 4629"/>
                <a:gd name="T58" fmla="*/ 210 w 4592"/>
                <a:gd name="T59" fmla="*/ 4138 h 4629"/>
                <a:gd name="T60" fmla="*/ 238 w 4592"/>
                <a:gd name="T61" fmla="*/ 4083 h 4629"/>
                <a:gd name="T62" fmla="*/ 267 w 4592"/>
                <a:gd name="T63" fmla="*/ 4024 h 4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92" h="4629">
                  <a:moveTo>
                    <a:pt x="267" y="4024"/>
                  </a:moveTo>
                  <a:cubicBezTo>
                    <a:pt x="457" y="3655"/>
                    <a:pt x="713" y="3259"/>
                    <a:pt x="1026" y="2858"/>
                  </a:cubicBezTo>
                  <a:cubicBezTo>
                    <a:pt x="1057" y="2818"/>
                    <a:pt x="1089" y="2778"/>
                    <a:pt x="1121" y="2738"/>
                  </a:cubicBezTo>
                  <a:cubicBezTo>
                    <a:pt x="1159" y="2691"/>
                    <a:pt x="1197" y="2644"/>
                    <a:pt x="1236" y="2597"/>
                  </a:cubicBezTo>
                  <a:cubicBezTo>
                    <a:pt x="1437" y="2356"/>
                    <a:pt x="1658" y="2114"/>
                    <a:pt x="1896" y="1875"/>
                  </a:cubicBezTo>
                  <a:cubicBezTo>
                    <a:pt x="2134" y="1637"/>
                    <a:pt x="2376" y="1417"/>
                    <a:pt x="2618" y="1215"/>
                  </a:cubicBezTo>
                  <a:cubicBezTo>
                    <a:pt x="2665" y="1176"/>
                    <a:pt x="2712" y="1138"/>
                    <a:pt x="2759" y="1101"/>
                  </a:cubicBezTo>
                  <a:cubicBezTo>
                    <a:pt x="2799" y="1068"/>
                    <a:pt x="2839" y="1037"/>
                    <a:pt x="2878" y="1006"/>
                  </a:cubicBezTo>
                  <a:cubicBezTo>
                    <a:pt x="3280" y="693"/>
                    <a:pt x="3675" y="437"/>
                    <a:pt x="4045" y="246"/>
                  </a:cubicBezTo>
                  <a:cubicBezTo>
                    <a:pt x="4065" y="236"/>
                    <a:pt x="4084" y="226"/>
                    <a:pt x="4104" y="217"/>
                  </a:cubicBezTo>
                  <a:cubicBezTo>
                    <a:pt x="4122" y="208"/>
                    <a:pt x="4141" y="198"/>
                    <a:pt x="4159" y="189"/>
                  </a:cubicBezTo>
                  <a:cubicBezTo>
                    <a:pt x="4309" y="116"/>
                    <a:pt x="4453" y="55"/>
                    <a:pt x="4592" y="6"/>
                  </a:cubicBezTo>
                  <a:cubicBezTo>
                    <a:pt x="4427" y="0"/>
                    <a:pt x="4262" y="3"/>
                    <a:pt x="4098" y="16"/>
                  </a:cubicBezTo>
                  <a:cubicBezTo>
                    <a:pt x="4085" y="17"/>
                    <a:pt x="4072" y="18"/>
                    <a:pt x="4059" y="19"/>
                  </a:cubicBezTo>
                  <a:cubicBezTo>
                    <a:pt x="4051" y="22"/>
                    <a:pt x="4043" y="26"/>
                    <a:pt x="4034" y="29"/>
                  </a:cubicBezTo>
                  <a:cubicBezTo>
                    <a:pt x="4019" y="35"/>
                    <a:pt x="4003" y="42"/>
                    <a:pt x="3987" y="49"/>
                  </a:cubicBezTo>
                  <a:cubicBezTo>
                    <a:pt x="3983" y="50"/>
                    <a:pt x="3980" y="51"/>
                    <a:pt x="3976" y="53"/>
                  </a:cubicBezTo>
                  <a:cubicBezTo>
                    <a:pt x="3689" y="174"/>
                    <a:pt x="3362" y="358"/>
                    <a:pt x="3018" y="598"/>
                  </a:cubicBezTo>
                  <a:cubicBezTo>
                    <a:pt x="2995" y="613"/>
                    <a:pt x="2973" y="628"/>
                    <a:pt x="2950" y="644"/>
                  </a:cubicBezTo>
                  <a:cubicBezTo>
                    <a:pt x="2926" y="661"/>
                    <a:pt x="2902" y="680"/>
                    <a:pt x="2877" y="698"/>
                  </a:cubicBezTo>
                  <a:cubicBezTo>
                    <a:pt x="2499" y="973"/>
                    <a:pt x="2103" y="1309"/>
                    <a:pt x="1717" y="1696"/>
                  </a:cubicBezTo>
                  <a:cubicBezTo>
                    <a:pt x="1330" y="2082"/>
                    <a:pt x="994" y="2478"/>
                    <a:pt x="718" y="2856"/>
                  </a:cubicBezTo>
                  <a:cubicBezTo>
                    <a:pt x="701" y="2881"/>
                    <a:pt x="682" y="2905"/>
                    <a:pt x="665" y="2929"/>
                  </a:cubicBezTo>
                  <a:cubicBezTo>
                    <a:pt x="649" y="2952"/>
                    <a:pt x="634" y="2974"/>
                    <a:pt x="618" y="2997"/>
                  </a:cubicBezTo>
                  <a:cubicBezTo>
                    <a:pt x="379" y="3341"/>
                    <a:pt x="195" y="3668"/>
                    <a:pt x="74" y="3955"/>
                  </a:cubicBezTo>
                  <a:cubicBezTo>
                    <a:pt x="66" y="3975"/>
                    <a:pt x="57" y="3994"/>
                    <a:pt x="50" y="4013"/>
                  </a:cubicBezTo>
                  <a:cubicBezTo>
                    <a:pt x="42" y="4032"/>
                    <a:pt x="35" y="4051"/>
                    <a:pt x="28" y="4070"/>
                  </a:cubicBezTo>
                  <a:cubicBezTo>
                    <a:pt x="24" y="4080"/>
                    <a:pt x="21" y="4090"/>
                    <a:pt x="17" y="4101"/>
                  </a:cubicBezTo>
                  <a:cubicBezTo>
                    <a:pt x="4" y="4276"/>
                    <a:pt x="0" y="4452"/>
                    <a:pt x="8" y="4629"/>
                  </a:cubicBezTo>
                  <a:cubicBezTo>
                    <a:pt x="60" y="4472"/>
                    <a:pt x="127" y="4309"/>
                    <a:pt x="210" y="4138"/>
                  </a:cubicBezTo>
                  <a:cubicBezTo>
                    <a:pt x="219" y="4120"/>
                    <a:pt x="228" y="4101"/>
                    <a:pt x="238" y="4083"/>
                  </a:cubicBezTo>
                  <a:cubicBezTo>
                    <a:pt x="247" y="4063"/>
                    <a:pt x="257" y="4044"/>
                    <a:pt x="267" y="40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6" name="Freeform 8">
              <a:extLst>
                <a:ext uri="{FF2B5EF4-FFF2-40B4-BE49-F238E27FC236}">
                  <a16:creationId xmlns:a16="http://schemas.microsoft.com/office/drawing/2014/main" id="{3377C1A4-0564-4448-BF92-C18ABDBCE824}"/>
                </a:ext>
              </a:extLst>
            </p:cNvPr>
            <p:cNvSpPr>
              <a:spLocks/>
            </p:cNvSpPr>
            <p:nvPr/>
          </p:nvSpPr>
          <p:spPr bwMode="auto">
            <a:xfrm>
              <a:off x="3736728" y="524050"/>
              <a:ext cx="4067755" cy="4096401"/>
            </a:xfrm>
            <a:custGeom>
              <a:avLst/>
              <a:gdLst>
                <a:gd name="T0" fmla="*/ 711 w 6120"/>
                <a:gd name="T1" fmla="*/ 4802 h 6162"/>
                <a:gd name="T2" fmla="*/ 755 w 6120"/>
                <a:gd name="T3" fmla="*/ 4721 h 6162"/>
                <a:gd name="T4" fmla="*/ 2492 w 6120"/>
                <a:gd name="T5" fmla="*/ 2487 h 6162"/>
                <a:gd name="T6" fmla="*/ 4726 w 6120"/>
                <a:gd name="T7" fmla="*/ 750 h 6162"/>
                <a:gd name="T8" fmla="*/ 4807 w 6120"/>
                <a:gd name="T9" fmla="*/ 706 h 6162"/>
                <a:gd name="T10" fmla="*/ 4883 w 6120"/>
                <a:gd name="T11" fmla="*/ 666 h 6162"/>
                <a:gd name="T12" fmla="*/ 5747 w 6120"/>
                <a:gd name="T13" fmla="*/ 308 h 6162"/>
                <a:gd name="T14" fmla="*/ 5804 w 6120"/>
                <a:gd name="T15" fmla="*/ 292 h 6162"/>
                <a:gd name="T16" fmla="*/ 5862 w 6120"/>
                <a:gd name="T17" fmla="*/ 276 h 6162"/>
                <a:gd name="T18" fmla="*/ 6120 w 6120"/>
                <a:gd name="T19" fmla="*/ 226 h 6162"/>
                <a:gd name="T20" fmla="*/ 5817 w 6120"/>
                <a:gd name="T21" fmla="*/ 96 h 6162"/>
                <a:gd name="T22" fmla="*/ 5740 w 6120"/>
                <a:gd name="T23" fmla="*/ 67 h 6162"/>
                <a:gd name="T24" fmla="*/ 5659 w 6120"/>
                <a:gd name="T25" fmla="*/ 37 h 6162"/>
                <a:gd name="T26" fmla="*/ 5541 w 6120"/>
                <a:gd name="T27" fmla="*/ 0 h 6162"/>
                <a:gd name="T28" fmla="*/ 4988 w 6120"/>
                <a:gd name="T29" fmla="*/ 131 h 6162"/>
                <a:gd name="T30" fmla="*/ 4928 w 6120"/>
                <a:gd name="T31" fmla="*/ 153 h 6162"/>
                <a:gd name="T32" fmla="*/ 4868 w 6120"/>
                <a:gd name="T33" fmla="*/ 175 h 6162"/>
                <a:gd name="T34" fmla="*/ 3700 w 6120"/>
                <a:gd name="T35" fmla="*/ 791 h 6162"/>
                <a:gd name="T36" fmla="*/ 3593 w 6120"/>
                <a:gd name="T37" fmla="*/ 862 h 6162"/>
                <a:gd name="T38" fmla="*/ 3473 w 6120"/>
                <a:gd name="T39" fmla="*/ 946 h 6162"/>
                <a:gd name="T40" fmla="*/ 2108 w 6120"/>
                <a:gd name="T41" fmla="*/ 2103 h 6162"/>
                <a:gd name="T42" fmla="*/ 951 w 6120"/>
                <a:gd name="T43" fmla="*/ 3469 h 6162"/>
                <a:gd name="T44" fmla="*/ 866 w 6120"/>
                <a:gd name="T45" fmla="*/ 3588 h 6162"/>
                <a:gd name="T46" fmla="*/ 796 w 6120"/>
                <a:gd name="T47" fmla="*/ 3695 h 6162"/>
                <a:gd name="T48" fmla="*/ 180 w 6120"/>
                <a:gd name="T49" fmla="*/ 4863 h 6162"/>
                <a:gd name="T50" fmla="*/ 157 w 6120"/>
                <a:gd name="T51" fmla="*/ 4924 h 6162"/>
                <a:gd name="T52" fmla="*/ 136 w 6120"/>
                <a:gd name="T53" fmla="*/ 4983 h 6162"/>
                <a:gd name="T54" fmla="*/ 0 w 6120"/>
                <a:gd name="T55" fmla="*/ 5601 h 6162"/>
                <a:gd name="T56" fmla="*/ 9 w 6120"/>
                <a:gd name="T57" fmla="*/ 5631 h 6162"/>
                <a:gd name="T58" fmla="*/ 39 w 6120"/>
                <a:gd name="T59" fmla="*/ 5719 h 6162"/>
                <a:gd name="T60" fmla="*/ 69 w 6120"/>
                <a:gd name="T61" fmla="*/ 5799 h 6162"/>
                <a:gd name="T62" fmla="*/ 225 w 6120"/>
                <a:gd name="T63" fmla="*/ 6162 h 6162"/>
                <a:gd name="T64" fmla="*/ 282 w 6120"/>
                <a:gd name="T65" fmla="*/ 5857 h 6162"/>
                <a:gd name="T66" fmla="*/ 297 w 6120"/>
                <a:gd name="T67" fmla="*/ 5799 h 6162"/>
                <a:gd name="T68" fmla="*/ 313 w 6120"/>
                <a:gd name="T69" fmla="*/ 5742 h 6162"/>
                <a:gd name="T70" fmla="*/ 671 w 6120"/>
                <a:gd name="T71" fmla="*/ 4877 h 6162"/>
                <a:gd name="T72" fmla="*/ 711 w 6120"/>
                <a:gd name="T73" fmla="*/ 4802 h 6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20" h="6162">
                  <a:moveTo>
                    <a:pt x="711" y="4802"/>
                  </a:moveTo>
                  <a:cubicBezTo>
                    <a:pt x="726" y="4775"/>
                    <a:pt x="740" y="4748"/>
                    <a:pt x="755" y="4721"/>
                  </a:cubicBezTo>
                  <a:cubicBezTo>
                    <a:pt x="1151" y="4012"/>
                    <a:pt x="1746" y="3234"/>
                    <a:pt x="2492" y="2487"/>
                  </a:cubicBezTo>
                  <a:cubicBezTo>
                    <a:pt x="3239" y="1741"/>
                    <a:pt x="4017" y="1146"/>
                    <a:pt x="4726" y="750"/>
                  </a:cubicBezTo>
                  <a:cubicBezTo>
                    <a:pt x="4753" y="735"/>
                    <a:pt x="4780" y="721"/>
                    <a:pt x="4807" y="706"/>
                  </a:cubicBezTo>
                  <a:cubicBezTo>
                    <a:pt x="4832" y="693"/>
                    <a:pt x="4857" y="679"/>
                    <a:pt x="4883" y="666"/>
                  </a:cubicBezTo>
                  <a:cubicBezTo>
                    <a:pt x="5189" y="506"/>
                    <a:pt x="5480" y="385"/>
                    <a:pt x="5747" y="308"/>
                  </a:cubicBezTo>
                  <a:cubicBezTo>
                    <a:pt x="5766" y="302"/>
                    <a:pt x="5785" y="297"/>
                    <a:pt x="5804" y="292"/>
                  </a:cubicBezTo>
                  <a:cubicBezTo>
                    <a:pt x="5824" y="286"/>
                    <a:pt x="5843" y="281"/>
                    <a:pt x="5862" y="276"/>
                  </a:cubicBezTo>
                  <a:cubicBezTo>
                    <a:pt x="5951" y="254"/>
                    <a:pt x="6037" y="238"/>
                    <a:pt x="6120" y="226"/>
                  </a:cubicBezTo>
                  <a:cubicBezTo>
                    <a:pt x="6020" y="179"/>
                    <a:pt x="5919" y="136"/>
                    <a:pt x="5817" y="96"/>
                  </a:cubicBezTo>
                  <a:cubicBezTo>
                    <a:pt x="5791" y="86"/>
                    <a:pt x="5766" y="76"/>
                    <a:pt x="5740" y="67"/>
                  </a:cubicBezTo>
                  <a:cubicBezTo>
                    <a:pt x="5713" y="57"/>
                    <a:pt x="5686" y="47"/>
                    <a:pt x="5659" y="37"/>
                  </a:cubicBezTo>
                  <a:cubicBezTo>
                    <a:pt x="5620" y="24"/>
                    <a:pt x="5580" y="12"/>
                    <a:pt x="5541" y="0"/>
                  </a:cubicBezTo>
                  <a:cubicBezTo>
                    <a:pt x="5373" y="19"/>
                    <a:pt x="5187" y="62"/>
                    <a:pt x="4988" y="131"/>
                  </a:cubicBezTo>
                  <a:cubicBezTo>
                    <a:pt x="4969" y="137"/>
                    <a:pt x="4948" y="145"/>
                    <a:pt x="4928" y="153"/>
                  </a:cubicBezTo>
                  <a:cubicBezTo>
                    <a:pt x="4909" y="160"/>
                    <a:pt x="4888" y="168"/>
                    <a:pt x="4868" y="175"/>
                  </a:cubicBezTo>
                  <a:cubicBezTo>
                    <a:pt x="4509" y="311"/>
                    <a:pt x="4113" y="520"/>
                    <a:pt x="3700" y="791"/>
                  </a:cubicBezTo>
                  <a:cubicBezTo>
                    <a:pt x="3665" y="815"/>
                    <a:pt x="3629" y="837"/>
                    <a:pt x="3593" y="862"/>
                  </a:cubicBezTo>
                  <a:cubicBezTo>
                    <a:pt x="3554" y="889"/>
                    <a:pt x="3513" y="918"/>
                    <a:pt x="3473" y="946"/>
                  </a:cubicBezTo>
                  <a:cubicBezTo>
                    <a:pt x="3022" y="1264"/>
                    <a:pt x="2557" y="1653"/>
                    <a:pt x="2108" y="2103"/>
                  </a:cubicBezTo>
                  <a:cubicBezTo>
                    <a:pt x="1657" y="2553"/>
                    <a:pt x="1269" y="3017"/>
                    <a:pt x="951" y="3469"/>
                  </a:cubicBezTo>
                  <a:cubicBezTo>
                    <a:pt x="922" y="3509"/>
                    <a:pt x="893" y="3549"/>
                    <a:pt x="866" y="3588"/>
                  </a:cubicBezTo>
                  <a:cubicBezTo>
                    <a:pt x="842" y="3624"/>
                    <a:pt x="819" y="3660"/>
                    <a:pt x="796" y="3695"/>
                  </a:cubicBezTo>
                  <a:cubicBezTo>
                    <a:pt x="525" y="4108"/>
                    <a:pt x="316" y="4504"/>
                    <a:pt x="180" y="4863"/>
                  </a:cubicBezTo>
                  <a:cubicBezTo>
                    <a:pt x="173" y="4883"/>
                    <a:pt x="165" y="4904"/>
                    <a:pt x="157" y="4924"/>
                  </a:cubicBezTo>
                  <a:cubicBezTo>
                    <a:pt x="150" y="4943"/>
                    <a:pt x="142" y="4964"/>
                    <a:pt x="136" y="4983"/>
                  </a:cubicBezTo>
                  <a:cubicBezTo>
                    <a:pt x="58" y="5209"/>
                    <a:pt x="13" y="5416"/>
                    <a:pt x="0" y="5601"/>
                  </a:cubicBezTo>
                  <a:cubicBezTo>
                    <a:pt x="3" y="5611"/>
                    <a:pt x="6" y="5621"/>
                    <a:pt x="9" y="5631"/>
                  </a:cubicBezTo>
                  <a:cubicBezTo>
                    <a:pt x="19" y="5660"/>
                    <a:pt x="29" y="5690"/>
                    <a:pt x="39" y="5719"/>
                  </a:cubicBezTo>
                  <a:cubicBezTo>
                    <a:pt x="49" y="5746"/>
                    <a:pt x="59" y="5772"/>
                    <a:pt x="69" y="5799"/>
                  </a:cubicBezTo>
                  <a:cubicBezTo>
                    <a:pt x="116" y="5922"/>
                    <a:pt x="168" y="6043"/>
                    <a:pt x="225" y="6162"/>
                  </a:cubicBezTo>
                  <a:cubicBezTo>
                    <a:pt x="236" y="6065"/>
                    <a:pt x="255" y="5963"/>
                    <a:pt x="282" y="5857"/>
                  </a:cubicBezTo>
                  <a:cubicBezTo>
                    <a:pt x="286" y="5838"/>
                    <a:pt x="291" y="5819"/>
                    <a:pt x="297" y="5799"/>
                  </a:cubicBezTo>
                  <a:cubicBezTo>
                    <a:pt x="302" y="5780"/>
                    <a:pt x="307" y="5761"/>
                    <a:pt x="313" y="5742"/>
                  </a:cubicBezTo>
                  <a:cubicBezTo>
                    <a:pt x="390" y="5475"/>
                    <a:pt x="511" y="5184"/>
                    <a:pt x="671" y="4877"/>
                  </a:cubicBezTo>
                  <a:cubicBezTo>
                    <a:pt x="684" y="4852"/>
                    <a:pt x="698" y="4827"/>
                    <a:pt x="711" y="48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7" name="Freeform 9">
              <a:extLst>
                <a:ext uri="{FF2B5EF4-FFF2-40B4-BE49-F238E27FC236}">
                  <a16:creationId xmlns:a16="http://schemas.microsoft.com/office/drawing/2014/main" id="{6EC9FAE3-1492-416A-BCFC-66F77187622F}"/>
                </a:ext>
              </a:extLst>
            </p:cNvPr>
            <p:cNvSpPr>
              <a:spLocks/>
            </p:cNvSpPr>
            <p:nvPr/>
          </p:nvSpPr>
          <p:spPr bwMode="auto">
            <a:xfrm>
              <a:off x="4160964" y="945558"/>
              <a:ext cx="4516544" cy="4545190"/>
            </a:xfrm>
            <a:custGeom>
              <a:avLst/>
              <a:gdLst>
                <a:gd name="T0" fmla="*/ 6710 w 6796"/>
                <a:gd name="T1" fmla="*/ 461 h 6838"/>
                <a:gd name="T2" fmla="*/ 6619 w 6796"/>
                <a:gd name="T3" fmla="*/ 375 h 6838"/>
                <a:gd name="T4" fmla="*/ 6553 w 6796"/>
                <a:gd name="T5" fmla="*/ 312 h 6838"/>
                <a:gd name="T6" fmla="*/ 6484 w 6796"/>
                <a:gd name="T7" fmla="*/ 252 h 6838"/>
                <a:gd name="T8" fmla="*/ 6170 w 6796"/>
                <a:gd name="T9" fmla="*/ 1 h 6838"/>
                <a:gd name="T10" fmla="*/ 6125 w 6796"/>
                <a:gd name="T11" fmla="*/ 0 h 6838"/>
                <a:gd name="T12" fmla="*/ 5991 w 6796"/>
                <a:gd name="T13" fmla="*/ 6 h 6838"/>
                <a:gd name="T14" fmla="*/ 5933 w 6796"/>
                <a:gd name="T15" fmla="*/ 11 h 6838"/>
                <a:gd name="T16" fmla="*/ 5874 w 6796"/>
                <a:gd name="T17" fmla="*/ 18 h 6838"/>
                <a:gd name="T18" fmla="*/ 5184 w 6796"/>
                <a:gd name="T19" fmla="*/ 205 h 6838"/>
                <a:gd name="T20" fmla="*/ 5119 w 6796"/>
                <a:gd name="T21" fmla="*/ 231 h 6838"/>
                <a:gd name="T22" fmla="*/ 5050 w 6796"/>
                <a:gd name="T23" fmla="*/ 259 h 6838"/>
                <a:gd name="T24" fmla="*/ 3758 w 6796"/>
                <a:gd name="T25" fmla="*/ 987 h 6838"/>
                <a:gd name="T26" fmla="*/ 3625 w 6796"/>
                <a:gd name="T27" fmla="*/ 1081 h 6838"/>
                <a:gd name="T28" fmla="*/ 3479 w 6796"/>
                <a:gd name="T29" fmla="*/ 1189 h 6838"/>
                <a:gd name="T30" fmla="*/ 2254 w 6796"/>
                <a:gd name="T31" fmla="*/ 2254 h 6838"/>
                <a:gd name="T32" fmla="*/ 1188 w 6796"/>
                <a:gd name="T33" fmla="*/ 3479 h 6838"/>
                <a:gd name="T34" fmla="*/ 1081 w 6796"/>
                <a:gd name="T35" fmla="*/ 3626 h 6838"/>
                <a:gd name="T36" fmla="*/ 987 w 6796"/>
                <a:gd name="T37" fmla="*/ 3758 h 6838"/>
                <a:gd name="T38" fmla="*/ 259 w 6796"/>
                <a:gd name="T39" fmla="*/ 5050 h 6838"/>
                <a:gd name="T40" fmla="*/ 231 w 6796"/>
                <a:gd name="T41" fmla="*/ 5119 h 6838"/>
                <a:gd name="T42" fmla="*/ 205 w 6796"/>
                <a:gd name="T43" fmla="*/ 5184 h 6838"/>
                <a:gd name="T44" fmla="*/ 18 w 6796"/>
                <a:gd name="T45" fmla="*/ 5874 h 6838"/>
                <a:gd name="T46" fmla="*/ 11 w 6796"/>
                <a:gd name="T47" fmla="*/ 5933 h 6838"/>
                <a:gd name="T48" fmla="*/ 6 w 6796"/>
                <a:gd name="T49" fmla="*/ 5991 h 6838"/>
                <a:gd name="T50" fmla="*/ 0 w 6796"/>
                <a:gd name="T51" fmla="*/ 6125 h 6838"/>
                <a:gd name="T52" fmla="*/ 3 w 6796"/>
                <a:gd name="T53" fmla="*/ 6220 h 6838"/>
                <a:gd name="T54" fmla="*/ 208 w 6796"/>
                <a:gd name="T55" fmla="*/ 6475 h 6838"/>
                <a:gd name="T56" fmla="*/ 270 w 6796"/>
                <a:gd name="T57" fmla="*/ 6547 h 6838"/>
                <a:gd name="T58" fmla="*/ 332 w 6796"/>
                <a:gd name="T59" fmla="*/ 6615 h 6838"/>
                <a:gd name="T60" fmla="*/ 442 w 6796"/>
                <a:gd name="T61" fmla="*/ 6729 h 6838"/>
                <a:gd name="T62" fmla="*/ 556 w 6796"/>
                <a:gd name="T63" fmla="*/ 6838 h 6838"/>
                <a:gd name="T64" fmla="*/ 548 w 6796"/>
                <a:gd name="T65" fmla="*/ 6702 h 6838"/>
                <a:gd name="T66" fmla="*/ 551 w 6796"/>
                <a:gd name="T67" fmla="*/ 6619 h 6838"/>
                <a:gd name="T68" fmla="*/ 556 w 6796"/>
                <a:gd name="T69" fmla="*/ 6560 h 6838"/>
                <a:gd name="T70" fmla="*/ 561 w 6796"/>
                <a:gd name="T71" fmla="*/ 6501 h 6838"/>
                <a:gd name="T72" fmla="*/ 700 w 6796"/>
                <a:gd name="T73" fmla="*/ 5918 h 6838"/>
                <a:gd name="T74" fmla="*/ 724 w 6796"/>
                <a:gd name="T75" fmla="*/ 5852 h 6838"/>
                <a:gd name="T76" fmla="*/ 750 w 6796"/>
                <a:gd name="T77" fmla="*/ 5782 h 6838"/>
                <a:gd name="T78" fmla="*/ 1285 w 6796"/>
                <a:gd name="T79" fmla="*/ 4735 h 6838"/>
                <a:gd name="T80" fmla="*/ 1353 w 6796"/>
                <a:gd name="T81" fmla="*/ 4628 h 6838"/>
                <a:gd name="T82" fmla="*/ 1430 w 6796"/>
                <a:gd name="T83" fmla="*/ 4511 h 6838"/>
                <a:gd name="T84" fmla="*/ 2828 w 6796"/>
                <a:gd name="T85" fmla="*/ 2828 h 6838"/>
                <a:gd name="T86" fmla="*/ 4511 w 6796"/>
                <a:gd name="T87" fmla="*/ 1430 h 6838"/>
                <a:gd name="T88" fmla="*/ 4627 w 6796"/>
                <a:gd name="T89" fmla="*/ 1354 h 6838"/>
                <a:gd name="T90" fmla="*/ 4735 w 6796"/>
                <a:gd name="T91" fmla="*/ 1285 h 6838"/>
                <a:gd name="T92" fmla="*/ 5781 w 6796"/>
                <a:gd name="T93" fmla="*/ 750 h 6838"/>
                <a:gd name="T94" fmla="*/ 5851 w 6796"/>
                <a:gd name="T95" fmla="*/ 724 h 6838"/>
                <a:gd name="T96" fmla="*/ 5918 w 6796"/>
                <a:gd name="T97" fmla="*/ 700 h 6838"/>
                <a:gd name="T98" fmla="*/ 6501 w 6796"/>
                <a:gd name="T99" fmla="*/ 561 h 6838"/>
                <a:gd name="T100" fmla="*/ 6560 w 6796"/>
                <a:gd name="T101" fmla="*/ 556 h 6838"/>
                <a:gd name="T102" fmla="*/ 6620 w 6796"/>
                <a:gd name="T103" fmla="*/ 551 h 6838"/>
                <a:gd name="T104" fmla="*/ 6702 w 6796"/>
                <a:gd name="T105" fmla="*/ 548 h 6838"/>
                <a:gd name="T106" fmla="*/ 6796 w 6796"/>
                <a:gd name="T107" fmla="*/ 552 h 6838"/>
                <a:gd name="T108" fmla="*/ 6710 w 6796"/>
                <a:gd name="T109" fmla="*/ 461 h 6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796" h="6838">
                  <a:moveTo>
                    <a:pt x="6710" y="461"/>
                  </a:moveTo>
                  <a:cubicBezTo>
                    <a:pt x="6680" y="431"/>
                    <a:pt x="6649" y="403"/>
                    <a:pt x="6619" y="375"/>
                  </a:cubicBezTo>
                  <a:cubicBezTo>
                    <a:pt x="6597" y="354"/>
                    <a:pt x="6575" y="332"/>
                    <a:pt x="6553" y="312"/>
                  </a:cubicBezTo>
                  <a:cubicBezTo>
                    <a:pt x="6530" y="291"/>
                    <a:pt x="6507" y="272"/>
                    <a:pt x="6484" y="252"/>
                  </a:cubicBezTo>
                  <a:cubicBezTo>
                    <a:pt x="6382" y="163"/>
                    <a:pt x="6278" y="79"/>
                    <a:pt x="6170" y="1"/>
                  </a:cubicBezTo>
                  <a:cubicBezTo>
                    <a:pt x="6155" y="1"/>
                    <a:pt x="6140" y="0"/>
                    <a:pt x="6125" y="0"/>
                  </a:cubicBezTo>
                  <a:cubicBezTo>
                    <a:pt x="6082" y="0"/>
                    <a:pt x="6037" y="2"/>
                    <a:pt x="5991" y="6"/>
                  </a:cubicBezTo>
                  <a:cubicBezTo>
                    <a:pt x="5972" y="7"/>
                    <a:pt x="5953" y="9"/>
                    <a:pt x="5933" y="11"/>
                  </a:cubicBezTo>
                  <a:cubicBezTo>
                    <a:pt x="5914" y="13"/>
                    <a:pt x="5894" y="15"/>
                    <a:pt x="5874" y="18"/>
                  </a:cubicBezTo>
                  <a:cubicBezTo>
                    <a:pt x="5664" y="47"/>
                    <a:pt x="5432" y="110"/>
                    <a:pt x="5184" y="205"/>
                  </a:cubicBezTo>
                  <a:cubicBezTo>
                    <a:pt x="5162" y="214"/>
                    <a:pt x="5141" y="222"/>
                    <a:pt x="5119" y="231"/>
                  </a:cubicBezTo>
                  <a:cubicBezTo>
                    <a:pt x="5096" y="240"/>
                    <a:pt x="5073" y="249"/>
                    <a:pt x="5050" y="259"/>
                  </a:cubicBezTo>
                  <a:cubicBezTo>
                    <a:pt x="4649" y="427"/>
                    <a:pt x="4210" y="673"/>
                    <a:pt x="3758" y="987"/>
                  </a:cubicBezTo>
                  <a:cubicBezTo>
                    <a:pt x="3714" y="1018"/>
                    <a:pt x="3670" y="1049"/>
                    <a:pt x="3625" y="1081"/>
                  </a:cubicBezTo>
                  <a:cubicBezTo>
                    <a:pt x="3576" y="1116"/>
                    <a:pt x="3528" y="1152"/>
                    <a:pt x="3479" y="1189"/>
                  </a:cubicBezTo>
                  <a:cubicBezTo>
                    <a:pt x="3071" y="1494"/>
                    <a:pt x="2657" y="1851"/>
                    <a:pt x="2254" y="2254"/>
                  </a:cubicBezTo>
                  <a:cubicBezTo>
                    <a:pt x="1851" y="2657"/>
                    <a:pt x="1494" y="3071"/>
                    <a:pt x="1188" y="3479"/>
                  </a:cubicBezTo>
                  <a:cubicBezTo>
                    <a:pt x="1151" y="3528"/>
                    <a:pt x="1116" y="3577"/>
                    <a:pt x="1081" y="3626"/>
                  </a:cubicBezTo>
                  <a:cubicBezTo>
                    <a:pt x="1049" y="3670"/>
                    <a:pt x="1017" y="3714"/>
                    <a:pt x="987" y="3758"/>
                  </a:cubicBezTo>
                  <a:cubicBezTo>
                    <a:pt x="673" y="4210"/>
                    <a:pt x="427" y="4649"/>
                    <a:pt x="259" y="5050"/>
                  </a:cubicBezTo>
                  <a:cubicBezTo>
                    <a:pt x="249" y="5073"/>
                    <a:pt x="240" y="5096"/>
                    <a:pt x="231" y="5119"/>
                  </a:cubicBezTo>
                  <a:cubicBezTo>
                    <a:pt x="222" y="5141"/>
                    <a:pt x="214" y="5162"/>
                    <a:pt x="205" y="5184"/>
                  </a:cubicBezTo>
                  <a:cubicBezTo>
                    <a:pt x="110" y="5432"/>
                    <a:pt x="47" y="5665"/>
                    <a:pt x="18" y="5874"/>
                  </a:cubicBezTo>
                  <a:cubicBezTo>
                    <a:pt x="15" y="5894"/>
                    <a:pt x="13" y="5914"/>
                    <a:pt x="11" y="5933"/>
                  </a:cubicBezTo>
                  <a:cubicBezTo>
                    <a:pt x="8" y="5953"/>
                    <a:pt x="7" y="5972"/>
                    <a:pt x="6" y="5991"/>
                  </a:cubicBezTo>
                  <a:cubicBezTo>
                    <a:pt x="2" y="6037"/>
                    <a:pt x="0" y="6082"/>
                    <a:pt x="0" y="6125"/>
                  </a:cubicBezTo>
                  <a:cubicBezTo>
                    <a:pt x="0" y="6157"/>
                    <a:pt x="1" y="6189"/>
                    <a:pt x="3" y="6220"/>
                  </a:cubicBezTo>
                  <a:cubicBezTo>
                    <a:pt x="67" y="6307"/>
                    <a:pt x="136" y="6392"/>
                    <a:pt x="208" y="6475"/>
                  </a:cubicBezTo>
                  <a:cubicBezTo>
                    <a:pt x="228" y="6499"/>
                    <a:pt x="249" y="6524"/>
                    <a:pt x="270" y="6547"/>
                  </a:cubicBezTo>
                  <a:cubicBezTo>
                    <a:pt x="290" y="6570"/>
                    <a:pt x="312" y="6592"/>
                    <a:pt x="332" y="6615"/>
                  </a:cubicBezTo>
                  <a:cubicBezTo>
                    <a:pt x="368" y="6653"/>
                    <a:pt x="404" y="6692"/>
                    <a:pt x="442" y="6729"/>
                  </a:cubicBezTo>
                  <a:cubicBezTo>
                    <a:pt x="479" y="6767"/>
                    <a:pt x="517" y="6802"/>
                    <a:pt x="556" y="6838"/>
                  </a:cubicBezTo>
                  <a:cubicBezTo>
                    <a:pt x="551" y="6794"/>
                    <a:pt x="548" y="6749"/>
                    <a:pt x="548" y="6702"/>
                  </a:cubicBezTo>
                  <a:cubicBezTo>
                    <a:pt x="548" y="6675"/>
                    <a:pt x="550" y="6647"/>
                    <a:pt x="551" y="6619"/>
                  </a:cubicBezTo>
                  <a:cubicBezTo>
                    <a:pt x="552" y="6600"/>
                    <a:pt x="554" y="6580"/>
                    <a:pt x="556" y="6560"/>
                  </a:cubicBezTo>
                  <a:cubicBezTo>
                    <a:pt x="557" y="6541"/>
                    <a:pt x="559" y="6521"/>
                    <a:pt x="561" y="6501"/>
                  </a:cubicBezTo>
                  <a:cubicBezTo>
                    <a:pt x="582" y="6322"/>
                    <a:pt x="629" y="6126"/>
                    <a:pt x="700" y="5918"/>
                  </a:cubicBezTo>
                  <a:cubicBezTo>
                    <a:pt x="708" y="5896"/>
                    <a:pt x="716" y="5874"/>
                    <a:pt x="724" y="5852"/>
                  </a:cubicBezTo>
                  <a:cubicBezTo>
                    <a:pt x="733" y="5828"/>
                    <a:pt x="741" y="5805"/>
                    <a:pt x="750" y="5782"/>
                  </a:cubicBezTo>
                  <a:cubicBezTo>
                    <a:pt x="875" y="5455"/>
                    <a:pt x="1056" y="5102"/>
                    <a:pt x="1285" y="4735"/>
                  </a:cubicBezTo>
                  <a:cubicBezTo>
                    <a:pt x="1308" y="4699"/>
                    <a:pt x="1330" y="4664"/>
                    <a:pt x="1353" y="4628"/>
                  </a:cubicBezTo>
                  <a:cubicBezTo>
                    <a:pt x="1378" y="4589"/>
                    <a:pt x="1404" y="4550"/>
                    <a:pt x="1430" y="4511"/>
                  </a:cubicBezTo>
                  <a:cubicBezTo>
                    <a:pt x="1799" y="3961"/>
                    <a:pt x="2271" y="3385"/>
                    <a:pt x="2828" y="2828"/>
                  </a:cubicBezTo>
                  <a:cubicBezTo>
                    <a:pt x="3385" y="2271"/>
                    <a:pt x="3960" y="1799"/>
                    <a:pt x="4511" y="1430"/>
                  </a:cubicBezTo>
                  <a:cubicBezTo>
                    <a:pt x="4550" y="1404"/>
                    <a:pt x="4589" y="1379"/>
                    <a:pt x="4627" y="1354"/>
                  </a:cubicBezTo>
                  <a:cubicBezTo>
                    <a:pt x="4663" y="1330"/>
                    <a:pt x="4699" y="1308"/>
                    <a:pt x="4735" y="1285"/>
                  </a:cubicBezTo>
                  <a:cubicBezTo>
                    <a:pt x="5102" y="1056"/>
                    <a:pt x="5455" y="875"/>
                    <a:pt x="5781" y="750"/>
                  </a:cubicBezTo>
                  <a:cubicBezTo>
                    <a:pt x="5805" y="741"/>
                    <a:pt x="5828" y="733"/>
                    <a:pt x="5851" y="724"/>
                  </a:cubicBezTo>
                  <a:cubicBezTo>
                    <a:pt x="5874" y="716"/>
                    <a:pt x="5896" y="708"/>
                    <a:pt x="5918" y="700"/>
                  </a:cubicBezTo>
                  <a:cubicBezTo>
                    <a:pt x="6126" y="629"/>
                    <a:pt x="6322" y="582"/>
                    <a:pt x="6501" y="561"/>
                  </a:cubicBezTo>
                  <a:cubicBezTo>
                    <a:pt x="6521" y="559"/>
                    <a:pt x="6541" y="557"/>
                    <a:pt x="6560" y="556"/>
                  </a:cubicBezTo>
                  <a:cubicBezTo>
                    <a:pt x="6580" y="554"/>
                    <a:pt x="6600" y="552"/>
                    <a:pt x="6620" y="551"/>
                  </a:cubicBezTo>
                  <a:cubicBezTo>
                    <a:pt x="6647" y="550"/>
                    <a:pt x="6675" y="549"/>
                    <a:pt x="6702" y="548"/>
                  </a:cubicBezTo>
                  <a:cubicBezTo>
                    <a:pt x="6734" y="548"/>
                    <a:pt x="6765" y="550"/>
                    <a:pt x="6796" y="552"/>
                  </a:cubicBezTo>
                  <a:cubicBezTo>
                    <a:pt x="6767" y="521"/>
                    <a:pt x="6739" y="491"/>
                    <a:pt x="6710" y="4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8" name="Freeform 10">
              <a:extLst>
                <a:ext uri="{FF2B5EF4-FFF2-40B4-BE49-F238E27FC236}">
                  <a16:creationId xmlns:a16="http://schemas.microsoft.com/office/drawing/2014/main" id="{54CE5925-9480-4C02-A7F9-3B31E37C904C}"/>
                </a:ext>
              </a:extLst>
            </p:cNvPr>
            <p:cNvSpPr>
              <a:spLocks/>
            </p:cNvSpPr>
            <p:nvPr/>
          </p:nvSpPr>
          <p:spPr bwMode="auto">
            <a:xfrm>
              <a:off x="3956348" y="740943"/>
              <a:ext cx="4194616" cy="4225990"/>
            </a:xfrm>
            <a:custGeom>
              <a:avLst/>
              <a:gdLst>
                <a:gd name="T0" fmla="*/ 1126 w 6312"/>
                <a:gd name="T1" fmla="*/ 4101 h 6355"/>
                <a:gd name="T2" fmla="*/ 1212 w 6312"/>
                <a:gd name="T3" fmla="*/ 3976 h 6355"/>
                <a:gd name="T4" fmla="*/ 2479 w 6312"/>
                <a:gd name="T5" fmla="*/ 2477 h 6355"/>
                <a:gd name="T6" fmla="*/ 3978 w 6312"/>
                <a:gd name="T7" fmla="*/ 1210 h 6355"/>
                <a:gd name="T8" fmla="*/ 4103 w 6312"/>
                <a:gd name="T9" fmla="*/ 1124 h 6355"/>
                <a:gd name="T10" fmla="*/ 4216 w 6312"/>
                <a:gd name="T11" fmla="*/ 1049 h 6355"/>
                <a:gd name="T12" fmla="*/ 5392 w 6312"/>
                <a:gd name="T13" fmla="*/ 423 h 6355"/>
                <a:gd name="T14" fmla="*/ 5456 w 6312"/>
                <a:gd name="T15" fmla="*/ 399 h 6355"/>
                <a:gd name="T16" fmla="*/ 5518 w 6312"/>
                <a:gd name="T17" fmla="*/ 376 h 6355"/>
                <a:gd name="T18" fmla="*/ 6164 w 6312"/>
                <a:gd name="T19" fmla="*/ 208 h 6355"/>
                <a:gd name="T20" fmla="*/ 6222 w 6312"/>
                <a:gd name="T21" fmla="*/ 201 h 6355"/>
                <a:gd name="T22" fmla="*/ 6281 w 6312"/>
                <a:gd name="T23" fmla="*/ 195 h 6355"/>
                <a:gd name="T24" fmla="*/ 6312 w 6312"/>
                <a:gd name="T25" fmla="*/ 193 h 6355"/>
                <a:gd name="T26" fmla="*/ 6276 w 6312"/>
                <a:gd name="T27" fmla="*/ 170 h 6355"/>
                <a:gd name="T28" fmla="*/ 6203 w 6312"/>
                <a:gd name="T29" fmla="*/ 124 h 6355"/>
                <a:gd name="T30" fmla="*/ 6122 w 6312"/>
                <a:gd name="T31" fmla="*/ 74 h 6355"/>
                <a:gd name="T32" fmla="*/ 5988 w 6312"/>
                <a:gd name="T33" fmla="*/ 0 h 6355"/>
                <a:gd name="T34" fmla="*/ 5542 w 6312"/>
                <a:gd name="T35" fmla="*/ 68 h 6355"/>
                <a:gd name="T36" fmla="*/ 5484 w 6312"/>
                <a:gd name="T37" fmla="*/ 83 h 6355"/>
                <a:gd name="T38" fmla="*/ 5425 w 6312"/>
                <a:gd name="T39" fmla="*/ 101 h 6355"/>
                <a:gd name="T40" fmla="*/ 4488 w 6312"/>
                <a:gd name="T41" fmla="*/ 508 h 6355"/>
                <a:gd name="T42" fmla="*/ 4405 w 6312"/>
                <a:gd name="T43" fmla="*/ 555 h 6355"/>
                <a:gd name="T44" fmla="*/ 4316 w 6312"/>
                <a:gd name="T45" fmla="*/ 606 h 6355"/>
                <a:gd name="T46" fmla="*/ 2245 w 6312"/>
                <a:gd name="T47" fmla="*/ 2243 h 6355"/>
                <a:gd name="T48" fmla="*/ 608 w 6312"/>
                <a:gd name="T49" fmla="*/ 4314 h 6355"/>
                <a:gd name="T50" fmla="*/ 557 w 6312"/>
                <a:gd name="T51" fmla="*/ 4404 h 6355"/>
                <a:gd name="T52" fmla="*/ 510 w 6312"/>
                <a:gd name="T53" fmla="*/ 4486 h 6355"/>
                <a:gd name="T54" fmla="*/ 103 w 6312"/>
                <a:gd name="T55" fmla="*/ 5423 h 6355"/>
                <a:gd name="T56" fmla="*/ 85 w 6312"/>
                <a:gd name="T57" fmla="*/ 5482 h 6355"/>
                <a:gd name="T58" fmla="*/ 70 w 6312"/>
                <a:gd name="T59" fmla="*/ 5540 h 6355"/>
                <a:gd name="T60" fmla="*/ 1 w 6312"/>
                <a:gd name="T61" fmla="*/ 6034 h 6355"/>
                <a:gd name="T62" fmla="*/ 1 w 6312"/>
                <a:gd name="T63" fmla="*/ 6039 h 6355"/>
                <a:gd name="T64" fmla="*/ 36 w 6312"/>
                <a:gd name="T65" fmla="*/ 6102 h 6355"/>
                <a:gd name="T66" fmla="*/ 85 w 6312"/>
                <a:gd name="T67" fmla="*/ 6186 h 6355"/>
                <a:gd name="T68" fmla="*/ 134 w 6312"/>
                <a:gd name="T69" fmla="*/ 6264 h 6355"/>
                <a:gd name="T70" fmla="*/ 192 w 6312"/>
                <a:gd name="T71" fmla="*/ 6355 h 6355"/>
                <a:gd name="T72" fmla="*/ 197 w 6312"/>
                <a:gd name="T73" fmla="*/ 6279 h 6355"/>
                <a:gd name="T74" fmla="*/ 203 w 6312"/>
                <a:gd name="T75" fmla="*/ 6220 h 6355"/>
                <a:gd name="T76" fmla="*/ 210 w 6312"/>
                <a:gd name="T77" fmla="*/ 6162 h 6355"/>
                <a:gd name="T78" fmla="*/ 378 w 6312"/>
                <a:gd name="T79" fmla="*/ 5516 h 6355"/>
                <a:gd name="T80" fmla="*/ 400 w 6312"/>
                <a:gd name="T81" fmla="*/ 5454 h 6355"/>
                <a:gd name="T82" fmla="*/ 425 w 6312"/>
                <a:gd name="T83" fmla="*/ 5390 h 6355"/>
                <a:gd name="T84" fmla="*/ 1050 w 6312"/>
                <a:gd name="T85" fmla="*/ 4214 h 6355"/>
                <a:gd name="T86" fmla="*/ 1126 w 6312"/>
                <a:gd name="T87" fmla="*/ 4101 h 6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2" h="6355">
                  <a:moveTo>
                    <a:pt x="1126" y="4101"/>
                  </a:moveTo>
                  <a:cubicBezTo>
                    <a:pt x="1154" y="4060"/>
                    <a:pt x="1183" y="4018"/>
                    <a:pt x="1212" y="3976"/>
                  </a:cubicBezTo>
                  <a:cubicBezTo>
                    <a:pt x="1559" y="3480"/>
                    <a:pt x="1986" y="2971"/>
                    <a:pt x="2479" y="2477"/>
                  </a:cubicBezTo>
                  <a:cubicBezTo>
                    <a:pt x="2973" y="1984"/>
                    <a:pt x="3482" y="1557"/>
                    <a:pt x="3978" y="1210"/>
                  </a:cubicBezTo>
                  <a:cubicBezTo>
                    <a:pt x="4020" y="1181"/>
                    <a:pt x="4061" y="1152"/>
                    <a:pt x="4103" y="1124"/>
                  </a:cubicBezTo>
                  <a:cubicBezTo>
                    <a:pt x="4141" y="1098"/>
                    <a:pt x="4179" y="1073"/>
                    <a:pt x="4216" y="1049"/>
                  </a:cubicBezTo>
                  <a:cubicBezTo>
                    <a:pt x="4626" y="780"/>
                    <a:pt x="5024" y="569"/>
                    <a:pt x="5392" y="423"/>
                  </a:cubicBezTo>
                  <a:cubicBezTo>
                    <a:pt x="5414" y="415"/>
                    <a:pt x="5435" y="407"/>
                    <a:pt x="5456" y="399"/>
                  </a:cubicBezTo>
                  <a:cubicBezTo>
                    <a:pt x="5477" y="391"/>
                    <a:pt x="5498" y="383"/>
                    <a:pt x="5518" y="376"/>
                  </a:cubicBezTo>
                  <a:cubicBezTo>
                    <a:pt x="5747" y="293"/>
                    <a:pt x="5964" y="236"/>
                    <a:pt x="6164" y="208"/>
                  </a:cubicBezTo>
                  <a:cubicBezTo>
                    <a:pt x="6183" y="206"/>
                    <a:pt x="6203" y="203"/>
                    <a:pt x="6222" y="201"/>
                  </a:cubicBezTo>
                  <a:cubicBezTo>
                    <a:pt x="6242" y="199"/>
                    <a:pt x="6262" y="197"/>
                    <a:pt x="6281" y="195"/>
                  </a:cubicBezTo>
                  <a:cubicBezTo>
                    <a:pt x="6292" y="194"/>
                    <a:pt x="6302" y="193"/>
                    <a:pt x="6312" y="193"/>
                  </a:cubicBezTo>
                  <a:cubicBezTo>
                    <a:pt x="6300" y="185"/>
                    <a:pt x="6288" y="178"/>
                    <a:pt x="6276" y="170"/>
                  </a:cubicBezTo>
                  <a:cubicBezTo>
                    <a:pt x="6252" y="155"/>
                    <a:pt x="6228" y="139"/>
                    <a:pt x="6203" y="124"/>
                  </a:cubicBezTo>
                  <a:cubicBezTo>
                    <a:pt x="6176" y="108"/>
                    <a:pt x="6149" y="90"/>
                    <a:pt x="6122" y="74"/>
                  </a:cubicBezTo>
                  <a:cubicBezTo>
                    <a:pt x="6077" y="49"/>
                    <a:pt x="6032" y="24"/>
                    <a:pt x="5988" y="0"/>
                  </a:cubicBezTo>
                  <a:cubicBezTo>
                    <a:pt x="5852" y="4"/>
                    <a:pt x="5703" y="27"/>
                    <a:pt x="5542" y="68"/>
                  </a:cubicBezTo>
                  <a:cubicBezTo>
                    <a:pt x="5523" y="73"/>
                    <a:pt x="5503" y="78"/>
                    <a:pt x="5484" y="83"/>
                  </a:cubicBezTo>
                  <a:cubicBezTo>
                    <a:pt x="5464" y="89"/>
                    <a:pt x="5445" y="95"/>
                    <a:pt x="5425" y="101"/>
                  </a:cubicBezTo>
                  <a:cubicBezTo>
                    <a:pt x="5140" y="186"/>
                    <a:pt x="4823" y="324"/>
                    <a:pt x="4488" y="508"/>
                  </a:cubicBezTo>
                  <a:cubicBezTo>
                    <a:pt x="4461" y="523"/>
                    <a:pt x="4433" y="539"/>
                    <a:pt x="4405" y="555"/>
                  </a:cubicBezTo>
                  <a:cubicBezTo>
                    <a:pt x="4376" y="572"/>
                    <a:pt x="4346" y="588"/>
                    <a:pt x="4316" y="606"/>
                  </a:cubicBezTo>
                  <a:cubicBezTo>
                    <a:pt x="3656" y="993"/>
                    <a:pt x="2935" y="1552"/>
                    <a:pt x="2245" y="2243"/>
                  </a:cubicBezTo>
                  <a:cubicBezTo>
                    <a:pt x="1554" y="2933"/>
                    <a:pt x="995" y="3654"/>
                    <a:pt x="608" y="4314"/>
                  </a:cubicBezTo>
                  <a:cubicBezTo>
                    <a:pt x="590" y="4344"/>
                    <a:pt x="573" y="4374"/>
                    <a:pt x="557" y="4404"/>
                  </a:cubicBezTo>
                  <a:cubicBezTo>
                    <a:pt x="541" y="4431"/>
                    <a:pt x="525" y="4459"/>
                    <a:pt x="510" y="4486"/>
                  </a:cubicBezTo>
                  <a:cubicBezTo>
                    <a:pt x="326" y="4822"/>
                    <a:pt x="188" y="5138"/>
                    <a:pt x="103" y="5423"/>
                  </a:cubicBezTo>
                  <a:cubicBezTo>
                    <a:pt x="97" y="5443"/>
                    <a:pt x="91" y="5462"/>
                    <a:pt x="85" y="5482"/>
                  </a:cubicBezTo>
                  <a:cubicBezTo>
                    <a:pt x="80" y="5501"/>
                    <a:pt x="75" y="5521"/>
                    <a:pt x="70" y="5540"/>
                  </a:cubicBezTo>
                  <a:cubicBezTo>
                    <a:pt x="24" y="5720"/>
                    <a:pt x="0" y="5886"/>
                    <a:pt x="1" y="6034"/>
                  </a:cubicBezTo>
                  <a:cubicBezTo>
                    <a:pt x="1" y="6035"/>
                    <a:pt x="1" y="6037"/>
                    <a:pt x="1" y="6039"/>
                  </a:cubicBezTo>
                  <a:cubicBezTo>
                    <a:pt x="12" y="6060"/>
                    <a:pt x="24" y="6081"/>
                    <a:pt x="36" y="6102"/>
                  </a:cubicBezTo>
                  <a:cubicBezTo>
                    <a:pt x="52" y="6130"/>
                    <a:pt x="68" y="6158"/>
                    <a:pt x="85" y="6186"/>
                  </a:cubicBezTo>
                  <a:cubicBezTo>
                    <a:pt x="101" y="6212"/>
                    <a:pt x="117" y="6238"/>
                    <a:pt x="134" y="6264"/>
                  </a:cubicBezTo>
                  <a:cubicBezTo>
                    <a:pt x="153" y="6294"/>
                    <a:pt x="172" y="6325"/>
                    <a:pt x="192" y="6355"/>
                  </a:cubicBezTo>
                  <a:cubicBezTo>
                    <a:pt x="193" y="6330"/>
                    <a:pt x="195" y="6305"/>
                    <a:pt x="197" y="6279"/>
                  </a:cubicBezTo>
                  <a:cubicBezTo>
                    <a:pt x="199" y="6260"/>
                    <a:pt x="201" y="6240"/>
                    <a:pt x="203" y="6220"/>
                  </a:cubicBezTo>
                  <a:cubicBezTo>
                    <a:pt x="205" y="6201"/>
                    <a:pt x="208" y="6181"/>
                    <a:pt x="210" y="6162"/>
                  </a:cubicBezTo>
                  <a:cubicBezTo>
                    <a:pt x="238" y="5962"/>
                    <a:pt x="295" y="5745"/>
                    <a:pt x="378" y="5516"/>
                  </a:cubicBezTo>
                  <a:cubicBezTo>
                    <a:pt x="385" y="5496"/>
                    <a:pt x="392" y="5475"/>
                    <a:pt x="400" y="5454"/>
                  </a:cubicBezTo>
                  <a:cubicBezTo>
                    <a:pt x="408" y="5433"/>
                    <a:pt x="417" y="5412"/>
                    <a:pt x="425" y="5390"/>
                  </a:cubicBezTo>
                  <a:cubicBezTo>
                    <a:pt x="571" y="5022"/>
                    <a:pt x="782" y="4624"/>
                    <a:pt x="1050" y="4214"/>
                  </a:cubicBezTo>
                  <a:cubicBezTo>
                    <a:pt x="1075" y="4177"/>
                    <a:pt x="1100" y="4139"/>
                    <a:pt x="1126" y="410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9" name="Freeform 11">
              <a:extLst>
                <a:ext uri="{FF2B5EF4-FFF2-40B4-BE49-F238E27FC236}">
                  <a16:creationId xmlns:a16="http://schemas.microsoft.com/office/drawing/2014/main" id="{9BF6A145-B04A-4D96-B42A-F9F9564194A0}"/>
                </a:ext>
              </a:extLst>
            </p:cNvPr>
            <p:cNvSpPr>
              <a:spLocks/>
            </p:cNvSpPr>
            <p:nvPr/>
          </p:nvSpPr>
          <p:spPr bwMode="auto">
            <a:xfrm>
              <a:off x="4604297" y="1387527"/>
              <a:ext cx="4412873" cy="4441519"/>
            </a:xfrm>
            <a:custGeom>
              <a:avLst/>
              <a:gdLst>
                <a:gd name="T0" fmla="*/ 4682 w 6640"/>
                <a:gd name="T1" fmla="*/ 1069 h 6679"/>
                <a:gd name="T2" fmla="*/ 4782 w 6640"/>
                <a:gd name="T3" fmla="*/ 1013 h 6679"/>
                <a:gd name="T4" fmla="*/ 4876 w 6640"/>
                <a:gd name="T5" fmla="*/ 962 h 6679"/>
                <a:gd name="T6" fmla="*/ 5665 w 6640"/>
                <a:gd name="T7" fmla="*/ 626 h 6679"/>
                <a:gd name="T8" fmla="*/ 5735 w 6640"/>
                <a:gd name="T9" fmla="*/ 605 h 6679"/>
                <a:gd name="T10" fmla="*/ 5804 w 6640"/>
                <a:gd name="T11" fmla="*/ 586 h 6679"/>
                <a:gd name="T12" fmla="*/ 6300 w 6640"/>
                <a:gd name="T13" fmla="*/ 507 h 6679"/>
                <a:gd name="T14" fmla="*/ 6355 w 6640"/>
                <a:gd name="T15" fmla="*/ 505 h 6679"/>
                <a:gd name="T16" fmla="*/ 6360 w 6640"/>
                <a:gd name="T17" fmla="*/ 505 h 6679"/>
                <a:gd name="T18" fmla="*/ 6419 w 6640"/>
                <a:gd name="T19" fmla="*/ 507 h 6679"/>
                <a:gd name="T20" fmla="*/ 6640 w 6640"/>
                <a:gd name="T21" fmla="*/ 536 h 6679"/>
                <a:gd name="T22" fmla="*/ 6443 w 6640"/>
                <a:gd name="T23" fmla="*/ 254 h 6679"/>
                <a:gd name="T24" fmla="*/ 6385 w 6640"/>
                <a:gd name="T25" fmla="*/ 179 h 6679"/>
                <a:gd name="T26" fmla="*/ 6323 w 6640"/>
                <a:gd name="T27" fmla="*/ 102 h 6679"/>
                <a:gd name="T28" fmla="*/ 6253 w 6640"/>
                <a:gd name="T29" fmla="*/ 21 h 6679"/>
                <a:gd name="T30" fmla="*/ 6036 w 6640"/>
                <a:gd name="T31" fmla="*/ 1 h 6679"/>
                <a:gd name="T32" fmla="*/ 5943 w 6640"/>
                <a:gd name="T33" fmla="*/ 3 h 6679"/>
                <a:gd name="T34" fmla="*/ 5884 w 6640"/>
                <a:gd name="T35" fmla="*/ 8 h 6679"/>
                <a:gd name="T36" fmla="*/ 5824 w 6640"/>
                <a:gd name="T37" fmla="*/ 15 h 6679"/>
                <a:gd name="T38" fmla="*/ 5212 w 6640"/>
                <a:gd name="T39" fmla="*/ 174 h 6679"/>
                <a:gd name="T40" fmla="*/ 5142 w 6640"/>
                <a:gd name="T41" fmla="*/ 200 h 6679"/>
                <a:gd name="T42" fmla="*/ 5070 w 6640"/>
                <a:gd name="T43" fmla="*/ 229 h 6679"/>
                <a:gd name="T44" fmla="*/ 3933 w 6640"/>
                <a:gd name="T45" fmla="*/ 848 h 6679"/>
                <a:gd name="T46" fmla="*/ 3812 w 6640"/>
                <a:gd name="T47" fmla="*/ 929 h 6679"/>
                <a:gd name="T48" fmla="*/ 3679 w 6640"/>
                <a:gd name="T49" fmla="*/ 1023 h 6679"/>
                <a:gd name="T50" fmla="*/ 2245 w 6640"/>
                <a:gd name="T51" fmla="*/ 2245 h 6679"/>
                <a:gd name="T52" fmla="*/ 1023 w 6640"/>
                <a:gd name="T53" fmla="*/ 3679 h 6679"/>
                <a:gd name="T54" fmla="*/ 929 w 6640"/>
                <a:gd name="T55" fmla="*/ 3812 h 6679"/>
                <a:gd name="T56" fmla="*/ 848 w 6640"/>
                <a:gd name="T57" fmla="*/ 3933 h 6679"/>
                <a:gd name="T58" fmla="*/ 229 w 6640"/>
                <a:gd name="T59" fmla="*/ 5070 h 6679"/>
                <a:gd name="T60" fmla="*/ 200 w 6640"/>
                <a:gd name="T61" fmla="*/ 5142 h 6679"/>
                <a:gd name="T62" fmla="*/ 174 w 6640"/>
                <a:gd name="T63" fmla="*/ 5212 h 6679"/>
                <a:gd name="T64" fmla="*/ 15 w 6640"/>
                <a:gd name="T65" fmla="*/ 5824 h 6679"/>
                <a:gd name="T66" fmla="*/ 8 w 6640"/>
                <a:gd name="T67" fmla="*/ 5884 h 6679"/>
                <a:gd name="T68" fmla="*/ 3 w 6640"/>
                <a:gd name="T69" fmla="*/ 5943 h 6679"/>
                <a:gd name="T70" fmla="*/ 1 w 6640"/>
                <a:gd name="T71" fmla="*/ 6036 h 6679"/>
                <a:gd name="T72" fmla="*/ 30 w 6640"/>
                <a:gd name="T73" fmla="*/ 6297 h 6679"/>
                <a:gd name="T74" fmla="*/ 54 w 6640"/>
                <a:gd name="T75" fmla="*/ 6318 h 6679"/>
                <a:gd name="T76" fmla="*/ 132 w 6640"/>
                <a:gd name="T77" fmla="*/ 6383 h 6679"/>
                <a:gd name="T78" fmla="*/ 211 w 6640"/>
                <a:gd name="T79" fmla="*/ 6444 h 6679"/>
                <a:gd name="T80" fmla="*/ 547 w 6640"/>
                <a:gd name="T81" fmla="*/ 6679 h 6679"/>
                <a:gd name="T82" fmla="*/ 507 w 6640"/>
                <a:gd name="T83" fmla="*/ 6419 h 6679"/>
                <a:gd name="T84" fmla="*/ 505 w 6640"/>
                <a:gd name="T85" fmla="*/ 6360 h 6679"/>
                <a:gd name="T86" fmla="*/ 505 w 6640"/>
                <a:gd name="T87" fmla="*/ 6356 h 6679"/>
                <a:gd name="T88" fmla="*/ 507 w 6640"/>
                <a:gd name="T89" fmla="*/ 6300 h 6679"/>
                <a:gd name="T90" fmla="*/ 586 w 6640"/>
                <a:gd name="T91" fmla="*/ 5804 h 6679"/>
                <a:gd name="T92" fmla="*/ 605 w 6640"/>
                <a:gd name="T93" fmla="*/ 5735 h 6679"/>
                <a:gd name="T94" fmla="*/ 626 w 6640"/>
                <a:gd name="T95" fmla="*/ 5665 h 6679"/>
                <a:gd name="T96" fmla="*/ 962 w 6640"/>
                <a:gd name="T97" fmla="*/ 4876 h 6679"/>
                <a:gd name="T98" fmla="*/ 1013 w 6640"/>
                <a:gd name="T99" fmla="*/ 4781 h 6679"/>
                <a:gd name="T100" fmla="*/ 1069 w 6640"/>
                <a:gd name="T101" fmla="*/ 4682 h 6679"/>
                <a:gd name="T102" fmla="*/ 2654 w 6640"/>
                <a:gd name="T103" fmla="*/ 2654 h 6679"/>
                <a:gd name="T104" fmla="*/ 4682 w 6640"/>
                <a:gd name="T105" fmla="*/ 1069 h 6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640" h="6679">
                  <a:moveTo>
                    <a:pt x="4682" y="1069"/>
                  </a:moveTo>
                  <a:cubicBezTo>
                    <a:pt x="4715" y="1050"/>
                    <a:pt x="4748" y="1031"/>
                    <a:pt x="4782" y="1013"/>
                  </a:cubicBezTo>
                  <a:cubicBezTo>
                    <a:pt x="4813" y="996"/>
                    <a:pt x="4845" y="979"/>
                    <a:pt x="4876" y="962"/>
                  </a:cubicBezTo>
                  <a:cubicBezTo>
                    <a:pt x="5153" y="816"/>
                    <a:pt x="5418" y="703"/>
                    <a:pt x="5665" y="626"/>
                  </a:cubicBezTo>
                  <a:cubicBezTo>
                    <a:pt x="5688" y="619"/>
                    <a:pt x="5712" y="612"/>
                    <a:pt x="5735" y="605"/>
                  </a:cubicBezTo>
                  <a:cubicBezTo>
                    <a:pt x="5758" y="599"/>
                    <a:pt x="5781" y="592"/>
                    <a:pt x="5804" y="586"/>
                  </a:cubicBezTo>
                  <a:cubicBezTo>
                    <a:pt x="5981" y="539"/>
                    <a:pt x="6147" y="513"/>
                    <a:pt x="6300" y="507"/>
                  </a:cubicBezTo>
                  <a:cubicBezTo>
                    <a:pt x="6318" y="506"/>
                    <a:pt x="6337" y="505"/>
                    <a:pt x="6355" y="505"/>
                  </a:cubicBezTo>
                  <a:cubicBezTo>
                    <a:pt x="6357" y="505"/>
                    <a:pt x="6358" y="505"/>
                    <a:pt x="6360" y="505"/>
                  </a:cubicBezTo>
                  <a:cubicBezTo>
                    <a:pt x="6380" y="505"/>
                    <a:pt x="6399" y="506"/>
                    <a:pt x="6419" y="507"/>
                  </a:cubicBezTo>
                  <a:cubicBezTo>
                    <a:pt x="6496" y="511"/>
                    <a:pt x="6571" y="520"/>
                    <a:pt x="6640" y="536"/>
                  </a:cubicBezTo>
                  <a:cubicBezTo>
                    <a:pt x="6579" y="440"/>
                    <a:pt x="6513" y="346"/>
                    <a:pt x="6443" y="254"/>
                  </a:cubicBezTo>
                  <a:cubicBezTo>
                    <a:pt x="6424" y="229"/>
                    <a:pt x="6404" y="204"/>
                    <a:pt x="6385" y="179"/>
                  </a:cubicBezTo>
                  <a:cubicBezTo>
                    <a:pt x="6364" y="153"/>
                    <a:pt x="6344" y="128"/>
                    <a:pt x="6323" y="102"/>
                  </a:cubicBezTo>
                  <a:cubicBezTo>
                    <a:pt x="6300" y="75"/>
                    <a:pt x="6276" y="48"/>
                    <a:pt x="6253" y="21"/>
                  </a:cubicBezTo>
                  <a:cubicBezTo>
                    <a:pt x="6186" y="8"/>
                    <a:pt x="6114" y="1"/>
                    <a:pt x="6036" y="1"/>
                  </a:cubicBezTo>
                  <a:cubicBezTo>
                    <a:pt x="6006" y="0"/>
                    <a:pt x="5975" y="2"/>
                    <a:pt x="5943" y="3"/>
                  </a:cubicBezTo>
                  <a:cubicBezTo>
                    <a:pt x="5924" y="4"/>
                    <a:pt x="5904" y="6"/>
                    <a:pt x="5884" y="8"/>
                  </a:cubicBezTo>
                  <a:cubicBezTo>
                    <a:pt x="5864" y="10"/>
                    <a:pt x="5844" y="13"/>
                    <a:pt x="5824" y="15"/>
                  </a:cubicBezTo>
                  <a:cubicBezTo>
                    <a:pt x="5639" y="39"/>
                    <a:pt x="5433" y="93"/>
                    <a:pt x="5212" y="174"/>
                  </a:cubicBezTo>
                  <a:cubicBezTo>
                    <a:pt x="5189" y="183"/>
                    <a:pt x="5166" y="191"/>
                    <a:pt x="5142" y="200"/>
                  </a:cubicBezTo>
                  <a:cubicBezTo>
                    <a:pt x="5118" y="210"/>
                    <a:pt x="5094" y="219"/>
                    <a:pt x="5070" y="229"/>
                  </a:cubicBezTo>
                  <a:cubicBezTo>
                    <a:pt x="4719" y="373"/>
                    <a:pt x="4334" y="582"/>
                    <a:pt x="3933" y="848"/>
                  </a:cubicBezTo>
                  <a:cubicBezTo>
                    <a:pt x="3893" y="874"/>
                    <a:pt x="3852" y="902"/>
                    <a:pt x="3812" y="929"/>
                  </a:cubicBezTo>
                  <a:cubicBezTo>
                    <a:pt x="3767" y="960"/>
                    <a:pt x="3723" y="991"/>
                    <a:pt x="3679" y="1023"/>
                  </a:cubicBezTo>
                  <a:cubicBezTo>
                    <a:pt x="3206" y="1360"/>
                    <a:pt x="2718" y="1771"/>
                    <a:pt x="2245" y="2245"/>
                  </a:cubicBezTo>
                  <a:cubicBezTo>
                    <a:pt x="1771" y="2718"/>
                    <a:pt x="1360" y="3206"/>
                    <a:pt x="1023" y="3679"/>
                  </a:cubicBezTo>
                  <a:cubicBezTo>
                    <a:pt x="991" y="3723"/>
                    <a:pt x="960" y="3768"/>
                    <a:pt x="929" y="3812"/>
                  </a:cubicBezTo>
                  <a:cubicBezTo>
                    <a:pt x="902" y="3852"/>
                    <a:pt x="874" y="3893"/>
                    <a:pt x="848" y="3933"/>
                  </a:cubicBezTo>
                  <a:cubicBezTo>
                    <a:pt x="582" y="4334"/>
                    <a:pt x="373" y="4719"/>
                    <a:pt x="229" y="5070"/>
                  </a:cubicBezTo>
                  <a:cubicBezTo>
                    <a:pt x="219" y="5094"/>
                    <a:pt x="210" y="5118"/>
                    <a:pt x="200" y="5142"/>
                  </a:cubicBezTo>
                  <a:cubicBezTo>
                    <a:pt x="191" y="5166"/>
                    <a:pt x="183" y="5189"/>
                    <a:pt x="174" y="5212"/>
                  </a:cubicBezTo>
                  <a:cubicBezTo>
                    <a:pt x="93" y="5433"/>
                    <a:pt x="39" y="5639"/>
                    <a:pt x="15" y="5824"/>
                  </a:cubicBezTo>
                  <a:cubicBezTo>
                    <a:pt x="12" y="5844"/>
                    <a:pt x="10" y="5864"/>
                    <a:pt x="8" y="5884"/>
                  </a:cubicBezTo>
                  <a:cubicBezTo>
                    <a:pt x="6" y="5904"/>
                    <a:pt x="5" y="5924"/>
                    <a:pt x="3" y="5943"/>
                  </a:cubicBezTo>
                  <a:cubicBezTo>
                    <a:pt x="2" y="5975"/>
                    <a:pt x="0" y="6006"/>
                    <a:pt x="1" y="6036"/>
                  </a:cubicBezTo>
                  <a:cubicBezTo>
                    <a:pt x="1" y="6131"/>
                    <a:pt x="10" y="6218"/>
                    <a:pt x="30" y="6297"/>
                  </a:cubicBezTo>
                  <a:cubicBezTo>
                    <a:pt x="38" y="6304"/>
                    <a:pt x="46" y="6311"/>
                    <a:pt x="54" y="6318"/>
                  </a:cubicBezTo>
                  <a:cubicBezTo>
                    <a:pt x="80" y="6340"/>
                    <a:pt x="106" y="6362"/>
                    <a:pt x="132" y="6383"/>
                  </a:cubicBezTo>
                  <a:cubicBezTo>
                    <a:pt x="158" y="6404"/>
                    <a:pt x="184" y="6424"/>
                    <a:pt x="211" y="6444"/>
                  </a:cubicBezTo>
                  <a:cubicBezTo>
                    <a:pt x="320" y="6528"/>
                    <a:pt x="432" y="6606"/>
                    <a:pt x="547" y="6679"/>
                  </a:cubicBezTo>
                  <a:cubicBezTo>
                    <a:pt x="524" y="6598"/>
                    <a:pt x="511" y="6511"/>
                    <a:pt x="507" y="6419"/>
                  </a:cubicBezTo>
                  <a:cubicBezTo>
                    <a:pt x="506" y="6399"/>
                    <a:pt x="505" y="6380"/>
                    <a:pt x="505" y="6360"/>
                  </a:cubicBezTo>
                  <a:cubicBezTo>
                    <a:pt x="505" y="6358"/>
                    <a:pt x="505" y="6357"/>
                    <a:pt x="505" y="6356"/>
                  </a:cubicBezTo>
                  <a:cubicBezTo>
                    <a:pt x="505" y="6337"/>
                    <a:pt x="506" y="6318"/>
                    <a:pt x="507" y="6300"/>
                  </a:cubicBezTo>
                  <a:cubicBezTo>
                    <a:pt x="512" y="6147"/>
                    <a:pt x="539" y="5981"/>
                    <a:pt x="586" y="5804"/>
                  </a:cubicBezTo>
                  <a:cubicBezTo>
                    <a:pt x="592" y="5781"/>
                    <a:pt x="599" y="5758"/>
                    <a:pt x="605" y="5735"/>
                  </a:cubicBezTo>
                  <a:cubicBezTo>
                    <a:pt x="612" y="5712"/>
                    <a:pt x="619" y="5688"/>
                    <a:pt x="626" y="5665"/>
                  </a:cubicBezTo>
                  <a:cubicBezTo>
                    <a:pt x="703" y="5418"/>
                    <a:pt x="817" y="5153"/>
                    <a:pt x="962" y="4876"/>
                  </a:cubicBezTo>
                  <a:cubicBezTo>
                    <a:pt x="979" y="4845"/>
                    <a:pt x="996" y="4813"/>
                    <a:pt x="1013" y="4781"/>
                  </a:cubicBezTo>
                  <a:cubicBezTo>
                    <a:pt x="1031" y="4748"/>
                    <a:pt x="1050" y="4715"/>
                    <a:pt x="1069" y="4682"/>
                  </a:cubicBezTo>
                  <a:cubicBezTo>
                    <a:pt x="1441" y="4031"/>
                    <a:pt x="1982" y="3328"/>
                    <a:pt x="2654" y="2654"/>
                  </a:cubicBezTo>
                  <a:cubicBezTo>
                    <a:pt x="3328" y="1982"/>
                    <a:pt x="4031" y="1441"/>
                    <a:pt x="4682" y="10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0" name="Freeform 12">
              <a:extLst>
                <a:ext uri="{FF2B5EF4-FFF2-40B4-BE49-F238E27FC236}">
                  <a16:creationId xmlns:a16="http://schemas.microsoft.com/office/drawing/2014/main" id="{6967A9C6-FB4D-4270-BB09-0FBE5B7A6E5E}"/>
                </a:ext>
              </a:extLst>
            </p:cNvPr>
            <p:cNvSpPr>
              <a:spLocks/>
            </p:cNvSpPr>
            <p:nvPr/>
          </p:nvSpPr>
          <p:spPr bwMode="auto">
            <a:xfrm>
              <a:off x="5525067" y="2309661"/>
              <a:ext cx="3917703" cy="3936801"/>
            </a:xfrm>
            <a:custGeom>
              <a:avLst/>
              <a:gdLst>
                <a:gd name="T0" fmla="*/ 3424 w 5896"/>
                <a:gd name="T1" fmla="*/ 1876 h 5920"/>
                <a:gd name="T2" fmla="*/ 3633 w 5896"/>
                <a:gd name="T3" fmla="*/ 1712 h 5920"/>
                <a:gd name="T4" fmla="*/ 3808 w 5896"/>
                <a:gd name="T5" fmla="*/ 1582 h 5920"/>
                <a:gd name="T6" fmla="*/ 4916 w 5896"/>
                <a:gd name="T7" fmla="*/ 937 h 5920"/>
                <a:gd name="T8" fmla="*/ 5004 w 5896"/>
                <a:gd name="T9" fmla="*/ 901 h 5920"/>
                <a:gd name="T10" fmla="*/ 5086 w 5896"/>
                <a:gd name="T11" fmla="*/ 873 h 5920"/>
                <a:gd name="T12" fmla="*/ 5614 w 5896"/>
                <a:gd name="T13" fmla="*/ 767 h 5920"/>
                <a:gd name="T14" fmla="*/ 5621 w 5896"/>
                <a:gd name="T15" fmla="*/ 767 h 5920"/>
                <a:gd name="T16" fmla="*/ 5682 w 5896"/>
                <a:gd name="T17" fmla="*/ 770 h 5920"/>
                <a:gd name="T18" fmla="*/ 5742 w 5896"/>
                <a:gd name="T19" fmla="*/ 777 h 5920"/>
                <a:gd name="T20" fmla="*/ 5896 w 5896"/>
                <a:gd name="T21" fmla="*/ 821 h 5920"/>
                <a:gd name="T22" fmla="*/ 5826 w 5896"/>
                <a:gd name="T23" fmla="*/ 476 h 5920"/>
                <a:gd name="T24" fmla="*/ 5792 w 5896"/>
                <a:gd name="T25" fmla="*/ 349 h 5920"/>
                <a:gd name="T26" fmla="*/ 5752 w 5896"/>
                <a:gd name="T27" fmla="*/ 214 h 5920"/>
                <a:gd name="T28" fmla="*/ 5714 w 5896"/>
                <a:gd name="T29" fmla="*/ 97 h 5920"/>
                <a:gd name="T30" fmla="*/ 5444 w 5896"/>
                <a:gd name="T31" fmla="*/ 9 h 5920"/>
                <a:gd name="T32" fmla="*/ 5385 w 5896"/>
                <a:gd name="T33" fmla="*/ 3 h 5920"/>
                <a:gd name="T34" fmla="*/ 5324 w 5896"/>
                <a:gd name="T35" fmla="*/ 1 h 5920"/>
                <a:gd name="T36" fmla="*/ 5312 w 5896"/>
                <a:gd name="T37" fmla="*/ 0 h 5920"/>
                <a:gd name="T38" fmla="*/ 5307 w 5896"/>
                <a:gd name="T39" fmla="*/ 0 h 5920"/>
                <a:gd name="T40" fmla="*/ 4713 w 5896"/>
                <a:gd name="T41" fmla="*/ 112 h 5920"/>
                <a:gd name="T42" fmla="*/ 4636 w 5896"/>
                <a:gd name="T43" fmla="*/ 137 h 5920"/>
                <a:gd name="T44" fmla="*/ 4555 w 5896"/>
                <a:gd name="T45" fmla="*/ 168 h 5920"/>
                <a:gd name="T46" fmla="*/ 3688 w 5896"/>
                <a:gd name="T47" fmla="*/ 607 h 5920"/>
                <a:gd name="T48" fmla="*/ 3564 w 5896"/>
                <a:gd name="T49" fmla="*/ 684 h 5920"/>
                <a:gd name="T50" fmla="*/ 3430 w 5896"/>
                <a:gd name="T51" fmla="*/ 773 h 5920"/>
                <a:gd name="T52" fmla="*/ 1980 w 5896"/>
                <a:gd name="T53" fmla="*/ 1980 h 5920"/>
                <a:gd name="T54" fmla="*/ 774 w 5896"/>
                <a:gd name="T55" fmla="*/ 3429 h 5920"/>
                <a:gd name="T56" fmla="*/ 685 w 5896"/>
                <a:gd name="T57" fmla="*/ 3563 h 5920"/>
                <a:gd name="T58" fmla="*/ 607 w 5896"/>
                <a:gd name="T59" fmla="*/ 3688 h 5920"/>
                <a:gd name="T60" fmla="*/ 169 w 5896"/>
                <a:gd name="T61" fmla="*/ 4554 h 5920"/>
                <a:gd name="T62" fmla="*/ 137 w 5896"/>
                <a:gd name="T63" fmla="*/ 4635 h 5920"/>
                <a:gd name="T64" fmla="*/ 113 w 5896"/>
                <a:gd name="T65" fmla="*/ 4712 h 5920"/>
                <a:gd name="T66" fmla="*/ 1 w 5896"/>
                <a:gd name="T67" fmla="*/ 5311 h 5920"/>
                <a:gd name="T68" fmla="*/ 2 w 5896"/>
                <a:gd name="T69" fmla="*/ 5323 h 5920"/>
                <a:gd name="T70" fmla="*/ 4 w 5896"/>
                <a:gd name="T71" fmla="*/ 5384 h 5920"/>
                <a:gd name="T72" fmla="*/ 10 w 5896"/>
                <a:gd name="T73" fmla="*/ 5443 h 5920"/>
                <a:gd name="T74" fmla="*/ 121 w 5896"/>
                <a:gd name="T75" fmla="*/ 5747 h 5920"/>
                <a:gd name="T76" fmla="*/ 150 w 5896"/>
                <a:gd name="T77" fmla="*/ 5756 h 5920"/>
                <a:gd name="T78" fmla="*/ 291 w 5896"/>
                <a:gd name="T79" fmla="*/ 5800 h 5920"/>
                <a:gd name="T80" fmla="*/ 425 w 5896"/>
                <a:gd name="T81" fmla="*/ 5836 h 5920"/>
                <a:gd name="T82" fmla="*/ 835 w 5896"/>
                <a:gd name="T83" fmla="*/ 5920 h 5920"/>
                <a:gd name="T84" fmla="*/ 778 w 5896"/>
                <a:gd name="T85" fmla="*/ 5741 h 5920"/>
                <a:gd name="T86" fmla="*/ 771 w 5896"/>
                <a:gd name="T87" fmla="*/ 5681 h 5920"/>
                <a:gd name="T88" fmla="*/ 769 w 5896"/>
                <a:gd name="T89" fmla="*/ 5620 h 5920"/>
                <a:gd name="T90" fmla="*/ 768 w 5896"/>
                <a:gd name="T91" fmla="*/ 5612 h 5920"/>
                <a:gd name="T92" fmla="*/ 874 w 5896"/>
                <a:gd name="T93" fmla="*/ 5084 h 5920"/>
                <a:gd name="T94" fmla="*/ 903 w 5896"/>
                <a:gd name="T95" fmla="*/ 5002 h 5920"/>
                <a:gd name="T96" fmla="*/ 938 w 5896"/>
                <a:gd name="T97" fmla="*/ 4915 h 5920"/>
                <a:gd name="T98" fmla="*/ 1583 w 5896"/>
                <a:gd name="T99" fmla="*/ 3807 h 5920"/>
                <a:gd name="T100" fmla="*/ 1713 w 5896"/>
                <a:gd name="T101" fmla="*/ 3632 h 5920"/>
                <a:gd name="T102" fmla="*/ 1877 w 5896"/>
                <a:gd name="T103" fmla="*/ 3424 h 5920"/>
                <a:gd name="T104" fmla="*/ 2610 w 5896"/>
                <a:gd name="T105" fmla="*/ 2610 h 5920"/>
                <a:gd name="T106" fmla="*/ 3424 w 5896"/>
                <a:gd name="T107" fmla="*/ 1876 h 5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96" h="5920">
                  <a:moveTo>
                    <a:pt x="3424" y="1876"/>
                  </a:moveTo>
                  <a:cubicBezTo>
                    <a:pt x="3494" y="1819"/>
                    <a:pt x="3564" y="1765"/>
                    <a:pt x="3633" y="1712"/>
                  </a:cubicBezTo>
                  <a:cubicBezTo>
                    <a:pt x="3692" y="1667"/>
                    <a:pt x="3750" y="1624"/>
                    <a:pt x="3808" y="1582"/>
                  </a:cubicBezTo>
                  <a:cubicBezTo>
                    <a:pt x="4204" y="1295"/>
                    <a:pt x="4581" y="1076"/>
                    <a:pt x="4916" y="937"/>
                  </a:cubicBezTo>
                  <a:cubicBezTo>
                    <a:pt x="4945" y="925"/>
                    <a:pt x="4975" y="912"/>
                    <a:pt x="5004" y="901"/>
                  </a:cubicBezTo>
                  <a:cubicBezTo>
                    <a:pt x="5032" y="891"/>
                    <a:pt x="5058" y="882"/>
                    <a:pt x="5086" y="873"/>
                  </a:cubicBezTo>
                  <a:cubicBezTo>
                    <a:pt x="5281" y="806"/>
                    <a:pt x="5460" y="768"/>
                    <a:pt x="5614" y="767"/>
                  </a:cubicBezTo>
                  <a:cubicBezTo>
                    <a:pt x="5616" y="767"/>
                    <a:pt x="5618" y="767"/>
                    <a:pt x="5621" y="767"/>
                  </a:cubicBezTo>
                  <a:cubicBezTo>
                    <a:pt x="5642" y="768"/>
                    <a:pt x="5662" y="768"/>
                    <a:pt x="5682" y="770"/>
                  </a:cubicBezTo>
                  <a:cubicBezTo>
                    <a:pt x="5702" y="771"/>
                    <a:pt x="5722" y="774"/>
                    <a:pt x="5742" y="777"/>
                  </a:cubicBezTo>
                  <a:cubicBezTo>
                    <a:pt x="5797" y="785"/>
                    <a:pt x="5849" y="800"/>
                    <a:pt x="5896" y="821"/>
                  </a:cubicBezTo>
                  <a:cubicBezTo>
                    <a:pt x="5877" y="705"/>
                    <a:pt x="5854" y="590"/>
                    <a:pt x="5826" y="476"/>
                  </a:cubicBezTo>
                  <a:cubicBezTo>
                    <a:pt x="5816" y="433"/>
                    <a:pt x="5804" y="391"/>
                    <a:pt x="5792" y="349"/>
                  </a:cubicBezTo>
                  <a:cubicBezTo>
                    <a:pt x="5779" y="304"/>
                    <a:pt x="5766" y="259"/>
                    <a:pt x="5752" y="214"/>
                  </a:cubicBezTo>
                  <a:cubicBezTo>
                    <a:pt x="5740" y="175"/>
                    <a:pt x="5728" y="136"/>
                    <a:pt x="5714" y="97"/>
                  </a:cubicBezTo>
                  <a:cubicBezTo>
                    <a:pt x="5639" y="51"/>
                    <a:pt x="5549" y="22"/>
                    <a:pt x="5444" y="9"/>
                  </a:cubicBezTo>
                  <a:cubicBezTo>
                    <a:pt x="5425" y="6"/>
                    <a:pt x="5405" y="4"/>
                    <a:pt x="5385" y="3"/>
                  </a:cubicBezTo>
                  <a:cubicBezTo>
                    <a:pt x="5365" y="1"/>
                    <a:pt x="5345" y="1"/>
                    <a:pt x="5324" y="1"/>
                  </a:cubicBezTo>
                  <a:cubicBezTo>
                    <a:pt x="5320" y="1"/>
                    <a:pt x="5316" y="0"/>
                    <a:pt x="5312" y="0"/>
                  </a:cubicBezTo>
                  <a:cubicBezTo>
                    <a:pt x="5311" y="0"/>
                    <a:pt x="5309" y="0"/>
                    <a:pt x="5307" y="0"/>
                  </a:cubicBezTo>
                  <a:cubicBezTo>
                    <a:pt x="5135" y="0"/>
                    <a:pt x="4934" y="40"/>
                    <a:pt x="4713" y="112"/>
                  </a:cubicBezTo>
                  <a:cubicBezTo>
                    <a:pt x="4687" y="120"/>
                    <a:pt x="4662" y="127"/>
                    <a:pt x="4636" y="137"/>
                  </a:cubicBezTo>
                  <a:cubicBezTo>
                    <a:pt x="4610" y="146"/>
                    <a:pt x="4582" y="158"/>
                    <a:pt x="4555" y="168"/>
                  </a:cubicBezTo>
                  <a:cubicBezTo>
                    <a:pt x="4287" y="270"/>
                    <a:pt x="3995" y="418"/>
                    <a:pt x="3688" y="607"/>
                  </a:cubicBezTo>
                  <a:cubicBezTo>
                    <a:pt x="3647" y="632"/>
                    <a:pt x="3606" y="657"/>
                    <a:pt x="3564" y="684"/>
                  </a:cubicBezTo>
                  <a:cubicBezTo>
                    <a:pt x="3520" y="713"/>
                    <a:pt x="3475" y="743"/>
                    <a:pt x="3430" y="773"/>
                  </a:cubicBezTo>
                  <a:cubicBezTo>
                    <a:pt x="2956" y="1092"/>
                    <a:pt x="2460" y="1499"/>
                    <a:pt x="1980" y="1980"/>
                  </a:cubicBezTo>
                  <a:cubicBezTo>
                    <a:pt x="1500" y="2459"/>
                    <a:pt x="1093" y="2956"/>
                    <a:pt x="774" y="3429"/>
                  </a:cubicBezTo>
                  <a:cubicBezTo>
                    <a:pt x="744" y="3474"/>
                    <a:pt x="714" y="3519"/>
                    <a:pt x="685" y="3563"/>
                  </a:cubicBezTo>
                  <a:cubicBezTo>
                    <a:pt x="658" y="3605"/>
                    <a:pt x="633" y="3646"/>
                    <a:pt x="607" y="3688"/>
                  </a:cubicBezTo>
                  <a:cubicBezTo>
                    <a:pt x="419" y="3994"/>
                    <a:pt x="271" y="4287"/>
                    <a:pt x="169" y="4554"/>
                  </a:cubicBezTo>
                  <a:cubicBezTo>
                    <a:pt x="158" y="4581"/>
                    <a:pt x="147" y="4609"/>
                    <a:pt x="137" y="4635"/>
                  </a:cubicBezTo>
                  <a:cubicBezTo>
                    <a:pt x="128" y="4661"/>
                    <a:pt x="121" y="4686"/>
                    <a:pt x="113" y="4712"/>
                  </a:cubicBezTo>
                  <a:cubicBezTo>
                    <a:pt x="40" y="4935"/>
                    <a:pt x="0" y="5138"/>
                    <a:pt x="1" y="5311"/>
                  </a:cubicBezTo>
                  <a:cubicBezTo>
                    <a:pt x="1" y="5315"/>
                    <a:pt x="1" y="5319"/>
                    <a:pt x="2" y="5323"/>
                  </a:cubicBezTo>
                  <a:cubicBezTo>
                    <a:pt x="2" y="5344"/>
                    <a:pt x="2" y="5364"/>
                    <a:pt x="4" y="5384"/>
                  </a:cubicBezTo>
                  <a:cubicBezTo>
                    <a:pt x="5" y="5404"/>
                    <a:pt x="7" y="5424"/>
                    <a:pt x="10" y="5443"/>
                  </a:cubicBezTo>
                  <a:cubicBezTo>
                    <a:pt x="25" y="5564"/>
                    <a:pt x="62" y="5665"/>
                    <a:pt x="121" y="5747"/>
                  </a:cubicBezTo>
                  <a:cubicBezTo>
                    <a:pt x="131" y="5750"/>
                    <a:pt x="140" y="5753"/>
                    <a:pt x="150" y="5756"/>
                  </a:cubicBezTo>
                  <a:cubicBezTo>
                    <a:pt x="197" y="5771"/>
                    <a:pt x="244" y="5786"/>
                    <a:pt x="291" y="5800"/>
                  </a:cubicBezTo>
                  <a:cubicBezTo>
                    <a:pt x="336" y="5813"/>
                    <a:pt x="380" y="5825"/>
                    <a:pt x="425" y="5836"/>
                  </a:cubicBezTo>
                  <a:cubicBezTo>
                    <a:pt x="560" y="5870"/>
                    <a:pt x="697" y="5898"/>
                    <a:pt x="835" y="5920"/>
                  </a:cubicBezTo>
                  <a:cubicBezTo>
                    <a:pt x="807" y="5866"/>
                    <a:pt x="788" y="5806"/>
                    <a:pt x="778" y="5741"/>
                  </a:cubicBezTo>
                  <a:cubicBezTo>
                    <a:pt x="775" y="5721"/>
                    <a:pt x="773" y="5701"/>
                    <a:pt x="771" y="5681"/>
                  </a:cubicBezTo>
                  <a:cubicBezTo>
                    <a:pt x="769" y="5661"/>
                    <a:pt x="769" y="5641"/>
                    <a:pt x="769" y="5620"/>
                  </a:cubicBezTo>
                  <a:cubicBezTo>
                    <a:pt x="769" y="5617"/>
                    <a:pt x="768" y="5615"/>
                    <a:pt x="768" y="5612"/>
                  </a:cubicBezTo>
                  <a:cubicBezTo>
                    <a:pt x="769" y="5459"/>
                    <a:pt x="807" y="5280"/>
                    <a:pt x="874" y="5084"/>
                  </a:cubicBezTo>
                  <a:cubicBezTo>
                    <a:pt x="884" y="5057"/>
                    <a:pt x="892" y="5030"/>
                    <a:pt x="903" y="5002"/>
                  </a:cubicBezTo>
                  <a:cubicBezTo>
                    <a:pt x="913" y="4974"/>
                    <a:pt x="926" y="4944"/>
                    <a:pt x="938" y="4915"/>
                  </a:cubicBezTo>
                  <a:cubicBezTo>
                    <a:pt x="1077" y="4580"/>
                    <a:pt x="1296" y="4203"/>
                    <a:pt x="1583" y="3807"/>
                  </a:cubicBezTo>
                  <a:cubicBezTo>
                    <a:pt x="1625" y="3749"/>
                    <a:pt x="1668" y="3691"/>
                    <a:pt x="1713" y="3632"/>
                  </a:cubicBezTo>
                  <a:cubicBezTo>
                    <a:pt x="1765" y="3563"/>
                    <a:pt x="1820" y="3493"/>
                    <a:pt x="1877" y="3424"/>
                  </a:cubicBezTo>
                  <a:cubicBezTo>
                    <a:pt x="2095" y="3154"/>
                    <a:pt x="2341" y="2880"/>
                    <a:pt x="2610" y="2610"/>
                  </a:cubicBezTo>
                  <a:cubicBezTo>
                    <a:pt x="2881" y="2340"/>
                    <a:pt x="3155" y="2095"/>
                    <a:pt x="3424" y="187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1" name="Freeform 13">
              <a:extLst>
                <a:ext uri="{FF2B5EF4-FFF2-40B4-BE49-F238E27FC236}">
                  <a16:creationId xmlns:a16="http://schemas.microsoft.com/office/drawing/2014/main" id="{85D81FB3-8A4F-49F2-A164-8A0BF5C67920}"/>
                </a:ext>
              </a:extLst>
            </p:cNvPr>
            <p:cNvSpPr>
              <a:spLocks/>
            </p:cNvSpPr>
            <p:nvPr/>
          </p:nvSpPr>
          <p:spPr bwMode="auto">
            <a:xfrm>
              <a:off x="6849611" y="3634205"/>
              <a:ext cx="2613621" cy="2625898"/>
            </a:xfrm>
            <a:custGeom>
              <a:avLst/>
              <a:gdLst>
                <a:gd name="T0" fmla="*/ 3902 w 3934"/>
                <a:gd name="T1" fmla="*/ 32 h 3950"/>
                <a:gd name="T2" fmla="*/ 3727 w 3934"/>
                <a:gd name="T3" fmla="*/ 0 h 3950"/>
                <a:gd name="T4" fmla="*/ 3687 w 3934"/>
                <a:gd name="T5" fmla="*/ 3 h 3950"/>
                <a:gd name="T6" fmla="*/ 3616 w 3934"/>
                <a:gd name="T7" fmla="*/ 8 h 3950"/>
                <a:gd name="T8" fmla="*/ 3541 w 3934"/>
                <a:gd name="T9" fmla="*/ 21 h 3950"/>
                <a:gd name="T10" fmla="*/ 3005 w 3934"/>
                <a:gd name="T11" fmla="*/ 222 h 3950"/>
                <a:gd name="T12" fmla="*/ 2891 w 3934"/>
                <a:gd name="T13" fmla="*/ 283 h 3950"/>
                <a:gd name="T14" fmla="*/ 2768 w 3934"/>
                <a:gd name="T15" fmla="*/ 353 h 3950"/>
                <a:gd name="T16" fmla="*/ 1424 w 3934"/>
                <a:gd name="T17" fmla="*/ 1424 h 3950"/>
                <a:gd name="T18" fmla="*/ 353 w 3934"/>
                <a:gd name="T19" fmla="*/ 2768 h 3950"/>
                <a:gd name="T20" fmla="*/ 283 w 3934"/>
                <a:gd name="T21" fmla="*/ 2891 h 3950"/>
                <a:gd name="T22" fmla="*/ 222 w 3934"/>
                <a:gd name="T23" fmla="*/ 3005 h 3950"/>
                <a:gd name="T24" fmla="*/ 22 w 3934"/>
                <a:gd name="T25" fmla="*/ 3540 h 3950"/>
                <a:gd name="T26" fmla="*/ 8 w 3934"/>
                <a:gd name="T27" fmla="*/ 3616 h 3950"/>
                <a:gd name="T28" fmla="*/ 3 w 3934"/>
                <a:gd name="T29" fmla="*/ 3686 h 3950"/>
                <a:gd name="T30" fmla="*/ 1 w 3934"/>
                <a:gd name="T31" fmla="*/ 3727 h 3950"/>
                <a:gd name="T32" fmla="*/ 32 w 3934"/>
                <a:gd name="T33" fmla="*/ 3902 h 3950"/>
                <a:gd name="T34" fmla="*/ 56 w 3934"/>
                <a:gd name="T35" fmla="*/ 3950 h 3950"/>
                <a:gd name="T36" fmla="*/ 79 w 3934"/>
                <a:gd name="T37" fmla="*/ 3947 h 3950"/>
                <a:gd name="T38" fmla="*/ 282 w 3934"/>
                <a:gd name="T39" fmla="*/ 3917 h 3950"/>
                <a:gd name="T40" fmla="*/ 1127 w 3934"/>
                <a:gd name="T41" fmla="*/ 3685 h 3950"/>
                <a:gd name="T42" fmla="*/ 1020 w 3934"/>
                <a:gd name="T43" fmla="*/ 3624 h 3950"/>
                <a:gd name="T44" fmla="*/ 959 w 3934"/>
                <a:gd name="T45" fmla="*/ 3517 h 3950"/>
                <a:gd name="T46" fmla="*/ 946 w 3934"/>
                <a:gd name="T47" fmla="*/ 3454 h 3950"/>
                <a:gd name="T48" fmla="*/ 943 w 3934"/>
                <a:gd name="T49" fmla="*/ 3410 h 3950"/>
                <a:gd name="T50" fmla="*/ 945 w 3934"/>
                <a:gd name="T51" fmla="*/ 3382 h 3950"/>
                <a:gd name="T52" fmla="*/ 1060 w 3934"/>
                <a:gd name="T53" fmla="*/ 2995 h 3950"/>
                <a:gd name="T54" fmla="*/ 1123 w 3934"/>
                <a:gd name="T55" fmla="*/ 2873 h 3950"/>
                <a:gd name="T56" fmla="*/ 1207 w 3934"/>
                <a:gd name="T57" fmla="*/ 2729 h 3950"/>
                <a:gd name="T58" fmla="*/ 1890 w 3934"/>
                <a:gd name="T59" fmla="*/ 1890 h 3950"/>
                <a:gd name="T60" fmla="*/ 2729 w 3934"/>
                <a:gd name="T61" fmla="*/ 1207 h 3950"/>
                <a:gd name="T62" fmla="*/ 2873 w 3934"/>
                <a:gd name="T63" fmla="*/ 1123 h 3950"/>
                <a:gd name="T64" fmla="*/ 2994 w 3934"/>
                <a:gd name="T65" fmla="*/ 1061 h 3950"/>
                <a:gd name="T66" fmla="*/ 3382 w 3934"/>
                <a:gd name="T67" fmla="*/ 946 h 3950"/>
                <a:gd name="T68" fmla="*/ 3410 w 3934"/>
                <a:gd name="T69" fmla="*/ 943 h 3950"/>
                <a:gd name="T70" fmla="*/ 3454 w 3934"/>
                <a:gd name="T71" fmla="*/ 947 h 3950"/>
                <a:gd name="T72" fmla="*/ 3517 w 3934"/>
                <a:gd name="T73" fmla="*/ 959 h 3950"/>
                <a:gd name="T74" fmla="*/ 3624 w 3934"/>
                <a:gd name="T75" fmla="*/ 1020 h 3950"/>
                <a:gd name="T76" fmla="*/ 3679 w 3934"/>
                <a:gd name="T77" fmla="*/ 1109 h 3950"/>
                <a:gd name="T78" fmla="*/ 3893 w 3934"/>
                <a:gd name="T79" fmla="*/ 331 h 3950"/>
                <a:gd name="T80" fmla="*/ 3924 w 3934"/>
                <a:gd name="T81" fmla="*/ 131 h 3950"/>
                <a:gd name="T82" fmla="*/ 3934 w 3934"/>
                <a:gd name="T83" fmla="*/ 47 h 3950"/>
                <a:gd name="T84" fmla="*/ 3902 w 3934"/>
                <a:gd name="T85" fmla="*/ 32 h 3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34" h="3950">
                  <a:moveTo>
                    <a:pt x="3902" y="32"/>
                  </a:moveTo>
                  <a:cubicBezTo>
                    <a:pt x="3854" y="12"/>
                    <a:pt x="3797" y="1"/>
                    <a:pt x="3727" y="0"/>
                  </a:cubicBezTo>
                  <a:cubicBezTo>
                    <a:pt x="3714" y="0"/>
                    <a:pt x="3700" y="2"/>
                    <a:pt x="3687" y="3"/>
                  </a:cubicBezTo>
                  <a:cubicBezTo>
                    <a:pt x="3664" y="4"/>
                    <a:pt x="3641" y="5"/>
                    <a:pt x="3616" y="8"/>
                  </a:cubicBezTo>
                  <a:cubicBezTo>
                    <a:pt x="3592" y="12"/>
                    <a:pt x="3567" y="16"/>
                    <a:pt x="3541" y="21"/>
                  </a:cubicBezTo>
                  <a:cubicBezTo>
                    <a:pt x="3386" y="53"/>
                    <a:pt x="3204" y="121"/>
                    <a:pt x="3005" y="222"/>
                  </a:cubicBezTo>
                  <a:cubicBezTo>
                    <a:pt x="2967" y="241"/>
                    <a:pt x="2929" y="262"/>
                    <a:pt x="2891" y="283"/>
                  </a:cubicBezTo>
                  <a:cubicBezTo>
                    <a:pt x="2851" y="305"/>
                    <a:pt x="2810" y="329"/>
                    <a:pt x="2768" y="353"/>
                  </a:cubicBezTo>
                  <a:cubicBezTo>
                    <a:pt x="2350" y="601"/>
                    <a:pt x="1878" y="968"/>
                    <a:pt x="1424" y="1424"/>
                  </a:cubicBezTo>
                  <a:cubicBezTo>
                    <a:pt x="967" y="1878"/>
                    <a:pt x="601" y="2350"/>
                    <a:pt x="353" y="2768"/>
                  </a:cubicBezTo>
                  <a:cubicBezTo>
                    <a:pt x="329" y="2810"/>
                    <a:pt x="305" y="2851"/>
                    <a:pt x="283" y="2891"/>
                  </a:cubicBezTo>
                  <a:cubicBezTo>
                    <a:pt x="261" y="2930"/>
                    <a:pt x="241" y="2968"/>
                    <a:pt x="222" y="3005"/>
                  </a:cubicBezTo>
                  <a:cubicBezTo>
                    <a:pt x="121" y="3204"/>
                    <a:pt x="53" y="3386"/>
                    <a:pt x="22" y="3540"/>
                  </a:cubicBezTo>
                  <a:cubicBezTo>
                    <a:pt x="16" y="3566"/>
                    <a:pt x="12" y="3592"/>
                    <a:pt x="8" y="3616"/>
                  </a:cubicBezTo>
                  <a:cubicBezTo>
                    <a:pt x="5" y="3641"/>
                    <a:pt x="4" y="3664"/>
                    <a:pt x="3" y="3686"/>
                  </a:cubicBezTo>
                  <a:cubicBezTo>
                    <a:pt x="2" y="3700"/>
                    <a:pt x="0" y="3714"/>
                    <a:pt x="1" y="3727"/>
                  </a:cubicBezTo>
                  <a:cubicBezTo>
                    <a:pt x="1" y="3797"/>
                    <a:pt x="12" y="3854"/>
                    <a:pt x="32" y="3902"/>
                  </a:cubicBezTo>
                  <a:cubicBezTo>
                    <a:pt x="39" y="3919"/>
                    <a:pt x="47" y="3935"/>
                    <a:pt x="56" y="3950"/>
                  </a:cubicBezTo>
                  <a:cubicBezTo>
                    <a:pt x="64" y="3949"/>
                    <a:pt x="71" y="3948"/>
                    <a:pt x="79" y="3947"/>
                  </a:cubicBezTo>
                  <a:cubicBezTo>
                    <a:pt x="147" y="3939"/>
                    <a:pt x="214" y="3929"/>
                    <a:pt x="282" y="3917"/>
                  </a:cubicBezTo>
                  <a:cubicBezTo>
                    <a:pt x="569" y="3868"/>
                    <a:pt x="852" y="3791"/>
                    <a:pt x="1127" y="3685"/>
                  </a:cubicBezTo>
                  <a:cubicBezTo>
                    <a:pt x="1087" y="3673"/>
                    <a:pt x="1050" y="3653"/>
                    <a:pt x="1020" y="3624"/>
                  </a:cubicBezTo>
                  <a:cubicBezTo>
                    <a:pt x="990" y="3594"/>
                    <a:pt x="971" y="3557"/>
                    <a:pt x="959" y="3517"/>
                  </a:cubicBezTo>
                  <a:cubicBezTo>
                    <a:pt x="953" y="3497"/>
                    <a:pt x="949" y="3476"/>
                    <a:pt x="946" y="3454"/>
                  </a:cubicBezTo>
                  <a:cubicBezTo>
                    <a:pt x="945" y="3440"/>
                    <a:pt x="943" y="3425"/>
                    <a:pt x="943" y="3410"/>
                  </a:cubicBezTo>
                  <a:cubicBezTo>
                    <a:pt x="944" y="3401"/>
                    <a:pt x="945" y="3392"/>
                    <a:pt x="945" y="3382"/>
                  </a:cubicBezTo>
                  <a:cubicBezTo>
                    <a:pt x="952" y="3271"/>
                    <a:pt x="992" y="3140"/>
                    <a:pt x="1060" y="2995"/>
                  </a:cubicBezTo>
                  <a:cubicBezTo>
                    <a:pt x="1079" y="2955"/>
                    <a:pt x="1100" y="2914"/>
                    <a:pt x="1123" y="2873"/>
                  </a:cubicBezTo>
                  <a:cubicBezTo>
                    <a:pt x="1148" y="2826"/>
                    <a:pt x="1176" y="2778"/>
                    <a:pt x="1207" y="2729"/>
                  </a:cubicBezTo>
                  <a:cubicBezTo>
                    <a:pt x="1371" y="2466"/>
                    <a:pt x="1606" y="2176"/>
                    <a:pt x="1890" y="1890"/>
                  </a:cubicBezTo>
                  <a:cubicBezTo>
                    <a:pt x="2176" y="1606"/>
                    <a:pt x="2466" y="1372"/>
                    <a:pt x="2729" y="1207"/>
                  </a:cubicBezTo>
                  <a:cubicBezTo>
                    <a:pt x="2778" y="1176"/>
                    <a:pt x="2825" y="1149"/>
                    <a:pt x="2873" y="1123"/>
                  </a:cubicBezTo>
                  <a:cubicBezTo>
                    <a:pt x="2914" y="1100"/>
                    <a:pt x="2955" y="1079"/>
                    <a:pt x="2994" y="1061"/>
                  </a:cubicBezTo>
                  <a:cubicBezTo>
                    <a:pt x="3140" y="992"/>
                    <a:pt x="3271" y="953"/>
                    <a:pt x="3382" y="946"/>
                  </a:cubicBezTo>
                  <a:cubicBezTo>
                    <a:pt x="3392" y="945"/>
                    <a:pt x="3401" y="944"/>
                    <a:pt x="3410" y="943"/>
                  </a:cubicBezTo>
                  <a:cubicBezTo>
                    <a:pt x="3425" y="943"/>
                    <a:pt x="3440" y="945"/>
                    <a:pt x="3454" y="947"/>
                  </a:cubicBezTo>
                  <a:cubicBezTo>
                    <a:pt x="3476" y="949"/>
                    <a:pt x="3497" y="953"/>
                    <a:pt x="3517" y="959"/>
                  </a:cubicBezTo>
                  <a:cubicBezTo>
                    <a:pt x="3557" y="971"/>
                    <a:pt x="3594" y="990"/>
                    <a:pt x="3624" y="1020"/>
                  </a:cubicBezTo>
                  <a:cubicBezTo>
                    <a:pt x="3649" y="1045"/>
                    <a:pt x="3667" y="1076"/>
                    <a:pt x="3679" y="1109"/>
                  </a:cubicBezTo>
                  <a:cubicBezTo>
                    <a:pt x="3774" y="856"/>
                    <a:pt x="3846" y="595"/>
                    <a:pt x="3893" y="331"/>
                  </a:cubicBezTo>
                  <a:cubicBezTo>
                    <a:pt x="3905" y="265"/>
                    <a:pt x="3915" y="198"/>
                    <a:pt x="3924" y="131"/>
                  </a:cubicBezTo>
                  <a:cubicBezTo>
                    <a:pt x="3928" y="103"/>
                    <a:pt x="3931" y="75"/>
                    <a:pt x="3934" y="47"/>
                  </a:cubicBezTo>
                  <a:cubicBezTo>
                    <a:pt x="3924" y="41"/>
                    <a:pt x="3913" y="37"/>
                    <a:pt x="3902" y="3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sp>
        <p:nvSpPr>
          <p:cNvPr id="8" name="Platshållare för bild 7"/>
          <p:cNvSpPr>
            <a:spLocks noGrp="1"/>
          </p:cNvSpPr>
          <p:nvPr>
            <p:ph type="pic" sz="quarter" idx="15" hasCustomPrompt="1"/>
          </p:nvPr>
        </p:nvSpPr>
        <p:spPr>
          <a:xfrm>
            <a:off x="4584700" y="952575"/>
            <a:ext cx="4156148" cy="3289235"/>
          </a:xfrm>
          <a:prstGeom prst="rect">
            <a:avLst/>
          </a:prstGeom>
        </p:spPr>
        <p:txBody>
          <a:bodyPr/>
          <a:lstStyle>
            <a:lvl1pPr marL="0" indent="0">
              <a:buNone/>
              <a:defRPr/>
            </a:lvl1pPr>
          </a:lstStyle>
          <a:p>
            <a:r>
              <a:rPr lang="sv-SE"/>
              <a:t> </a:t>
            </a:r>
          </a:p>
        </p:txBody>
      </p:sp>
      <p:sp>
        <p:nvSpPr>
          <p:cNvPr id="34" name="Rubrik 33"/>
          <p:cNvSpPr>
            <a:spLocks noGrp="1"/>
          </p:cNvSpPr>
          <p:nvPr>
            <p:ph type="title" hasCustomPrompt="1"/>
          </p:nvPr>
        </p:nvSpPr>
        <p:spPr>
          <a:xfrm>
            <a:off x="381000" y="231140"/>
            <a:ext cx="4093842" cy="1009894"/>
          </a:xfrm>
          <a:prstGeom prst="rect">
            <a:avLst/>
          </a:prstGeom>
        </p:spPr>
        <p:txBody>
          <a:bodyPr lIns="0" tIns="0" rIns="0" bIns="0" anchor="t" anchorCtr="0">
            <a:normAutofit/>
          </a:bodyPr>
          <a:lstStyle>
            <a:lvl1pPr algn="l">
              <a:defRPr sz="3600">
                <a:solidFill>
                  <a:schemeClr val="tx1"/>
                </a:solidFill>
                <a:latin typeface="Calibri"/>
                <a:cs typeface="Calibri"/>
              </a:defRPr>
            </a:lvl1pPr>
          </a:lstStyle>
          <a:p>
            <a:r>
              <a:rPr lang="en-GB"/>
              <a:t>Heading</a:t>
            </a:r>
            <a:endParaRPr lang="sv-SE"/>
          </a:p>
        </p:txBody>
      </p:sp>
      <p:sp>
        <p:nvSpPr>
          <p:cNvPr id="21" name="Platshållare för text 2"/>
          <p:cNvSpPr>
            <a:spLocks noGrp="1"/>
          </p:cNvSpPr>
          <p:nvPr>
            <p:ph type="body" sz="quarter" idx="17" hasCustomPrompt="1"/>
          </p:nvPr>
        </p:nvSpPr>
        <p:spPr>
          <a:xfrm>
            <a:off x="381000" y="1494564"/>
            <a:ext cx="4093842" cy="3044492"/>
          </a:xfrm>
          <a:prstGeom prst="rect">
            <a:avLst/>
          </a:prstGeom>
        </p:spPr>
        <p:txBody>
          <a:bodyPr lIns="0" tIns="0" rIns="0" bIns="0">
            <a:normAutofit/>
          </a:bodyPr>
          <a:lstStyle>
            <a:lvl1pPr marL="190500" indent="-190500">
              <a:spcBef>
                <a:spcPts val="50"/>
              </a:spcBef>
              <a:defRPr sz="2000"/>
            </a:lvl1pPr>
            <a:lvl2pPr marL="446088" indent="-265113">
              <a:spcBef>
                <a:spcPts val="50"/>
              </a:spcBef>
              <a:buFont typeface="Lucida Grande"/>
              <a:buChar char="–"/>
              <a:defRPr sz="1800"/>
            </a:lvl2pPr>
            <a:lvl3pPr marL="571500" indent="-254000">
              <a:spcBef>
                <a:spcPts val="50"/>
              </a:spcBef>
              <a:buFont typeface="Courier New" panose="02070309020205020404" pitchFamily="49" charset="0"/>
              <a:buChar char="o"/>
              <a:defRPr sz="1600"/>
            </a:lvl3pPr>
            <a:lvl4pPr marL="698500" indent="-254000">
              <a:spcBef>
                <a:spcPts val="50"/>
              </a:spcBef>
              <a:buFont typeface="Wingdings" panose="05000000000000000000" pitchFamily="2" charset="2"/>
              <a:buChar char="§"/>
              <a:defRPr sz="1400"/>
            </a:lvl4pPr>
            <a:lvl5pPr marL="825500" indent="-254000">
              <a:spcBef>
                <a:spcPts val="50"/>
              </a:spcBef>
              <a:buFont typeface="Lucida Grande"/>
              <a:buChar char="–"/>
              <a:defRPr/>
            </a:lvl5pPr>
          </a:lstStyle>
          <a:p>
            <a:pPr lvl="0"/>
            <a:r>
              <a:rPr lang="en-GB" noProof="0"/>
              <a:t>Level 1</a:t>
            </a:r>
          </a:p>
          <a:p>
            <a:pPr lvl="1"/>
            <a:r>
              <a:rPr lang="en-GB" noProof="0"/>
              <a:t>Level 2</a:t>
            </a:r>
          </a:p>
          <a:p>
            <a:pPr lvl="2"/>
            <a:r>
              <a:rPr lang="en-GB" noProof="0"/>
              <a:t>Level 3</a:t>
            </a:r>
          </a:p>
          <a:p>
            <a:pPr lvl="3"/>
            <a:r>
              <a:rPr lang="en-GB" noProof="0"/>
              <a:t>Level 4</a:t>
            </a:r>
          </a:p>
        </p:txBody>
      </p:sp>
      <p:pic>
        <p:nvPicPr>
          <p:cNvPr id="33" name="Bildobjekt 3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0201" y="4590290"/>
            <a:ext cx="850195" cy="307734"/>
          </a:xfrm>
          <a:prstGeom prst="rect">
            <a:avLst/>
          </a:prstGeom>
        </p:spPr>
      </p:pic>
      <p:sp>
        <p:nvSpPr>
          <p:cNvPr id="41" name="Platshållare för sidfot 4">
            <a:extLst>
              <a:ext uri="{FF2B5EF4-FFF2-40B4-BE49-F238E27FC236}">
                <a16:creationId xmlns:a16="http://schemas.microsoft.com/office/drawing/2014/main" id="{08B9387F-AAAE-4856-AB9E-B9432581DEAA}"/>
              </a:ext>
            </a:extLst>
          </p:cNvPr>
          <p:cNvSpPr>
            <a:spLocks noGrp="1"/>
          </p:cNvSpPr>
          <p:nvPr>
            <p:ph type="ftr" sz="quarter" idx="11"/>
          </p:nvPr>
        </p:nvSpPr>
        <p:spPr>
          <a:xfrm>
            <a:off x="5824413" y="4483997"/>
            <a:ext cx="2509889" cy="382813"/>
          </a:xfrm>
          <a:prstGeom prst="rect">
            <a:avLst/>
          </a:prstGeom>
        </p:spPr>
        <p:txBody>
          <a:bodyPr lIns="0" tIns="0" rIns="0" bIns="0" anchor="b" anchorCtr="0"/>
          <a:lstStyle>
            <a:lvl1pPr algn="r">
              <a:defRPr sz="900" b="0">
                <a:solidFill>
                  <a:schemeClr val="bg1"/>
                </a:solidFill>
              </a:defRPr>
            </a:lvl1pPr>
          </a:lstStyle>
          <a:p>
            <a:r>
              <a:rPr lang="en-US"/>
              <a:t>Stakeholder Forum Agenda - Classification: External</a:t>
            </a:r>
            <a:endParaRPr lang="sv-SE"/>
          </a:p>
        </p:txBody>
      </p:sp>
      <p:sp>
        <p:nvSpPr>
          <p:cNvPr id="42" name="Platshållare för datum 3">
            <a:extLst>
              <a:ext uri="{FF2B5EF4-FFF2-40B4-BE49-F238E27FC236}">
                <a16:creationId xmlns:a16="http://schemas.microsoft.com/office/drawing/2014/main" id="{2268120A-8912-409F-A0DC-B4594B37D06A}"/>
              </a:ext>
            </a:extLst>
          </p:cNvPr>
          <p:cNvSpPr>
            <a:spLocks noGrp="1"/>
          </p:cNvSpPr>
          <p:nvPr>
            <p:ph type="dt" sz="half" idx="10"/>
          </p:nvPr>
        </p:nvSpPr>
        <p:spPr>
          <a:xfrm>
            <a:off x="4734099" y="4495861"/>
            <a:ext cx="1018558" cy="370949"/>
          </a:xfrm>
          <a:prstGeom prst="rect">
            <a:avLst/>
          </a:prstGeom>
        </p:spPr>
        <p:txBody>
          <a:bodyPr lIns="0" tIns="0" rIns="0" bIns="0" anchor="b" anchorCtr="0"/>
          <a:lstStyle>
            <a:lvl1pPr algn="l">
              <a:defRPr sz="900" b="0" i="0" cap="all">
                <a:solidFill>
                  <a:schemeClr val="bg1"/>
                </a:solidFill>
              </a:defRPr>
            </a:lvl1pPr>
          </a:lstStyle>
          <a:p>
            <a:r>
              <a:rPr lang="sv-SE"/>
              <a:t>26/03/2026</a:t>
            </a:r>
          </a:p>
        </p:txBody>
      </p:sp>
      <p:sp>
        <p:nvSpPr>
          <p:cNvPr id="43" name="Platshållare för bildnummer 5">
            <a:extLst>
              <a:ext uri="{FF2B5EF4-FFF2-40B4-BE49-F238E27FC236}">
                <a16:creationId xmlns:a16="http://schemas.microsoft.com/office/drawing/2014/main" id="{B2322324-2E27-4301-832C-93BB1168D16A}"/>
              </a:ext>
            </a:extLst>
          </p:cNvPr>
          <p:cNvSpPr>
            <a:spLocks noGrp="1"/>
          </p:cNvSpPr>
          <p:nvPr>
            <p:ph type="sldNum" sz="quarter" idx="12"/>
          </p:nvPr>
        </p:nvSpPr>
        <p:spPr>
          <a:xfrm>
            <a:off x="8383230" y="4469824"/>
            <a:ext cx="368658" cy="396987"/>
          </a:xfrm>
          <a:prstGeom prst="rect">
            <a:avLst/>
          </a:prstGeom>
          <a:noFill/>
        </p:spPr>
        <p:txBody>
          <a:bodyPr lIns="25400" tIns="0" rIns="0" bIns="0" anchor="b" anchorCtr="0"/>
          <a:lstStyle>
            <a:lvl1pPr algn="r">
              <a:defRPr sz="900">
                <a:solidFill>
                  <a:schemeClr val="bg1"/>
                </a:solidFill>
              </a:defRPr>
            </a:lvl1pPr>
          </a:lstStyle>
          <a:p>
            <a:fld id="{394EE31B-4DFC-CF4D-9A18-3F5D4D7C7302}" type="slidenum">
              <a:rPr lang="sv-SE" smtClean="0"/>
              <a:pPr/>
              <a:t>‹#›</a:t>
            </a:fld>
            <a:endParaRPr lang="sv-SE"/>
          </a:p>
        </p:txBody>
      </p:sp>
    </p:spTree>
    <p:extLst>
      <p:ext uri="{BB962C8B-B14F-4D97-AF65-F5344CB8AC3E}">
        <p14:creationId xmlns:p14="http://schemas.microsoft.com/office/powerpoint/2010/main" val="20422188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1 Purple">
    <p:spTree>
      <p:nvGrpSpPr>
        <p:cNvPr id="1" name=""/>
        <p:cNvGrpSpPr/>
        <p:nvPr/>
      </p:nvGrpSpPr>
      <p:grpSpPr>
        <a:xfrm>
          <a:off x="0" y="0"/>
          <a:ext cx="0" cy="0"/>
          <a:chOff x="0" y="0"/>
          <a:chExt cx="0" cy="0"/>
        </a:xfrm>
      </p:grpSpPr>
      <p:sp>
        <p:nvSpPr>
          <p:cNvPr id="20" name="Rektangel 19"/>
          <p:cNvSpPr/>
          <p:nvPr userDrawn="1"/>
        </p:nvSpPr>
        <p:spPr>
          <a:xfrm>
            <a:off x="4572000" y="0"/>
            <a:ext cx="4572000" cy="5143500"/>
          </a:xfrm>
          <a:prstGeom prst="rect">
            <a:avLst/>
          </a:prstGeom>
          <a:solidFill>
            <a:schemeClr val="accent4"/>
          </a:solidFill>
          <a:ln>
            <a:noFill/>
          </a:ln>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sv-SE"/>
          </a:p>
        </p:txBody>
      </p:sp>
      <p:grpSp>
        <p:nvGrpSpPr>
          <p:cNvPr id="22" name="Grupp 21">
            <a:extLst>
              <a:ext uri="{FF2B5EF4-FFF2-40B4-BE49-F238E27FC236}">
                <a16:creationId xmlns:a16="http://schemas.microsoft.com/office/drawing/2014/main" id="{58A4F037-5372-4F50-AB2C-80E4F015FDE0}"/>
              </a:ext>
            </a:extLst>
          </p:cNvPr>
          <p:cNvGrpSpPr/>
          <p:nvPr userDrawn="1"/>
        </p:nvGrpSpPr>
        <p:grpSpPr>
          <a:xfrm>
            <a:off x="4099911" y="-1785593"/>
            <a:ext cx="8908892" cy="8714685"/>
            <a:chOff x="3589405" y="387640"/>
            <a:chExt cx="5873827" cy="5872463"/>
          </a:xfrm>
          <a:solidFill>
            <a:schemeClr val="bg1">
              <a:alpha val="10000"/>
            </a:schemeClr>
          </a:solidFill>
        </p:grpSpPr>
        <p:sp>
          <p:nvSpPr>
            <p:cNvPr id="23" name="Freeform 5">
              <a:extLst>
                <a:ext uri="{FF2B5EF4-FFF2-40B4-BE49-F238E27FC236}">
                  <a16:creationId xmlns:a16="http://schemas.microsoft.com/office/drawing/2014/main" id="{7C1D4E85-F2CE-4336-8CC8-25E235311297}"/>
                </a:ext>
              </a:extLst>
            </p:cNvPr>
            <p:cNvSpPr>
              <a:spLocks/>
            </p:cNvSpPr>
            <p:nvPr/>
          </p:nvSpPr>
          <p:spPr bwMode="auto">
            <a:xfrm>
              <a:off x="3871774" y="678194"/>
              <a:ext cx="1392749" cy="1400934"/>
            </a:xfrm>
            <a:custGeom>
              <a:avLst/>
              <a:gdLst>
                <a:gd name="T0" fmla="*/ 2096 w 2096"/>
                <a:gd name="T1" fmla="*/ 0 h 2108"/>
                <a:gd name="T2" fmla="*/ 877 w 2096"/>
                <a:gd name="T3" fmla="*/ 863 h 2108"/>
                <a:gd name="T4" fmla="*/ 0 w 2096"/>
                <a:gd name="T5" fmla="*/ 2108 h 2108"/>
                <a:gd name="T6" fmla="*/ 981 w 2096"/>
                <a:gd name="T7" fmla="*/ 948 h 2108"/>
                <a:gd name="T8" fmla="*/ 2096 w 2096"/>
                <a:gd name="T9" fmla="*/ 0 h 2108"/>
              </a:gdLst>
              <a:ahLst/>
              <a:cxnLst>
                <a:cxn ang="0">
                  <a:pos x="T0" y="T1"/>
                </a:cxn>
                <a:cxn ang="0">
                  <a:pos x="T2" y="T3"/>
                </a:cxn>
                <a:cxn ang="0">
                  <a:pos x="T4" y="T5"/>
                </a:cxn>
                <a:cxn ang="0">
                  <a:pos x="T6" y="T7"/>
                </a:cxn>
                <a:cxn ang="0">
                  <a:pos x="T8" y="T9"/>
                </a:cxn>
              </a:cxnLst>
              <a:rect l="0" t="0" r="r" b="b"/>
              <a:pathLst>
                <a:path w="2096" h="2108">
                  <a:moveTo>
                    <a:pt x="2096" y="0"/>
                  </a:moveTo>
                  <a:cubicBezTo>
                    <a:pt x="1655" y="211"/>
                    <a:pt x="1242" y="498"/>
                    <a:pt x="877" y="863"/>
                  </a:cubicBezTo>
                  <a:cubicBezTo>
                    <a:pt x="504" y="1235"/>
                    <a:pt x="213" y="1658"/>
                    <a:pt x="0" y="2108"/>
                  </a:cubicBezTo>
                  <a:cubicBezTo>
                    <a:pt x="254" y="1741"/>
                    <a:pt x="588" y="1343"/>
                    <a:pt x="981" y="948"/>
                  </a:cubicBezTo>
                  <a:cubicBezTo>
                    <a:pt x="1360" y="571"/>
                    <a:pt x="1741" y="249"/>
                    <a:pt x="209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4" name="Freeform 6">
              <a:extLst>
                <a:ext uri="{FF2B5EF4-FFF2-40B4-BE49-F238E27FC236}">
                  <a16:creationId xmlns:a16="http://schemas.microsoft.com/office/drawing/2014/main" id="{AAC8634F-3E34-4168-8D60-19B3A00C0D81}"/>
                </a:ext>
              </a:extLst>
            </p:cNvPr>
            <p:cNvSpPr>
              <a:spLocks/>
            </p:cNvSpPr>
            <p:nvPr/>
          </p:nvSpPr>
          <p:spPr bwMode="auto">
            <a:xfrm>
              <a:off x="3635784" y="435383"/>
              <a:ext cx="2381724" cy="2399457"/>
            </a:xfrm>
            <a:custGeom>
              <a:avLst/>
              <a:gdLst>
                <a:gd name="T0" fmla="*/ 446 w 3585"/>
                <a:gd name="T1" fmla="*/ 2866 h 3609"/>
                <a:gd name="T2" fmla="*/ 484 w 3585"/>
                <a:gd name="T3" fmla="*/ 2811 h 3609"/>
                <a:gd name="T4" fmla="*/ 1565 w 3585"/>
                <a:gd name="T5" fmla="*/ 1541 h 3609"/>
                <a:gd name="T6" fmla="*/ 2835 w 3585"/>
                <a:gd name="T7" fmla="*/ 460 h 3609"/>
                <a:gd name="T8" fmla="*/ 2891 w 3585"/>
                <a:gd name="T9" fmla="*/ 422 h 3609"/>
                <a:gd name="T10" fmla="*/ 2945 w 3585"/>
                <a:gd name="T11" fmla="*/ 385 h 3609"/>
                <a:gd name="T12" fmla="*/ 3585 w 3585"/>
                <a:gd name="T13" fmla="*/ 0 h 3609"/>
                <a:gd name="T14" fmla="*/ 3071 w 3585"/>
                <a:gd name="T15" fmla="*/ 123 h 3609"/>
                <a:gd name="T16" fmla="*/ 2863 w 3585"/>
                <a:gd name="T17" fmla="*/ 239 h 3609"/>
                <a:gd name="T18" fmla="*/ 2809 w 3585"/>
                <a:gd name="T19" fmla="*/ 272 h 3609"/>
                <a:gd name="T20" fmla="*/ 2752 w 3585"/>
                <a:gd name="T21" fmla="*/ 307 h 3609"/>
                <a:gd name="T22" fmla="*/ 1420 w 3585"/>
                <a:gd name="T23" fmla="*/ 1396 h 3609"/>
                <a:gd name="T24" fmla="*/ 331 w 3585"/>
                <a:gd name="T25" fmla="*/ 2728 h 3609"/>
                <a:gd name="T26" fmla="*/ 296 w 3585"/>
                <a:gd name="T27" fmla="*/ 2785 h 3609"/>
                <a:gd name="T28" fmla="*/ 263 w 3585"/>
                <a:gd name="T29" fmla="*/ 2839 h 3609"/>
                <a:gd name="T30" fmla="*/ 113 w 3585"/>
                <a:gd name="T31" fmla="*/ 3114 h 3609"/>
                <a:gd name="T32" fmla="*/ 0 w 3585"/>
                <a:gd name="T33" fmla="*/ 3609 h 3609"/>
                <a:gd name="T34" fmla="*/ 408 w 3585"/>
                <a:gd name="T35" fmla="*/ 2921 h 3609"/>
                <a:gd name="T36" fmla="*/ 446 w 3585"/>
                <a:gd name="T37" fmla="*/ 2866 h 3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85" h="3609">
                  <a:moveTo>
                    <a:pt x="446" y="2866"/>
                  </a:moveTo>
                  <a:cubicBezTo>
                    <a:pt x="459" y="2848"/>
                    <a:pt x="471" y="2830"/>
                    <a:pt x="484" y="2811"/>
                  </a:cubicBezTo>
                  <a:cubicBezTo>
                    <a:pt x="775" y="2399"/>
                    <a:pt x="1141" y="1966"/>
                    <a:pt x="1565" y="1541"/>
                  </a:cubicBezTo>
                  <a:cubicBezTo>
                    <a:pt x="1990" y="1117"/>
                    <a:pt x="2423" y="751"/>
                    <a:pt x="2835" y="460"/>
                  </a:cubicBezTo>
                  <a:cubicBezTo>
                    <a:pt x="2854" y="447"/>
                    <a:pt x="2872" y="435"/>
                    <a:pt x="2891" y="422"/>
                  </a:cubicBezTo>
                  <a:cubicBezTo>
                    <a:pt x="2909" y="409"/>
                    <a:pt x="2927" y="397"/>
                    <a:pt x="2945" y="385"/>
                  </a:cubicBezTo>
                  <a:cubicBezTo>
                    <a:pt x="3167" y="233"/>
                    <a:pt x="3382" y="104"/>
                    <a:pt x="3585" y="0"/>
                  </a:cubicBezTo>
                  <a:cubicBezTo>
                    <a:pt x="3412" y="31"/>
                    <a:pt x="3240" y="72"/>
                    <a:pt x="3071" y="123"/>
                  </a:cubicBezTo>
                  <a:cubicBezTo>
                    <a:pt x="3004" y="158"/>
                    <a:pt x="2935" y="196"/>
                    <a:pt x="2863" y="239"/>
                  </a:cubicBezTo>
                  <a:cubicBezTo>
                    <a:pt x="2845" y="249"/>
                    <a:pt x="2827" y="261"/>
                    <a:pt x="2809" y="272"/>
                  </a:cubicBezTo>
                  <a:cubicBezTo>
                    <a:pt x="2790" y="284"/>
                    <a:pt x="2771" y="294"/>
                    <a:pt x="2752" y="307"/>
                  </a:cubicBezTo>
                  <a:cubicBezTo>
                    <a:pt x="2343" y="565"/>
                    <a:pt x="1875" y="939"/>
                    <a:pt x="1420" y="1396"/>
                  </a:cubicBezTo>
                  <a:cubicBezTo>
                    <a:pt x="963" y="1851"/>
                    <a:pt x="589" y="2319"/>
                    <a:pt x="331" y="2728"/>
                  </a:cubicBezTo>
                  <a:cubicBezTo>
                    <a:pt x="318" y="2747"/>
                    <a:pt x="308" y="2766"/>
                    <a:pt x="296" y="2785"/>
                  </a:cubicBezTo>
                  <a:cubicBezTo>
                    <a:pt x="285" y="2803"/>
                    <a:pt x="273" y="2821"/>
                    <a:pt x="263" y="2839"/>
                  </a:cubicBezTo>
                  <a:cubicBezTo>
                    <a:pt x="205" y="2935"/>
                    <a:pt x="156" y="3027"/>
                    <a:pt x="113" y="3114"/>
                  </a:cubicBezTo>
                  <a:cubicBezTo>
                    <a:pt x="65" y="3277"/>
                    <a:pt x="28" y="3443"/>
                    <a:pt x="0" y="3609"/>
                  </a:cubicBezTo>
                  <a:cubicBezTo>
                    <a:pt x="107" y="3392"/>
                    <a:pt x="245" y="3161"/>
                    <a:pt x="408" y="2921"/>
                  </a:cubicBezTo>
                  <a:cubicBezTo>
                    <a:pt x="421" y="2903"/>
                    <a:pt x="433" y="2885"/>
                    <a:pt x="446" y="28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5" name="Freeform 7">
              <a:extLst>
                <a:ext uri="{FF2B5EF4-FFF2-40B4-BE49-F238E27FC236}">
                  <a16:creationId xmlns:a16="http://schemas.microsoft.com/office/drawing/2014/main" id="{1044E1AF-5D57-4C57-A718-661729CA160C}"/>
                </a:ext>
              </a:extLst>
            </p:cNvPr>
            <p:cNvSpPr>
              <a:spLocks/>
            </p:cNvSpPr>
            <p:nvPr/>
          </p:nvSpPr>
          <p:spPr bwMode="auto">
            <a:xfrm>
              <a:off x="3589405" y="387640"/>
              <a:ext cx="3051498" cy="3077416"/>
            </a:xfrm>
            <a:custGeom>
              <a:avLst/>
              <a:gdLst>
                <a:gd name="T0" fmla="*/ 267 w 4592"/>
                <a:gd name="T1" fmla="*/ 4024 h 4629"/>
                <a:gd name="T2" fmla="*/ 1026 w 4592"/>
                <a:gd name="T3" fmla="*/ 2858 h 4629"/>
                <a:gd name="T4" fmla="*/ 1121 w 4592"/>
                <a:gd name="T5" fmla="*/ 2738 h 4629"/>
                <a:gd name="T6" fmla="*/ 1236 w 4592"/>
                <a:gd name="T7" fmla="*/ 2597 h 4629"/>
                <a:gd name="T8" fmla="*/ 1896 w 4592"/>
                <a:gd name="T9" fmla="*/ 1875 h 4629"/>
                <a:gd name="T10" fmla="*/ 2618 w 4592"/>
                <a:gd name="T11" fmla="*/ 1215 h 4629"/>
                <a:gd name="T12" fmla="*/ 2759 w 4592"/>
                <a:gd name="T13" fmla="*/ 1101 h 4629"/>
                <a:gd name="T14" fmla="*/ 2878 w 4592"/>
                <a:gd name="T15" fmla="*/ 1006 h 4629"/>
                <a:gd name="T16" fmla="*/ 4045 w 4592"/>
                <a:gd name="T17" fmla="*/ 246 h 4629"/>
                <a:gd name="T18" fmla="*/ 4104 w 4592"/>
                <a:gd name="T19" fmla="*/ 217 h 4629"/>
                <a:gd name="T20" fmla="*/ 4159 w 4592"/>
                <a:gd name="T21" fmla="*/ 189 h 4629"/>
                <a:gd name="T22" fmla="*/ 4592 w 4592"/>
                <a:gd name="T23" fmla="*/ 6 h 4629"/>
                <a:gd name="T24" fmla="*/ 4098 w 4592"/>
                <a:gd name="T25" fmla="*/ 16 h 4629"/>
                <a:gd name="T26" fmla="*/ 4059 w 4592"/>
                <a:gd name="T27" fmla="*/ 19 h 4629"/>
                <a:gd name="T28" fmla="*/ 4034 w 4592"/>
                <a:gd name="T29" fmla="*/ 29 h 4629"/>
                <a:gd name="T30" fmla="*/ 3987 w 4592"/>
                <a:gd name="T31" fmla="*/ 49 h 4629"/>
                <a:gd name="T32" fmla="*/ 3976 w 4592"/>
                <a:gd name="T33" fmla="*/ 53 h 4629"/>
                <a:gd name="T34" fmla="*/ 3018 w 4592"/>
                <a:gd name="T35" fmla="*/ 598 h 4629"/>
                <a:gd name="T36" fmla="*/ 2950 w 4592"/>
                <a:gd name="T37" fmla="*/ 644 h 4629"/>
                <a:gd name="T38" fmla="*/ 2877 w 4592"/>
                <a:gd name="T39" fmla="*/ 698 h 4629"/>
                <a:gd name="T40" fmla="*/ 1717 w 4592"/>
                <a:gd name="T41" fmla="*/ 1696 h 4629"/>
                <a:gd name="T42" fmla="*/ 718 w 4592"/>
                <a:gd name="T43" fmla="*/ 2856 h 4629"/>
                <a:gd name="T44" fmla="*/ 665 w 4592"/>
                <a:gd name="T45" fmla="*/ 2929 h 4629"/>
                <a:gd name="T46" fmla="*/ 618 w 4592"/>
                <a:gd name="T47" fmla="*/ 2997 h 4629"/>
                <a:gd name="T48" fmla="*/ 74 w 4592"/>
                <a:gd name="T49" fmla="*/ 3955 h 4629"/>
                <a:gd name="T50" fmla="*/ 50 w 4592"/>
                <a:gd name="T51" fmla="*/ 4013 h 4629"/>
                <a:gd name="T52" fmla="*/ 28 w 4592"/>
                <a:gd name="T53" fmla="*/ 4070 h 4629"/>
                <a:gd name="T54" fmla="*/ 17 w 4592"/>
                <a:gd name="T55" fmla="*/ 4101 h 4629"/>
                <a:gd name="T56" fmla="*/ 8 w 4592"/>
                <a:gd name="T57" fmla="*/ 4629 h 4629"/>
                <a:gd name="T58" fmla="*/ 210 w 4592"/>
                <a:gd name="T59" fmla="*/ 4138 h 4629"/>
                <a:gd name="T60" fmla="*/ 238 w 4592"/>
                <a:gd name="T61" fmla="*/ 4083 h 4629"/>
                <a:gd name="T62" fmla="*/ 267 w 4592"/>
                <a:gd name="T63" fmla="*/ 4024 h 4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92" h="4629">
                  <a:moveTo>
                    <a:pt x="267" y="4024"/>
                  </a:moveTo>
                  <a:cubicBezTo>
                    <a:pt x="457" y="3655"/>
                    <a:pt x="713" y="3259"/>
                    <a:pt x="1026" y="2858"/>
                  </a:cubicBezTo>
                  <a:cubicBezTo>
                    <a:pt x="1057" y="2818"/>
                    <a:pt x="1089" y="2778"/>
                    <a:pt x="1121" y="2738"/>
                  </a:cubicBezTo>
                  <a:cubicBezTo>
                    <a:pt x="1159" y="2691"/>
                    <a:pt x="1197" y="2644"/>
                    <a:pt x="1236" y="2597"/>
                  </a:cubicBezTo>
                  <a:cubicBezTo>
                    <a:pt x="1437" y="2356"/>
                    <a:pt x="1658" y="2114"/>
                    <a:pt x="1896" y="1875"/>
                  </a:cubicBezTo>
                  <a:cubicBezTo>
                    <a:pt x="2134" y="1637"/>
                    <a:pt x="2376" y="1417"/>
                    <a:pt x="2618" y="1215"/>
                  </a:cubicBezTo>
                  <a:cubicBezTo>
                    <a:pt x="2665" y="1176"/>
                    <a:pt x="2712" y="1138"/>
                    <a:pt x="2759" y="1101"/>
                  </a:cubicBezTo>
                  <a:cubicBezTo>
                    <a:pt x="2799" y="1068"/>
                    <a:pt x="2839" y="1037"/>
                    <a:pt x="2878" y="1006"/>
                  </a:cubicBezTo>
                  <a:cubicBezTo>
                    <a:pt x="3280" y="693"/>
                    <a:pt x="3675" y="437"/>
                    <a:pt x="4045" y="246"/>
                  </a:cubicBezTo>
                  <a:cubicBezTo>
                    <a:pt x="4065" y="236"/>
                    <a:pt x="4084" y="226"/>
                    <a:pt x="4104" y="217"/>
                  </a:cubicBezTo>
                  <a:cubicBezTo>
                    <a:pt x="4122" y="208"/>
                    <a:pt x="4141" y="198"/>
                    <a:pt x="4159" y="189"/>
                  </a:cubicBezTo>
                  <a:cubicBezTo>
                    <a:pt x="4309" y="116"/>
                    <a:pt x="4453" y="55"/>
                    <a:pt x="4592" y="6"/>
                  </a:cubicBezTo>
                  <a:cubicBezTo>
                    <a:pt x="4427" y="0"/>
                    <a:pt x="4262" y="3"/>
                    <a:pt x="4098" y="16"/>
                  </a:cubicBezTo>
                  <a:cubicBezTo>
                    <a:pt x="4085" y="17"/>
                    <a:pt x="4072" y="18"/>
                    <a:pt x="4059" y="19"/>
                  </a:cubicBezTo>
                  <a:cubicBezTo>
                    <a:pt x="4051" y="22"/>
                    <a:pt x="4043" y="26"/>
                    <a:pt x="4034" y="29"/>
                  </a:cubicBezTo>
                  <a:cubicBezTo>
                    <a:pt x="4019" y="35"/>
                    <a:pt x="4003" y="42"/>
                    <a:pt x="3987" y="49"/>
                  </a:cubicBezTo>
                  <a:cubicBezTo>
                    <a:pt x="3983" y="50"/>
                    <a:pt x="3980" y="51"/>
                    <a:pt x="3976" y="53"/>
                  </a:cubicBezTo>
                  <a:cubicBezTo>
                    <a:pt x="3689" y="174"/>
                    <a:pt x="3362" y="358"/>
                    <a:pt x="3018" y="598"/>
                  </a:cubicBezTo>
                  <a:cubicBezTo>
                    <a:pt x="2995" y="613"/>
                    <a:pt x="2973" y="628"/>
                    <a:pt x="2950" y="644"/>
                  </a:cubicBezTo>
                  <a:cubicBezTo>
                    <a:pt x="2926" y="661"/>
                    <a:pt x="2902" y="680"/>
                    <a:pt x="2877" y="698"/>
                  </a:cubicBezTo>
                  <a:cubicBezTo>
                    <a:pt x="2499" y="973"/>
                    <a:pt x="2103" y="1309"/>
                    <a:pt x="1717" y="1696"/>
                  </a:cubicBezTo>
                  <a:cubicBezTo>
                    <a:pt x="1330" y="2082"/>
                    <a:pt x="994" y="2478"/>
                    <a:pt x="718" y="2856"/>
                  </a:cubicBezTo>
                  <a:cubicBezTo>
                    <a:pt x="701" y="2881"/>
                    <a:pt x="682" y="2905"/>
                    <a:pt x="665" y="2929"/>
                  </a:cubicBezTo>
                  <a:cubicBezTo>
                    <a:pt x="649" y="2952"/>
                    <a:pt x="634" y="2974"/>
                    <a:pt x="618" y="2997"/>
                  </a:cubicBezTo>
                  <a:cubicBezTo>
                    <a:pt x="379" y="3341"/>
                    <a:pt x="195" y="3668"/>
                    <a:pt x="74" y="3955"/>
                  </a:cubicBezTo>
                  <a:cubicBezTo>
                    <a:pt x="66" y="3975"/>
                    <a:pt x="57" y="3994"/>
                    <a:pt x="50" y="4013"/>
                  </a:cubicBezTo>
                  <a:cubicBezTo>
                    <a:pt x="42" y="4032"/>
                    <a:pt x="35" y="4051"/>
                    <a:pt x="28" y="4070"/>
                  </a:cubicBezTo>
                  <a:cubicBezTo>
                    <a:pt x="24" y="4080"/>
                    <a:pt x="21" y="4090"/>
                    <a:pt x="17" y="4101"/>
                  </a:cubicBezTo>
                  <a:cubicBezTo>
                    <a:pt x="4" y="4276"/>
                    <a:pt x="0" y="4452"/>
                    <a:pt x="8" y="4629"/>
                  </a:cubicBezTo>
                  <a:cubicBezTo>
                    <a:pt x="60" y="4472"/>
                    <a:pt x="127" y="4309"/>
                    <a:pt x="210" y="4138"/>
                  </a:cubicBezTo>
                  <a:cubicBezTo>
                    <a:pt x="219" y="4120"/>
                    <a:pt x="228" y="4101"/>
                    <a:pt x="238" y="4083"/>
                  </a:cubicBezTo>
                  <a:cubicBezTo>
                    <a:pt x="247" y="4063"/>
                    <a:pt x="257" y="4044"/>
                    <a:pt x="267" y="40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6" name="Freeform 8">
              <a:extLst>
                <a:ext uri="{FF2B5EF4-FFF2-40B4-BE49-F238E27FC236}">
                  <a16:creationId xmlns:a16="http://schemas.microsoft.com/office/drawing/2014/main" id="{3377C1A4-0564-4448-BF92-C18ABDBCE824}"/>
                </a:ext>
              </a:extLst>
            </p:cNvPr>
            <p:cNvSpPr>
              <a:spLocks/>
            </p:cNvSpPr>
            <p:nvPr/>
          </p:nvSpPr>
          <p:spPr bwMode="auto">
            <a:xfrm>
              <a:off x="3736728" y="524050"/>
              <a:ext cx="4067755" cy="4096401"/>
            </a:xfrm>
            <a:custGeom>
              <a:avLst/>
              <a:gdLst>
                <a:gd name="T0" fmla="*/ 711 w 6120"/>
                <a:gd name="T1" fmla="*/ 4802 h 6162"/>
                <a:gd name="T2" fmla="*/ 755 w 6120"/>
                <a:gd name="T3" fmla="*/ 4721 h 6162"/>
                <a:gd name="T4" fmla="*/ 2492 w 6120"/>
                <a:gd name="T5" fmla="*/ 2487 h 6162"/>
                <a:gd name="T6" fmla="*/ 4726 w 6120"/>
                <a:gd name="T7" fmla="*/ 750 h 6162"/>
                <a:gd name="T8" fmla="*/ 4807 w 6120"/>
                <a:gd name="T9" fmla="*/ 706 h 6162"/>
                <a:gd name="T10" fmla="*/ 4883 w 6120"/>
                <a:gd name="T11" fmla="*/ 666 h 6162"/>
                <a:gd name="T12" fmla="*/ 5747 w 6120"/>
                <a:gd name="T13" fmla="*/ 308 h 6162"/>
                <a:gd name="T14" fmla="*/ 5804 w 6120"/>
                <a:gd name="T15" fmla="*/ 292 h 6162"/>
                <a:gd name="T16" fmla="*/ 5862 w 6120"/>
                <a:gd name="T17" fmla="*/ 276 h 6162"/>
                <a:gd name="T18" fmla="*/ 6120 w 6120"/>
                <a:gd name="T19" fmla="*/ 226 h 6162"/>
                <a:gd name="T20" fmla="*/ 5817 w 6120"/>
                <a:gd name="T21" fmla="*/ 96 h 6162"/>
                <a:gd name="T22" fmla="*/ 5740 w 6120"/>
                <a:gd name="T23" fmla="*/ 67 h 6162"/>
                <a:gd name="T24" fmla="*/ 5659 w 6120"/>
                <a:gd name="T25" fmla="*/ 37 h 6162"/>
                <a:gd name="T26" fmla="*/ 5541 w 6120"/>
                <a:gd name="T27" fmla="*/ 0 h 6162"/>
                <a:gd name="T28" fmla="*/ 4988 w 6120"/>
                <a:gd name="T29" fmla="*/ 131 h 6162"/>
                <a:gd name="T30" fmla="*/ 4928 w 6120"/>
                <a:gd name="T31" fmla="*/ 153 h 6162"/>
                <a:gd name="T32" fmla="*/ 4868 w 6120"/>
                <a:gd name="T33" fmla="*/ 175 h 6162"/>
                <a:gd name="T34" fmla="*/ 3700 w 6120"/>
                <a:gd name="T35" fmla="*/ 791 h 6162"/>
                <a:gd name="T36" fmla="*/ 3593 w 6120"/>
                <a:gd name="T37" fmla="*/ 862 h 6162"/>
                <a:gd name="T38" fmla="*/ 3473 w 6120"/>
                <a:gd name="T39" fmla="*/ 946 h 6162"/>
                <a:gd name="T40" fmla="*/ 2108 w 6120"/>
                <a:gd name="T41" fmla="*/ 2103 h 6162"/>
                <a:gd name="T42" fmla="*/ 951 w 6120"/>
                <a:gd name="T43" fmla="*/ 3469 h 6162"/>
                <a:gd name="T44" fmla="*/ 866 w 6120"/>
                <a:gd name="T45" fmla="*/ 3588 h 6162"/>
                <a:gd name="T46" fmla="*/ 796 w 6120"/>
                <a:gd name="T47" fmla="*/ 3695 h 6162"/>
                <a:gd name="T48" fmla="*/ 180 w 6120"/>
                <a:gd name="T49" fmla="*/ 4863 h 6162"/>
                <a:gd name="T50" fmla="*/ 157 w 6120"/>
                <a:gd name="T51" fmla="*/ 4924 h 6162"/>
                <a:gd name="T52" fmla="*/ 136 w 6120"/>
                <a:gd name="T53" fmla="*/ 4983 h 6162"/>
                <a:gd name="T54" fmla="*/ 0 w 6120"/>
                <a:gd name="T55" fmla="*/ 5601 h 6162"/>
                <a:gd name="T56" fmla="*/ 9 w 6120"/>
                <a:gd name="T57" fmla="*/ 5631 h 6162"/>
                <a:gd name="T58" fmla="*/ 39 w 6120"/>
                <a:gd name="T59" fmla="*/ 5719 h 6162"/>
                <a:gd name="T60" fmla="*/ 69 w 6120"/>
                <a:gd name="T61" fmla="*/ 5799 h 6162"/>
                <a:gd name="T62" fmla="*/ 225 w 6120"/>
                <a:gd name="T63" fmla="*/ 6162 h 6162"/>
                <a:gd name="T64" fmla="*/ 282 w 6120"/>
                <a:gd name="T65" fmla="*/ 5857 h 6162"/>
                <a:gd name="T66" fmla="*/ 297 w 6120"/>
                <a:gd name="T67" fmla="*/ 5799 h 6162"/>
                <a:gd name="T68" fmla="*/ 313 w 6120"/>
                <a:gd name="T69" fmla="*/ 5742 h 6162"/>
                <a:gd name="T70" fmla="*/ 671 w 6120"/>
                <a:gd name="T71" fmla="*/ 4877 h 6162"/>
                <a:gd name="T72" fmla="*/ 711 w 6120"/>
                <a:gd name="T73" fmla="*/ 4802 h 6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20" h="6162">
                  <a:moveTo>
                    <a:pt x="711" y="4802"/>
                  </a:moveTo>
                  <a:cubicBezTo>
                    <a:pt x="726" y="4775"/>
                    <a:pt x="740" y="4748"/>
                    <a:pt x="755" y="4721"/>
                  </a:cubicBezTo>
                  <a:cubicBezTo>
                    <a:pt x="1151" y="4012"/>
                    <a:pt x="1746" y="3234"/>
                    <a:pt x="2492" y="2487"/>
                  </a:cubicBezTo>
                  <a:cubicBezTo>
                    <a:pt x="3239" y="1741"/>
                    <a:pt x="4017" y="1146"/>
                    <a:pt x="4726" y="750"/>
                  </a:cubicBezTo>
                  <a:cubicBezTo>
                    <a:pt x="4753" y="735"/>
                    <a:pt x="4780" y="721"/>
                    <a:pt x="4807" y="706"/>
                  </a:cubicBezTo>
                  <a:cubicBezTo>
                    <a:pt x="4832" y="693"/>
                    <a:pt x="4857" y="679"/>
                    <a:pt x="4883" y="666"/>
                  </a:cubicBezTo>
                  <a:cubicBezTo>
                    <a:pt x="5189" y="506"/>
                    <a:pt x="5480" y="385"/>
                    <a:pt x="5747" y="308"/>
                  </a:cubicBezTo>
                  <a:cubicBezTo>
                    <a:pt x="5766" y="302"/>
                    <a:pt x="5785" y="297"/>
                    <a:pt x="5804" y="292"/>
                  </a:cubicBezTo>
                  <a:cubicBezTo>
                    <a:pt x="5824" y="286"/>
                    <a:pt x="5843" y="281"/>
                    <a:pt x="5862" y="276"/>
                  </a:cubicBezTo>
                  <a:cubicBezTo>
                    <a:pt x="5951" y="254"/>
                    <a:pt x="6037" y="238"/>
                    <a:pt x="6120" y="226"/>
                  </a:cubicBezTo>
                  <a:cubicBezTo>
                    <a:pt x="6020" y="179"/>
                    <a:pt x="5919" y="136"/>
                    <a:pt x="5817" y="96"/>
                  </a:cubicBezTo>
                  <a:cubicBezTo>
                    <a:pt x="5791" y="86"/>
                    <a:pt x="5766" y="76"/>
                    <a:pt x="5740" y="67"/>
                  </a:cubicBezTo>
                  <a:cubicBezTo>
                    <a:pt x="5713" y="57"/>
                    <a:pt x="5686" y="47"/>
                    <a:pt x="5659" y="37"/>
                  </a:cubicBezTo>
                  <a:cubicBezTo>
                    <a:pt x="5620" y="24"/>
                    <a:pt x="5580" y="12"/>
                    <a:pt x="5541" y="0"/>
                  </a:cubicBezTo>
                  <a:cubicBezTo>
                    <a:pt x="5373" y="19"/>
                    <a:pt x="5187" y="62"/>
                    <a:pt x="4988" y="131"/>
                  </a:cubicBezTo>
                  <a:cubicBezTo>
                    <a:pt x="4969" y="137"/>
                    <a:pt x="4948" y="145"/>
                    <a:pt x="4928" y="153"/>
                  </a:cubicBezTo>
                  <a:cubicBezTo>
                    <a:pt x="4909" y="160"/>
                    <a:pt x="4888" y="168"/>
                    <a:pt x="4868" y="175"/>
                  </a:cubicBezTo>
                  <a:cubicBezTo>
                    <a:pt x="4509" y="311"/>
                    <a:pt x="4113" y="520"/>
                    <a:pt x="3700" y="791"/>
                  </a:cubicBezTo>
                  <a:cubicBezTo>
                    <a:pt x="3665" y="815"/>
                    <a:pt x="3629" y="837"/>
                    <a:pt x="3593" y="862"/>
                  </a:cubicBezTo>
                  <a:cubicBezTo>
                    <a:pt x="3554" y="889"/>
                    <a:pt x="3513" y="918"/>
                    <a:pt x="3473" y="946"/>
                  </a:cubicBezTo>
                  <a:cubicBezTo>
                    <a:pt x="3022" y="1264"/>
                    <a:pt x="2557" y="1653"/>
                    <a:pt x="2108" y="2103"/>
                  </a:cubicBezTo>
                  <a:cubicBezTo>
                    <a:pt x="1657" y="2553"/>
                    <a:pt x="1269" y="3017"/>
                    <a:pt x="951" y="3469"/>
                  </a:cubicBezTo>
                  <a:cubicBezTo>
                    <a:pt x="922" y="3509"/>
                    <a:pt x="893" y="3549"/>
                    <a:pt x="866" y="3588"/>
                  </a:cubicBezTo>
                  <a:cubicBezTo>
                    <a:pt x="842" y="3624"/>
                    <a:pt x="819" y="3660"/>
                    <a:pt x="796" y="3695"/>
                  </a:cubicBezTo>
                  <a:cubicBezTo>
                    <a:pt x="525" y="4108"/>
                    <a:pt x="316" y="4504"/>
                    <a:pt x="180" y="4863"/>
                  </a:cubicBezTo>
                  <a:cubicBezTo>
                    <a:pt x="173" y="4883"/>
                    <a:pt x="165" y="4904"/>
                    <a:pt x="157" y="4924"/>
                  </a:cubicBezTo>
                  <a:cubicBezTo>
                    <a:pt x="150" y="4943"/>
                    <a:pt x="142" y="4964"/>
                    <a:pt x="136" y="4983"/>
                  </a:cubicBezTo>
                  <a:cubicBezTo>
                    <a:pt x="58" y="5209"/>
                    <a:pt x="13" y="5416"/>
                    <a:pt x="0" y="5601"/>
                  </a:cubicBezTo>
                  <a:cubicBezTo>
                    <a:pt x="3" y="5611"/>
                    <a:pt x="6" y="5621"/>
                    <a:pt x="9" y="5631"/>
                  </a:cubicBezTo>
                  <a:cubicBezTo>
                    <a:pt x="19" y="5660"/>
                    <a:pt x="29" y="5690"/>
                    <a:pt x="39" y="5719"/>
                  </a:cubicBezTo>
                  <a:cubicBezTo>
                    <a:pt x="49" y="5746"/>
                    <a:pt x="59" y="5772"/>
                    <a:pt x="69" y="5799"/>
                  </a:cubicBezTo>
                  <a:cubicBezTo>
                    <a:pt x="116" y="5922"/>
                    <a:pt x="168" y="6043"/>
                    <a:pt x="225" y="6162"/>
                  </a:cubicBezTo>
                  <a:cubicBezTo>
                    <a:pt x="236" y="6065"/>
                    <a:pt x="255" y="5963"/>
                    <a:pt x="282" y="5857"/>
                  </a:cubicBezTo>
                  <a:cubicBezTo>
                    <a:pt x="286" y="5838"/>
                    <a:pt x="291" y="5819"/>
                    <a:pt x="297" y="5799"/>
                  </a:cubicBezTo>
                  <a:cubicBezTo>
                    <a:pt x="302" y="5780"/>
                    <a:pt x="307" y="5761"/>
                    <a:pt x="313" y="5742"/>
                  </a:cubicBezTo>
                  <a:cubicBezTo>
                    <a:pt x="390" y="5475"/>
                    <a:pt x="511" y="5184"/>
                    <a:pt x="671" y="4877"/>
                  </a:cubicBezTo>
                  <a:cubicBezTo>
                    <a:pt x="684" y="4852"/>
                    <a:pt x="698" y="4827"/>
                    <a:pt x="711" y="48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7" name="Freeform 9">
              <a:extLst>
                <a:ext uri="{FF2B5EF4-FFF2-40B4-BE49-F238E27FC236}">
                  <a16:creationId xmlns:a16="http://schemas.microsoft.com/office/drawing/2014/main" id="{6EC9FAE3-1492-416A-BCFC-66F77187622F}"/>
                </a:ext>
              </a:extLst>
            </p:cNvPr>
            <p:cNvSpPr>
              <a:spLocks/>
            </p:cNvSpPr>
            <p:nvPr/>
          </p:nvSpPr>
          <p:spPr bwMode="auto">
            <a:xfrm>
              <a:off x="4160964" y="945558"/>
              <a:ext cx="4516544" cy="4545190"/>
            </a:xfrm>
            <a:custGeom>
              <a:avLst/>
              <a:gdLst>
                <a:gd name="T0" fmla="*/ 6710 w 6796"/>
                <a:gd name="T1" fmla="*/ 461 h 6838"/>
                <a:gd name="T2" fmla="*/ 6619 w 6796"/>
                <a:gd name="T3" fmla="*/ 375 h 6838"/>
                <a:gd name="T4" fmla="*/ 6553 w 6796"/>
                <a:gd name="T5" fmla="*/ 312 h 6838"/>
                <a:gd name="T6" fmla="*/ 6484 w 6796"/>
                <a:gd name="T7" fmla="*/ 252 h 6838"/>
                <a:gd name="T8" fmla="*/ 6170 w 6796"/>
                <a:gd name="T9" fmla="*/ 1 h 6838"/>
                <a:gd name="T10" fmla="*/ 6125 w 6796"/>
                <a:gd name="T11" fmla="*/ 0 h 6838"/>
                <a:gd name="T12" fmla="*/ 5991 w 6796"/>
                <a:gd name="T13" fmla="*/ 6 h 6838"/>
                <a:gd name="T14" fmla="*/ 5933 w 6796"/>
                <a:gd name="T15" fmla="*/ 11 h 6838"/>
                <a:gd name="T16" fmla="*/ 5874 w 6796"/>
                <a:gd name="T17" fmla="*/ 18 h 6838"/>
                <a:gd name="T18" fmla="*/ 5184 w 6796"/>
                <a:gd name="T19" fmla="*/ 205 h 6838"/>
                <a:gd name="T20" fmla="*/ 5119 w 6796"/>
                <a:gd name="T21" fmla="*/ 231 h 6838"/>
                <a:gd name="T22" fmla="*/ 5050 w 6796"/>
                <a:gd name="T23" fmla="*/ 259 h 6838"/>
                <a:gd name="T24" fmla="*/ 3758 w 6796"/>
                <a:gd name="T25" fmla="*/ 987 h 6838"/>
                <a:gd name="T26" fmla="*/ 3625 w 6796"/>
                <a:gd name="T27" fmla="*/ 1081 h 6838"/>
                <a:gd name="T28" fmla="*/ 3479 w 6796"/>
                <a:gd name="T29" fmla="*/ 1189 h 6838"/>
                <a:gd name="T30" fmla="*/ 2254 w 6796"/>
                <a:gd name="T31" fmla="*/ 2254 h 6838"/>
                <a:gd name="T32" fmla="*/ 1188 w 6796"/>
                <a:gd name="T33" fmla="*/ 3479 h 6838"/>
                <a:gd name="T34" fmla="*/ 1081 w 6796"/>
                <a:gd name="T35" fmla="*/ 3626 h 6838"/>
                <a:gd name="T36" fmla="*/ 987 w 6796"/>
                <a:gd name="T37" fmla="*/ 3758 h 6838"/>
                <a:gd name="T38" fmla="*/ 259 w 6796"/>
                <a:gd name="T39" fmla="*/ 5050 h 6838"/>
                <a:gd name="T40" fmla="*/ 231 w 6796"/>
                <a:gd name="T41" fmla="*/ 5119 h 6838"/>
                <a:gd name="T42" fmla="*/ 205 w 6796"/>
                <a:gd name="T43" fmla="*/ 5184 h 6838"/>
                <a:gd name="T44" fmla="*/ 18 w 6796"/>
                <a:gd name="T45" fmla="*/ 5874 h 6838"/>
                <a:gd name="T46" fmla="*/ 11 w 6796"/>
                <a:gd name="T47" fmla="*/ 5933 h 6838"/>
                <a:gd name="T48" fmla="*/ 6 w 6796"/>
                <a:gd name="T49" fmla="*/ 5991 h 6838"/>
                <a:gd name="T50" fmla="*/ 0 w 6796"/>
                <a:gd name="T51" fmla="*/ 6125 h 6838"/>
                <a:gd name="T52" fmla="*/ 3 w 6796"/>
                <a:gd name="T53" fmla="*/ 6220 h 6838"/>
                <a:gd name="T54" fmla="*/ 208 w 6796"/>
                <a:gd name="T55" fmla="*/ 6475 h 6838"/>
                <a:gd name="T56" fmla="*/ 270 w 6796"/>
                <a:gd name="T57" fmla="*/ 6547 h 6838"/>
                <a:gd name="T58" fmla="*/ 332 w 6796"/>
                <a:gd name="T59" fmla="*/ 6615 h 6838"/>
                <a:gd name="T60" fmla="*/ 442 w 6796"/>
                <a:gd name="T61" fmla="*/ 6729 h 6838"/>
                <a:gd name="T62" fmla="*/ 556 w 6796"/>
                <a:gd name="T63" fmla="*/ 6838 h 6838"/>
                <a:gd name="T64" fmla="*/ 548 w 6796"/>
                <a:gd name="T65" fmla="*/ 6702 h 6838"/>
                <a:gd name="T66" fmla="*/ 551 w 6796"/>
                <a:gd name="T67" fmla="*/ 6619 h 6838"/>
                <a:gd name="T68" fmla="*/ 556 w 6796"/>
                <a:gd name="T69" fmla="*/ 6560 h 6838"/>
                <a:gd name="T70" fmla="*/ 561 w 6796"/>
                <a:gd name="T71" fmla="*/ 6501 h 6838"/>
                <a:gd name="T72" fmla="*/ 700 w 6796"/>
                <a:gd name="T73" fmla="*/ 5918 h 6838"/>
                <a:gd name="T74" fmla="*/ 724 w 6796"/>
                <a:gd name="T75" fmla="*/ 5852 h 6838"/>
                <a:gd name="T76" fmla="*/ 750 w 6796"/>
                <a:gd name="T77" fmla="*/ 5782 h 6838"/>
                <a:gd name="T78" fmla="*/ 1285 w 6796"/>
                <a:gd name="T79" fmla="*/ 4735 h 6838"/>
                <a:gd name="T80" fmla="*/ 1353 w 6796"/>
                <a:gd name="T81" fmla="*/ 4628 h 6838"/>
                <a:gd name="T82" fmla="*/ 1430 w 6796"/>
                <a:gd name="T83" fmla="*/ 4511 h 6838"/>
                <a:gd name="T84" fmla="*/ 2828 w 6796"/>
                <a:gd name="T85" fmla="*/ 2828 h 6838"/>
                <a:gd name="T86" fmla="*/ 4511 w 6796"/>
                <a:gd name="T87" fmla="*/ 1430 h 6838"/>
                <a:gd name="T88" fmla="*/ 4627 w 6796"/>
                <a:gd name="T89" fmla="*/ 1354 h 6838"/>
                <a:gd name="T90" fmla="*/ 4735 w 6796"/>
                <a:gd name="T91" fmla="*/ 1285 h 6838"/>
                <a:gd name="T92" fmla="*/ 5781 w 6796"/>
                <a:gd name="T93" fmla="*/ 750 h 6838"/>
                <a:gd name="T94" fmla="*/ 5851 w 6796"/>
                <a:gd name="T95" fmla="*/ 724 h 6838"/>
                <a:gd name="T96" fmla="*/ 5918 w 6796"/>
                <a:gd name="T97" fmla="*/ 700 h 6838"/>
                <a:gd name="T98" fmla="*/ 6501 w 6796"/>
                <a:gd name="T99" fmla="*/ 561 h 6838"/>
                <a:gd name="T100" fmla="*/ 6560 w 6796"/>
                <a:gd name="T101" fmla="*/ 556 h 6838"/>
                <a:gd name="T102" fmla="*/ 6620 w 6796"/>
                <a:gd name="T103" fmla="*/ 551 h 6838"/>
                <a:gd name="T104" fmla="*/ 6702 w 6796"/>
                <a:gd name="T105" fmla="*/ 548 h 6838"/>
                <a:gd name="T106" fmla="*/ 6796 w 6796"/>
                <a:gd name="T107" fmla="*/ 552 h 6838"/>
                <a:gd name="T108" fmla="*/ 6710 w 6796"/>
                <a:gd name="T109" fmla="*/ 461 h 6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796" h="6838">
                  <a:moveTo>
                    <a:pt x="6710" y="461"/>
                  </a:moveTo>
                  <a:cubicBezTo>
                    <a:pt x="6680" y="431"/>
                    <a:pt x="6649" y="403"/>
                    <a:pt x="6619" y="375"/>
                  </a:cubicBezTo>
                  <a:cubicBezTo>
                    <a:pt x="6597" y="354"/>
                    <a:pt x="6575" y="332"/>
                    <a:pt x="6553" y="312"/>
                  </a:cubicBezTo>
                  <a:cubicBezTo>
                    <a:pt x="6530" y="291"/>
                    <a:pt x="6507" y="272"/>
                    <a:pt x="6484" y="252"/>
                  </a:cubicBezTo>
                  <a:cubicBezTo>
                    <a:pt x="6382" y="163"/>
                    <a:pt x="6278" y="79"/>
                    <a:pt x="6170" y="1"/>
                  </a:cubicBezTo>
                  <a:cubicBezTo>
                    <a:pt x="6155" y="1"/>
                    <a:pt x="6140" y="0"/>
                    <a:pt x="6125" y="0"/>
                  </a:cubicBezTo>
                  <a:cubicBezTo>
                    <a:pt x="6082" y="0"/>
                    <a:pt x="6037" y="2"/>
                    <a:pt x="5991" y="6"/>
                  </a:cubicBezTo>
                  <a:cubicBezTo>
                    <a:pt x="5972" y="7"/>
                    <a:pt x="5953" y="9"/>
                    <a:pt x="5933" y="11"/>
                  </a:cubicBezTo>
                  <a:cubicBezTo>
                    <a:pt x="5914" y="13"/>
                    <a:pt x="5894" y="15"/>
                    <a:pt x="5874" y="18"/>
                  </a:cubicBezTo>
                  <a:cubicBezTo>
                    <a:pt x="5664" y="47"/>
                    <a:pt x="5432" y="110"/>
                    <a:pt x="5184" y="205"/>
                  </a:cubicBezTo>
                  <a:cubicBezTo>
                    <a:pt x="5162" y="214"/>
                    <a:pt x="5141" y="222"/>
                    <a:pt x="5119" y="231"/>
                  </a:cubicBezTo>
                  <a:cubicBezTo>
                    <a:pt x="5096" y="240"/>
                    <a:pt x="5073" y="249"/>
                    <a:pt x="5050" y="259"/>
                  </a:cubicBezTo>
                  <a:cubicBezTo>
                    <a:pt x="4649" y="427"/>
                    <a:pt x="4210" y="673"/>
                    <a:pt x="3758" y="987"/>
                  </a:cubicBezTo>
                  <a:cubicBezTo>
                    <a:pt x="3714" y="1018"/>
                    <a:pt x="3670" y="1049"/>
                    <a:pt x="3625" y="1081"/>
                  </a:cubicBezTo>
                  <a:cubicBezTo>
                    <a:pt x="3576" y="1116"/>
                    <a:pt x="3528" y="1152"/>
                    <a:pt x="3479" y="1189"/>
                  </a:cubicBezTo>
                  <a:cubicBezTo>
                    <a:pt x="3071" y="1494"/>
                    <a:pt x="2657" y="1851"/>
                    <a:pt x="2254" y="2254"/>
                  </a:cubicBezTo>
                  <a:cubicBezTo>
                    <a:pt x="1851" y="2657"/>
                    <a:pt x="1494" y="3071"/>
                    <a:pt x="1188" y="3479"/>
                  </a:cubicBezTo>
                  <a:cubicBezTo>
                    <a:pt x="1151" y="3528"/>
                    <a:pt x="1116" y="3577"/>
                    <a:pt x="1081" y="3626"/>
                  </a:cubicBezTo>
                  <a:cubicBezTo>
                    <a:pt x="1049" y="3670"/>
                    <a:pt x="1017" y="3714"/>
                    <a:pt x="987" y="3758"/>
                  </a:cubicBezTo>
                  <a:cubicBezTo>
                    <a:pt x="673" y="4210"/>
                    <a:pt x="427" y="4649"/>
                    <a:pt x="259" y="5050"/>
                  </a:cubicBezTo>
                  <a:cubicBezTo>
                    <a:pt x="249" y="5073"/>
                    <a:pt x="240" y="5096"/>
                    <a:pt x="231" y="5119"/>
                  </a:cubicBezTo>
                  <a:cubicBezTo>
                    <a:pt x="222" y="5141"/>
                    <a:pt x="214" y="5162"/>
                    <a:pt x="205" y="5184"/>
                  </a:cubicBezTo>
                  <a:cubicBezTo>
                    <a:pt x="110" y="5432"/>
                    <a:pt x="47" y="5665"/>
                    <a:pt x="18" y="5874"/>
                  </a:cubicBezTo>
                  <a:cubicBezTo>
                    <a:pt x="15" y="5894"/>
                    <a:pt x="13" y="5914"/>
                    <a:pt x="11" y="5933"/>
                  </a:cubicBezTo>
                  <a:cubicBezTo>
                    <a:pt x="8" y="5953"/>
                    <a:pt x="7" y="5972"/>
                    <a:pt x="6" y="5991"/>
                  </a:cubicBezTo>
                  <a:cubicBezTo>
                    <a:pt x="2" y="6037"/>
                    <a:pt x="0" y="6082"/>
                    <a:pt x="0" y="6125"/>
                  </a:cubicBezTo>
                  <a:cubicBezTo>
                    <a:pt x="0" y="6157"/>
                    <a:pt x="1" y="6189"/>
                    <a:pt x="3" y="6220"/>
                  </a:cubicBezTo>
                  <a:cubicBezTo>
                    <a:pt x="67" y="6307"/>
                    <a:pt x="136" y="6392"/>
                    <a:pt x="208" y="6475"/>
                  </a:cubicBezTo>
                  <a:cubicBezTo>
                    <a:pt x="228" y="6499"/>
                    <a:pt x="249" y="6524"/>
                    <a:pt x="270" y="6547"/>
                  </a:cubicBezTo>
                  <a:cubicBezTo>
                    <a:pt x="290" y="6570"/>
                    <a:pt x="312" y="6592"/>
                    <a:pt x="332" y="6615"/>
                  </a:cubicBezTo>
                  <a:cubicBezTo>
                    <a:pt x="368" y="6653"/>
                    <a:pt x="404" y="6692"/>
                    <a:pt x="442" y="6729"/>
                  </a:cubicBezTo>
                  <a:cubicBezTo>
                    <a:pt x="479" y="6767"/>
                    <a:pt x="517" y="6802"/>
                    <a:pt x="556" y="6838"/>
                  </a:cubicBezTo>
                  <a:cubicBezTo>
                    <a:pt x="551" y="6794"/>
                    <a:pt x="548" y="6749"/>
                    <a:pt x="548" y="6702"/>
                  </a:cubicBezTo>
                  <a:cubicBezTo>
                    <a:pt x="548" y="6675"/>
                    <a:pt x="550" y="6647"/>
                    <a:pt x="551" y="6619"/>
                  </a:cubicBezTo>
                  <a:cubicBezTo>
                    <a:pt x="552" y="6600"/>
                    <a:pt x="554" y="6580"/>
                    <a:pt x="556" y="6560"/>
                  </a:cubicBezTo>
                  <a:cubicBezTo>
                    <a:pt x="557" y="6541"/>
                    <a:pt x="559" y="6521"/>
                    <a:pt x="561" y="6501"/>
                  </a:cubicBezTo>
                  <a:cubicBezTo>
                    <a:pt x="582" y="6322"/>
                    <a:pt x="629" y="6126"/>
                    <a:pt x="700" y="5918"/>
                  </a:cubicBezTo>
                  <a:cubicBezTo>
                    <a:pt x="708" y="5896"/>
                    <a:pt x="716" y="5874"/>
                    <a:pt x="724" y="5852"/>
                  </a:cubicBezTo>
                  <a:cubicBezTo>
                    <a:pt x="733" y="5828"/>
                    <a:pt x="741" y="5805"/>
                    <a:pt x="750" y="5782"/>
                  </a:cubicBezTo>
                  <a:cubicBezTo>
                    <a:pt x="875" y="5455"/>
                    <a:pt x="1056" y="5102"/>
                    <a:pt x="1285" y="4735"/>
                  </a:cubicBezTo>
                  <a:cubicBezTo>
                    <a:pt x="1308" y="4699"/>
                    <a:pt x="1330" y="4664"/>
                    <a:pt x="1353" y="4628"/>
                  </a:cubicBezTo>
                  <a:cubicBezTo>
                    <a:pt x="1378" y="4589"/>
                    <a:pt x="1404" y="4550"/>
                    <a:pt x="1430" y="4511"/>
                  </a:cubicBezTo>
                  <a:cubicBezTo>
                    <a:pt x="1799" y="3961"/>
                    <a:pt x="2271" y="3385"/>
                    <a:pt x="2828" y="2828"/>
                  </a:cubicBezTo>
                  <a:cubicBezTo>
                    <a:pt x="3385" y="2271"/>
                    <a:pt x="3960" y="1799"/>
                    <a:pt x="4511" y="1430"/>
                  </a:cubicBezTo>
                  <a:cubicBezTo>
                    <a:pt x="4550" y="1404"/>
                    <a:pt x="4589" y="1379"/>
                    <a:pt x="4627" y="1354"/>
                  </a:cubicBezTo>
                  <a:cubicBezTo>
                    <a:pt x="4663" y="1330"/>
                    <a:pt x="4699" y="1308"/>
                    <a:pt x="4735" y="1285"/>
                  </a:cubicBezTo>
                  <a:cubicBezTo>
                    <a:pt x="5102" y="1056"/>
                    <a:pt x="5455" y="875"/>
                    <a:pt x="5781" y="750"/>
                  </a:cubicBezTo>
                  <a:cubicBezTo>
                    <a:pt x="5805" y="741"/>
                    <a:pt x="5828" y="733"/>
                    <a:pt x="5851" y="724"/>
                  </a:cubicBezTo>
                  <a:cubicBezTo>
                    <a:pt x="5874" y="716"/>
                    <a:pt x="5896" y="708"/>
                    <a:pt x="5918" y="700"/>
                  </a:cubicBezTo>
                  <a:cubicBezTo>
                    <a:pt x="6126" y="629"/>
                    <a:pt x="6322" y="582"/>
                    <a:pt x="6501" y="561"/>
                  </a:cubicBezTo>
                  <a:cubicBezTo>
                    <a:pt x="6521" y="559"/>
                    <a:pt x="6541" y="557"/>
                    <a:pt x="6560" y="556"/>
                  </a:cubicBezTo>
                  <a:cubicBezTo>
                    <a:pt x="6580" y="554"/>
                    <a:pt x="6600" y="552"/>
                    <a:pt x="6620" y="551"/>
                  </a:cubicBezTo>
                  <a:cubicBezTo>
                    <a:pt x="6647" y="550"/>
                    <a:pt x="6675" y="549"/>
                    <a:pt x="6702" y="548"/>
                  </a:cubicBezTo>
                  <a:cubicBezTo>
                    <a:pt x="6734" y="548"/>
                    <a:pt x="6765" y="550"/>
                    <a:pt x="6796" y="552"/>
                  </a:cubicBezTo>
                  <a:cubicBezTo>
                    <a:pt x="6767" y="521"/>
                    <a:pt x="6739" y="491"/>
                    <a:pt x="6710" y="4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8" name="Freeform 10">
              <a:extLst>
                <a:ext uri="{FF2B5EF4-FFF2-40B4-BE49-F238E27FC236}">
                  <a16:creationId xmlns:a16="http://schemas.microsoft.com/office/drawing/2014/main" id="{54CE5925-9480-4C02-A7F9-3B31E37C904C}"/>
                </a:ext>
              </a:extLst>
            </p:cNvPr>
            <p:cNvSpPr>
              <a:spLocks/>
            </p:cNvSpPr>
            <p:nvPr/>
          </p:nvSpPr>
          <p:spPr bwMode="auto">
            <a:xfrm>
              <a:off x="3956348" y="740943"/>
              <a:ext cx="4194616" cy="4225990"/>
            </a:xfrm>
            <a:custGeom>
              <a:avLst/>
              <a:gdLst>
                <a:gd name="T0" fmla="*/ 1126 w 6312"/>
                <a:gd name="T1" fmla="*/ 4101 h 6355"/>
                <a:gd name="T2" fmla="*/ 1212 w 6312"/>
                <a:gd name="T3" fmla="*/ 3976 h 6355"/>
                <a:gd name="T4" fmla="*/ 2479 w 6312"/>
                <a:gd name="T5" fmla="*/ 2477 h 6355"/>
                <a:gd name="T6" fmla="*/ 3978 w 6312"/>
                <a:gd name="T7" fmla="*/ 1210 h 6355"/>
                <a:gd name="T8" fmla="*/ 4103 w 6312"/>
                <a:gd name="T9" fmla="*/ 1124 h 6355"/>
                <a:gd name="T10" fmla="*/ 4216 w 6312"/>
                <a:gd name="T11" fmla="*/ 1049 h 6355"/>
                <a:gd name="T12" fmla="*/ 5392 w 6312"/>
                <a:gd name="T13" fmla="*/ 423 h 6355"/>
                <a:gd name="T14" fmla="*/ 5456 w 6312"/>
                <a:gd name="T15" fmla="*/ 399 h 6355"/>
                <a:gd name="T16" fmla="*/ 5518 w 6312"/>
                <a:gd name="T17" fmla="*/ 376 h 6355"/>
                <a:gd name="T18" fmla="*/ 6164 w 6312"/>
                <a:gd name="T19" fmla="*/ 208 h 6355"/>
                <a:gd name="T20" fmla="*/ 6222 w 6312"/>
                <a:gd name="T21" fmla="*/ 201 h 6355"/>
                <a:gd name="T22" fmla="*/ 6281 w 6312"/>
                <a:gd name="T23" fmla="*/ 195 h 6355"/>
                <a:gd name="T24" fmla="*/ 6312 w 6312"/>
                <a:gd name="T25" fmla="*/ 193 h 6355"/>
                <a:gd name="T26" fmla="*/ 6276 w 6312"/>
                <a:gd name="T27" fmla="*/ 170 h 6355"/>
                <a:gd name="T28" fmla="*/ 6203 w 6312"/>
                <a:gd name="T29" fmla="*/ 124 h 6355"/>
                <a:gd name="T30" fmla="*/ 6122 w 6312"/>
                <a:gd name="T31" fmla="*/ 74 h 6355"/>
                <a:gd name="T32" fmla="*/ 5988 w 6312"/>
                <a:gd name="T33" fmla="*/ 0 h 6355"/>
                <a:gd name="T34" fmla="*/ 5542 w 6312"/>
                <a:gd name="T35" fmla="*/ 68 h 6355"/>
                <a:gd name="T36" fmla="*/ 5484 w 6312"/>
                <a:gd name="T37" fmla="*/ 83 h 6355"/>
                <a:gd name="T38" fmla="*/ 5425 w 6312"/>
                <a:gd name="T39" fmla="*/ 101 h 6355"/>
                <a:gd name="T40" fmla="*/ 4488 w 6312"/>
                <a:gd name="T41" fmla="*/ 508 h 6355"/>
                <a:gd name="T42" fmla="*/ 4405 w 6312"/>
                <a:gd name="T43" fmla="*/ 555 h 6355"/>
                <a:gd name="T44" fmla="*/ 4316 w 6312"/>
                <a:gd name="T45" fmla="*/ 606 h 6355"/>
                <a:gd name="T46" fmla="*/ 2245 w 6312"/>
                <a:gd name="T47" fmla="*/ 2243 h 6355"/>
                <a:gd name="T48" fmla="*/ 608 w 6312"/>
                <a:gd name="T49" fmla="*/ 4314 h 6355"/>
                <a:gd name="T50" fmla="*/ 557 w 6312"/>
                <a:gd name="T51" fmla="*/ 4404 h 6355"/>
                <a:gd name="T52" fmla="*/ 510 w 6312"/>
                <a:gd name="T53" fmla="*/ 4486 h 6355"/>
                <a:gd name="T54" fmla="*/ 103 w 6312"/>
                <a:gd name="T55" fmla="*/ 5423 h 6355"/>
                <a:gd name="T56" fmla="*/ 85 w 6312"/>
                <a:gd name="T57" fmla="*/ 5482 h 6355"/>
                <a:gd name="T58" fmla="*/ 70 w 6312"/>
                <a:gd name="T59" fmla="*/ 5540 h 6355"/>
                <a:gd name="T60" fmla="*/ 1 w 6312"/>
                <a:gd name="T61" fmla="*/ 6034 h 6355"/>
                <a:gd name="T62" fmla="*/ 1 w 6312"/>
                <a:gd name="T63" fmla="*/ 6039 h 6355"/>
                <a:gd name="T64" fmla="*/ 36 w 6312"/>
                <a:gd name="T65" fmla="*/ 6102 h 6355"/>
                <a:gd name="T66" fmla="*/ 85 w 6312"/>
                <a:gd name="T67" fmla="*/ 6186 h 6355"/>
                <a:gd name="T68" fmla="*/ 134 w 6312"/>
                <a:gd name="T69" fmla="*/ 6264 h 6355"/>
                <a:gd name="T70" fmla="*/ 192 w 6312"/>
                <a:gd name="T71" fmla="*/ 6355 h 6355"/>
                <a:gd name="T72" fmla="*/ 197 w 6312"/>
                <a:gd name="T73" fmla="*/ 6279 h 6355"/>
                <a:gd name="T74" fmla="*/ 203 w 6312"/>
                <a:gd name="T75" fmla="*/ 6220 h 6355"/>
                <a:gd name="T76" fmla="*/ 210 w 6312"/>
                <a:gd name="T77" fmla="*/ 6162 h 6355"/>
                <a:gd name="T78" fmla="*/ 378 w 6312"/>
                <a:gd name="T79" fmla="*/ 5516 h 6355"/>
                <a:gd name="T80" fmla="*/ 400 w 6312"/>
                <a:gd name="T81" fmla="*/ 5454 h 6355"/>
                <a:gd name="T82" fmla="*/ 425 w 6312"/>
                <a:gd name="T83" fmla="*/ 5390 h 6355"/>
                <a:gd name="T84" fmla="*/ 1050 w 6312"/>
                <a:gd name="T85" fmla="*/ 4214 h 6355"/>
                <a:gd name="T86" fmla="*/ 1126 w 6312"/>
                <a:gd name="T87" fmla="*/ 4101 h 6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2" h="6355">
                  <a:moveTo>
                    <a:pt x="1126" y="4101"/>
                  </a:moveTo>
                  <a:cubicBezTo>
                    <a:pt x="1154" y="4060"/>
                    <a:pt x="1183" y="4018"/>
                    <a:pt x="1212" y="3976"/>
                  </a:cubicBezTo>
                  <a:cubicBezTo>
                    <a:pt x="1559" y="3480"/>
                    <a:pt x="1986" y="2971"/>
                    <a:pt x="2479" y="2477"/>
                  </a:cubicBezTo>
                  <a:cubicBezTo>
                    <a:pt x="2973" y="1984"/>
                    <a:pt x="3482" y="1557"/>
                    <a:pt x="3978" y="1210"/>
                  </a:cubicBezTo>
                  <a:cubicBezTo>
                    <a:pt x="4020" y="1181"/>
                    <a:pt x="4061" y="1152"/>
                    <a:pt x="4103" y="1124"/>
                  </a:cubicBezTo>
                  <a:cubicBezTo>
                    <a:pt x="4141" y="1098"/>
                    <a:pt x="4179" y="1073"/>
                    <a:pt x="4216" y="1049"/>
                  </a:cubicBezTo>
                  <a:cubicBezTo>
                    <a:pt x="4626" y="780"/>
                    <a:pt x="5024" y="569"/>
                    <a:pt x="5392" y="423"/>
                  </a:cubicBezTo>
                  <a:cubicBezTo>
                    <a:pt x="5414" y="415"/>
                    <a:pt x="5435" y="407"/>
                    <a:pt x="5456" y="399"/>
                  </a:cubicBezTo>
                  <a:cubicBezTo>
                    <a:pt x="5477" y="391"/>
                    <a:pt x="5498" y="383"/>
                    <a:pt x="5518" y="376"/>
                  </a:cubicBezTo>
                  <a:cubicBezTo>
                    <a:pt x="5747" y="293"/>
                    <a:pt x="5964" y="236"/>
                    <a:pt x="6164" y="208"/>
                  </a:cubicBezTo>
                  <a:cubicBezTo>
                    <a:pt x="6183" y="206"/>
                    <a:pt x="6203" y="203"/>
                    <a:pt x="6222" y="201"/>
                  </a:cubicBezTo>
                  <a:cubicBezTo>
                    <a:pt x="6242" y="199"/>
                    <a:pt x="6262" y="197"/>
                    <a:pt x="6281" y="195"/>
                  </a:cubicBezTo>
                  <a:cubicBezTo>
                    <a:pt x="6292" y="194"/>
                    <a:pt x="6302" y="193"/>
                    <a:pt x="6312" y="193"/>
                  </a:cubicBezTo>
                  <a:cubicBezTo>
                    <a:pt x="6300" y="185"/>
                    <a:pt x="6288" y="178"/>
                    <a:pt x="6276" y="170"/>
                  </a:cubicBezTo>
                  <a:cubicBezTo>
                    <a:pt x="6252" y="155"/>
                    <a:pt x="6228" y="139"/>
                    <a:pt x="6203" y="124"/>
                  </a:cubicBezTo>
                  <a:cubicBezTo>
                    <a:pt x="6176" y="108"/>
                    <a:pt x="6149" y="90"/>
                    <a:pt x="6122" y="74"/>
                  </a:cubicBezTo>
                  <a:cubicBezTo>
                    <a:pt x="6077" y="49"/>
                    <a:pt x="6032" y="24"/>
                    <a:pt x="5988" y="0"/>
                  </a:cubicBezTo>
                  <a:cubicBezTo>
                    <a:pt x="5852" y="4"/>
                    <a:pt x="5703" y="27"/>
                    <a:pt x="5542" y="68"/>
                  </a:cubicBezTo>
                  <a:cubicBezTo>
                    <a:pt x="5523" y="73"/>
                    <a:pt x="5503" y="78"/>
                    <a:pt x="5484" y="83"/>
                  </a:cubicBezTo>
                  <a:cubicBezTo>
                    <a:pt x="5464" y="89"/>
                    <a:pt x="5445" y="95"/>
                    <a:pt x="5425" y="101"/>
                  </a:cubicBezTo>
                  <a:cubicBezTo>
                    <a:pt x="5140" y="186"/>
                    <a:pt x="4823" y="324"/>
                    <a:pt x="4488" y="508"/>
                  </a:cubicBezTo>
                  <a:cubicBezTo>
                    <a:pt x="4461" y="523"/>
                    <a:pt x="4433" y="539"/>
                    <a:pt x="4405" y="555"/>
                  </a:cubicBezTo>
                  <a:cubicBezTo>
                    <a:pt x="4376" y="572"/>
                    <a:pt x="4346" y="588"/>
                    <a:pt x="4316" y="606"/>
                  </a:cubicBezTo>
                  <a:cubicBezTo>
                    <a:pt x="3656" y="993"/>
                    <a:pt x="2935" y="1552"/>
                    <a:pt x="2245" y="2243"/>
                  </a:cubicBezTo>
                  <a:cubicBezTo>
                    <a:pt x="1554" y="2933"/>
                    <a:pt x="995" y="3654"/>
                    <a:pt x="608" y="4314"/>
                  </a:cubicBezTo>
                  <a:cubicBezTo>
                    <a:pt x="590" y="4344"/>
                    <a:pt x="573" y="4374"/>
                    <a:pt x="557" y="4404"/>
                  </a:cubicBezTo>
                  <a:cubicBezTo>
                    <a:pt x="541" y="4431"/>
                    <a:pt x="525" y="4459"/>
                    <a:pt x="510" y="4486"/>
                  </a:cubicBezTo>
                  <a:cubicBezTo>
                    <a:pt x="326" y="4822"/>
                    <a:pt x="188" y="5138"/>
                    <a:pt x="103" y="5423"/>
                  </a:cubicBezTo>
                  <a:cubicBezTo>
                    <a:pt x="97" y="5443"/>
                    <a:pt x="91" y="5462"/>
                    <a:pt x="85" y="5482"/>
                  </a:cubicBezTo>
                  <a:cubicBezTo>
                    <a:pt x="80" y="5501"/>
                    <a:pt x="75" y="5521"/>
                    <a:pt x="70" y="5540"/>
                  </a:cubicBezTo>
                  <a:cubicBezTo>
                    <a:pt x="24" y="5720"/>
                    <a:pt x="0" y="5886"/>
                    <a:pt x="1" y="6034"/>
                  </a:cubicBezTo>
                  <a:cubicBezTo>
                    <a:pt x="1" y="6035"/>
                    <a:pt x="1" y="6037"/>
                    <a:pt x="1" y="6039"/>
                  </a:cubicBezTo>
                  <a:cubicBezTo>
                    <a:pt x="12" y="6060"/>
                    <a:pt x="24" y="6081"/>
                    <a:pt x="36" y="6102"/>
                  </a:cubicBezTo>
                  <a:cubicBezTo>
                    <a:pt x="52" y="6130"/>
                    <a:pt x="68" y="6158"/>
                    <a:pt x="85" y="6186"/>
                  </a:cubicBezTo>
                  <a:cubicBezTo>
                    <a:pt x="101" y="6212"/>
                    <a:pt x="117" y="6238"/>
                    <a:pt x="134" y="6264"/>
                  </a:cubicBezTo>
                  <a:cubicBezTo>
                    <a:pt x="153" y="6294"/>
                    <a:pt x="172" y="6325"/>
                    <a:pt x="192" y="6355"/>
                  </a:cubicBezTo>
                  <a:cubicBezTo>
                    <a:pt x="193" y="6330"/>
                    <a:pt x="195" y="6305"/>
                    <a:pt x="197" y="6279"/>
                  </a:cubicBezTo>
                  <a:cubicBezTo>
                    <a:pt x="199" y="6260"/>
                    <a:pt x="201" y="6240"/>
                    <a:pt x="203" y="6220"/>
                  </a:cubicBezTo>
                  <a:cubicBezTo>
                    <a:pt x="205" y="6201"/>
                    <a:pt x="208" y="6181"/>
                    <a:pt x="210" y="6162"/>
                  </a:cubicBezTo>
                  <a:cubicBezTo>
                    <a:pt x="238" y="5962"/>
                    <a:pt x="295" y="5745"/>
                    <a:pt x="378" y="5516"/>
                  </a:cubicBezTo>
                  <a:cubicBezTo>
                    <a:pt x="385" y="5496"/>
                    <a:pt x="392" y="5475"/>
                    <a:pt x="400" y="5454"/>
                  </a:cubicBezTo>
                  <a:cubicBezTo>
                    <a:pt x="408" y="5433"/>
                    <a:pt x="417" y="5412"/>
                    <a:pt x="425" y="5390"/>
                  </a:cubicBezTo>
                  <a:cubicBezTo>
                    <a:pt x="571" y="5022"/>
                    <a:pt x="782" y="4624"/>
                    <a:pt x="1050" y="4214"/>
                  </a:cubicBezTo>
                  <a:cubicBezTo>
                    <a:pt x="1075" y="4177"/>
                    <a:pt x="1100" y="4139"/>
                    <a:pt x="1126" y="410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9" name="Freeform 11">
              <a:extLst>
                <a:ext uri="{FF2B5EF4-FFF2-40B4-BE49-F238E27FC236}">
                  <a16:creationId xmlns:a16="http://schemas.microsoft.com/office/drawing/2014/main" id="{9BF6A145-B04A-4D96-B42A-F9F9564194A0}"/>
                </a:ext>
              </a:extLst>
            </p:cNvPr>
            <p:cNvSpPr>
              <a:spLocks/>
            </p:cNvSpPr>
            <p:nvPr/>
          </p:nvSpPr>
          <p:spPr bwMode="auto">
            <a:xfrm>
              <a:off x="4604297" y="1387527"/>
              <a:ext cx="4412873" cy="4441519"/>
            </a:xfrm>
            <a:custGeom>
              <a:avLst/>
              <a:gdLst>
                <a:gd name="T0" fmla="*/ 4682 w 6640"/>
                <a:gd name="T1" fmla="*/ 1069 h 6679"/>
                <a:gd name="T2" fmla="*/ 4782 w 6640"/>
                <a:gd name="T3" fmla="*/ 1013 h 6679"/>
                <a:gd name="T4" fmla="*/ 4876 w 6640"/>
                <a:gd name="T5" fmla="*/ 962 h 6679"/>
                <a:gd name="T6" fmla="*/ 5665 w 6640"/>
                <a:gd name="T7" fmla="*/ 626 h 6679"/>
                <a:gd name="T8" fmla="*/ 5735 w 6640"/>
                <a:gd name="T9" fmla="*/ 605 h 6679"/>
                <a:gd name="T10" fmla="*/ 5804 w 6640"/>
                <a:gd name="T11" fmla="*/ 586 h 6679"/>
                <a:gd name="T12" fmla="*/ 6300 w 6640"/>
                <a:gd name="T13" fmla="*/ 507 h 6679"/>
                <a:gd name="T14" fmla="*/ 6355 w 6640"/>
                <a:gd name="T15" fmla="*/ 505 h 6679"/>
                <a:gd name="T16" fmla="*/ 6360 w 6640"/>
                <a:gd name="T17" fmla="*/ 505 h 6679"/>
                <a:gd name="T18" fmla="*/ 6419 w 6640"/>
                <a:gd name="T19" fmla="*/ 507 h 6679"/>
                <a:gd name="T20" fmla="*/ 6640 w 6640"/>
                <a:gd name="T21" fmla="*/ 536 h 6679"/>
                <a:gd name="T22" fmla="*/ 6443 w 6640"/>
                <a:gd name="T23" fmla="*/ 254 h 6679"/>
                <a:gd name="T24" fmla="*/ 6385 w 6640"/>
                <a:gd name="T25" fmla="*/ 179 h 6679"/>
                <a:gd name="T26" fmla="*/ 6323 w 6640"/>
                <a:gd name="T27" fmla="*/ 102 h 6679"/>
                <a:gd name="T28" fmla="*/ 6253 w 6640"/>
                <a:gd name="T29" fmla="*/ 21 h 6679"/>
                <a:gd name="T30" fmla="*/ 6036 w 6640"/>
                <a:gd name="T31" fmla="*/ 1 h 6679"/>
                <a:gd name="T32" fmla="*/ 5943 w 6640"/>
                <a:gd name="T33" fmla="*/ 3 h 6679"/>
                <a:gd name="T34" fmla="*/ 5884 w 6640"/>
                <a:gd name="T35" fmla="*/ 8 h 6679"/>
                <a:gd name="T36" fmla="*/ 5824 w 6640"/>
                <a:gd name="T37" fmla="*/ 15 h 6679"/>
                <a:gd name="T38" fmla="*/ 5212 w 6640"/>
                <a:gd name="T39" fmla="*/ 174 h 6679"/>
                <a:gd name="T40" fmla="*/ 5142 w 6640"/>
                <a:gd name="T41" fmla="*/ 200 h 6679"/>
                <a:gd name="T42" fmla="*/ 5070 w 6640"/>
                <a:gd name="T43" fmla="*/ 229 h 6679"/>
                <a:gd name="T44" fmla="*/ 3933 w 6640"/>
                <a:gd name="T45" fmla="*/ 848 h 6679"/>
                <a:gd name="T46" fmla="*/ 3812 w 6640"/>
                <a:gd name="T47" fmla="*/ 929 h 6679"/>
                <a:gd name="T48" fmla="*/ 3679 w 6640"/>
                <a:gd name="T49" fmla="*/ 1023 h 6679"/>
                <a:gd name="T50" fmla="*/ 2245 w 6640"/>
                <a:gd name="T51" fmla="*/ 2245 h 6679"/>
                <a:gd name="T52" fmla="*/ 1023 w 6640"/>
                <a:gd name="T53" fmla="*/ 3679 h 6679"/>
                <a:gd name="T54" fmla="*/ 929 w 6640"/>
                <a:gd name="T55" fmla="*/ 3812 h 6679"/>
                <a:gd name="T56" fmla="*/ 848 w 6640"/>
                <a:gd name="T57" fmla="*/ 3933 h 6679"/>
                <a:gd name="T58" fmla="*/ 229 w 6640"/>
                <a:gd name="T59" fmla="*/ 5070 h 6679"/>
                <a:gd name="T60" fmla="*/ 200 w 6640"/>
                <a:gd name="T61" fmla="*/ 5142 h 6679"/>
                <a:gd name="T62" fmla="*/ 174 w 6640"/>
                <a:gd name="T63" fmla="*/ 5212 h 6679"/>
                <a:gd name="T64" fmla="*/ 15 w 6640"/>
                <a:gd name="T65" fmla="*/ 5824 h 6679"/>
                <a:gd name="T66" fmla="*/ 8 w 6640"/>
                <a:gd name="T67" fmla="*/ 5884 h 6679"/>
                <a:gd name="T68" fmla="*/ 3 w 6640"/>
                <a:gd name="T69" fmla="*/ 5943 h 6679"/>
                <a:gd name="T70" fmla="*/ 1 w 6640"/>
                <a:gd name="T71" fmla="*/ 6036 h 6679"/>
                <a:gd name="T72" fmla="*/ 30 w 6640"/>
                <a:gd name="T73" fmla="*/ 6297 h 6679"/>
                <a:gd name="T74" fmla="*/ 54 w 6640"/>
                <a:gd name="T75" fmla="*/ 6318 h 6679"/>
                <a:gd name="T76" fmla="*/ 132 w 6640"/>
                <a:gd name="T77" fmla="*/ 6383 h 6679"/>
                <a:gd name="T78" fmla="*/ 211 w 6640"/>
                <a:gd name="T79" fmla="*/ 6444 h 6679"/>
                <a:gd name="T80" fmla="*/ 547 w 6640"/>
                <a:gd name="T81" fmla="*/ 6679 h 6679"/>
                <a:gd name="T82" fmla="*/ 507 w 6640"/>
                <a:gd name="T83" fmla="*/ 6419 h 6679"/>
                <a:gd name="T84" fmla="*/ 505 w 6640"/>
                <a:gd name="T85" fmla="*/ 6360 h 6679"/>
                <a:gd name="T86" fmla="*/ 505 w 6640"/>
                <a:gd name="T87" fmla="*/ 6356 h 6679"/>
                <a:gd name="T88" fmla="*/ 507 w 6640"/>
                <a:gd name="T89" fmla="*/ 6300 h 6679"/>
                <a:gd name="T90" fmla="*/ 586 w 6640"/>
                <a:gd name="T91" fmla="*/ 5804 h 6679"/>
                <a:gd name="T92" fmla="*/ 605 w 6640"/>
                <a:gd name="T93" fmla="*/ 5735 h 6679"/>
                <a:gd name="T94" fmla="*/ 626 w 6640"/>
                <a:gd name="T95" fmla="*/ 5665 h 6679"/>
                <a:gd name="T96" fmla="*/ 962 w 6640"/>
                <a:gd name="T97" fmla="*/ 4876 h 6679"/>
                <a:gd name="T98" fmla="*/ 1013 w 6640"/>
                <a:gd name="T99" fmla="*/ 4781 h 6679"/>
                <a:gd name="T100" fmla="*/ 1069 w 6640"/>
                <a:gd name="T101" fmla="*/ 4682 h 6679"/>
                <a:gd name="T102" fmla="*/ 2654 w 6640"/>
                <a:gd name="T103" fmla="*/ 2654 h 6679"/>
                <a:gd name="T104" fmla="*/ 4682 w 6640"/>
                <a:gd name="T105" fmla="*/ 1069 h 6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640" h="6679">
                  <a:moveTo>
                    <a:pt x="4682" y="1069"/>
                  </a:moveTo>
                  <a:cubicBezTo>
                    <a:pt x="4715" y="1050"/>
                    <a:pt x="4748" y="1031"/>
                    <a:pt x="4782" y="1013"/>
                  </a:cubicBezTo>
                  <a:cubicBezTo>
                    <a:pt x="4813" y="996"/>
                    <a:pt x="4845" y="979"/>
                    <a:pt x="4876" y="962"/>
                  </a:cubicBezTo>
                  <a:cubicBezTo>
                    <a:pt x="5153" y="816"/>
                    <a:pt x="5418" y="703"/>
                    <a:pt x="5665" y="626"/>
                  </a:cubicBezTo>
                  <a:cubicBezTo>
                    <a:pt x="5688" y="619"/>
                    <a:pt x="5712" y="612"/>
                    <a:pt x="5735" y="605"/>
                  </a:cubicBezTo>
                  <a:cubicBezTo>
                    <a:pt x="5758" y="599"/>
                    <a:pt x="5781" y="592"/>
                    <a:pt x="5804" y="586"/>
                  </a:cubicBezTo>
                  <a:cubicBezTo>
                    <a:pt x="5981" y="539"/>
                    <a:pt x="6147" y="513"/>
                    <a:pt x="6300" y="507"/>
                  </a:cubicBezTo>
                  <a:cubicBezTo>
                    <a:pt x="6318" y="506"/>
                    <a:pt x="6337" y="505"/>
                    <a:pt x="6355" y="505"/>
                  </a:cubicBezTo>
                  <a:cubicBezTo>
                    <a:pt x="6357" y="505"/>
                    <a:pt x="6358" y="505"/>
                    <a:pt x="6360" y="505"/>
                  </a:cubicBezTo>
                  <a:cubicBezTo>
                    <a:pt x="6380" y="505"/>
                    <a:pt x="6399" y="506"/>
                    <a:pt x="6419" y="507"/>
                  </a:cubicBezTo>
                  <a:cubicBezTo>
                    <a:pt x="6496" y="511"/>
                    <a:pt x="6571" y="520"/>
                    <a:pt x="6640" y="536"/>
                  </a:cubicBezTo>
                  <a:cubicBezTo>
                    <a:pt x="6579" y="440"/>
                    <a:pt x="6513" y="346"/>
                    <a:pt x="6443" y="254"/>
                  </a:cubicBezTo>
                  <a:cubicBezTo>
                    <a:pt x="6424" y="229"/>
                    <a:pt x="6404" y="204"/>
                    <a:pt x="6385" y="179"/>
                  </a:cubicBezTo>
                  <a:cubicBezTo>
                    <a:pt x="6364" y="153"/>
                    <a:pt x="6344" y="128"/>
                    <a:pt x="6323" y="102"/>
                  </a:cubicBezTo>
                  <a:cubicBezTo>
                    <a:pt x="6300" y="75"/>
                    <a:pt x="6276" y="48"/>
                    <a:pt x="6253" y="21"/>
                  </a:cubicBezTo>
                  <a:cubicBezTo>
                    <a:pt x="6186" y="8"/>
                    <a:pt x="6114" y="1"/>
                    <a:pt x="6036" y="1"/>
                  </a:cubicBezTo>
                  <a:cubicBezTo>
                    <a:pt x="6006" y="0"/>
                    <a:pt x="5975" y="2"/>
                    <a:pt x="5943" y="3"/>
                  </a:cubicBezTo>
                  <a:cubicBezTo>
                    <a:pt x="5924" y="4"/>
                    <a:pt x="5904" y="6"/>
                    <a:pt x="5884" y="8"/>
                  </a:cubicBezTo>
                  <a:cubicBezTo>
                    <a:pt x="5864" y="10"/>
                    <a:pt x="5844" y="13"/>
                    <a:pt x="5824" y="15"/>
                  </a:cubicBezTo>
                  <a:cubicBezTo>
                    <a:pt x="5639" y="39"/>
                    <a:pt x="5433" y="93"/>
                    <a:pt x="5212" y="174"/>
                  </a:cubicBezTo>
                  <a:cubicBezTo>
                    <a:pt x="5189" y="183"/>
                    <a:pt x="5166" y="191"/>
                    <a:pt x="5142" y="200"/>
                  </a:cubicBezTo>
                  <a:cubicBezTo>
                    <a:pt x="5118" y="210"/>
                    <a:pt x="5094" y="219"/>
                    <a:pt x="5070" y="229"/>
                  </a:cubicBezTo>
                  <a:cubicBezTo>
                    <a:pt x="4719" y="373"/>
                    <a:pt x="4334" y="582"/>
                    <a:pt x="3933" y="848"/>
                  </a:cubicBezTo>
                  <a:cubicBezTo>
                    <a:pt x="3893" y="874"/>
                    <a:pt x="3852" y="902"/>
                    <a:pt x="3812" y="929"/>
                  </a:cubicBezTo>
                  <a:cubicBezTo>
                    <a:pt x="3767" y="960"/>
                    <a:pt x="3723" y="991"/>
                    <a:pt x="3679" y="1023"/>
                  </a:cubicBezTo>
                  <a:cubicBezTo>
                    <a:pt x="3206" y="1360"/>
                    <a:pt x="2718" y="1771"/>
                    <a:pt x="2245" y="2245"/>
                  </a:cubicBezTo>
                  <a:cubicBezTo>
                    <a:pt x="1771" y="2718"/>
                    <a:pt x="1360" y="3206"/>
                    <a:pt x="1023" y="3679"/>
                  </a:cubicBezTo>
                  <a:cubicBezTo>
                    <a:pt x="991" y="3723"/>
                    <a:pt x="960" y="3768"/>
                    <a:pt x="929" y="3812"/>
                  </a:cubicBezTo>
                  <a:cubicBezTo>
                    <a:pt x="902" y="3852"/>
                    <a:pt x="874" y="3893"/>
                    <a:pt x="848" y="3933"/>
                  </a:cubicBezTo>
                  <a:cubicBezTo>
                    <a:pt x="582" y="4334"/>
                    <a:pt x="373" y="4719"/>
                    <a:pt x="229" y="5070"/>
                  </a:cubicBezTo>
                  <a:cubicBezTo>
                    <a:pt x="219" y="5094"/>
                    <a:pt x="210" y="5118"/>
                    <a:pt x="200" y="5142"/>
                  </a:cubicBezTo>
                  <a:cubicBezTo>
                    <a:pt x="191" y="5166"/>
                    <a:pt x="183" y="5189"/>
                    <a:pt x="174" y="5212"/>
                  </a:cubicBezTo>
                  <a:cubicBezTo>
                    <a:pt x="93" y="5433"/>
                    <a:pt x="39" y="5639"/>
                    <a:pt x="15" y="5824"/>
                  </a:cubicBezTo>
                  <a:cubicBezTo>
                    <a:pt x="12" y="5844"/>
                    <a:pt x="10" y="5864"/>
                    <a:pt x="8" y="5884"/>
                  </a:cubicBezTo>
                  <a:cubicBezTo>
                    <a:pt x="6" y="5904"/>
                    <a:pt x="5" y="5924"/>
                    <a:pt x="3" y="5943"/>
                  </a:cubicBezTo>
                  <a:cubicBezTo>
                    <a:pt x="2" y="5975"/>
                    <a:pt x="0" y="6006"/>
                    <a:pt x="1" y="6036"/>
                  </a:cubicBezTo>
                  <a:cubicBezTo>
                    <a:pt x="1" y="6131"/>
                    <a:pt x="10" y="6218"/>
                    <a:pt x="30" y="6297"/>
                  </a:cubicBezTo>
                  <a:cubicBezTo>
                    <a:pt x="38" y="6304"/>
                    <a:pt x="46" y="6311"/>
                    <a:pt x="54" y="6318"/>
                  </a:cubicBezTo>
                  <a:cubicBezTo>
                    <a:pt x="80" y="6340"/>
                    <a:pt x="106" y="6362"/>
                    <a:pt x="132" y="6383"/>
                  </a:cubicBezTo>
                  <a:cubicBezTo>
                    <a:pt x="158" y="6404"/>
                    <a:pt x="184" y="6424"/>
                    <a:pt x="211" y="6444"/>
                  </a:cubicBezTo>
                  <a:cubicBezTo>
                    <a:pt x="320" y="6528"/>
                    <a:pt x="432" y="6606"/>
                    <a:pt x="547" y="6679"/>
                  </a:cubicBezTo>
                  <a:cubicBezTo>
                    <a:pt x="524" y="6598"/>
                    <a:pt x="511" y="6511"/>
                    <a:pt x="507" y="6419"/>
                  </a:cubicBezTo>
                  <a:cubicBezTo>
                    <a:pt x="506" y="6399"/>
                    <a:pt x="505" y="6380"/>
                    <a:pt x="505" y="6360"/>
                  </a:cubicBezTo>
                  <a:cubicBezTo>
                    <a:pt x="505" y="6358"/>
                    <a:pt x="505" y="6357"/>
                    <a:pt x="505" y="6356"/>
                  </a:cubicBezTo>
                  <a:cubicBezTo>
                    <a:pt x="505" y="6337"/>
                    <a:pt x="506" y="6318"/>
                    <a:pt x="507" y="6300"/>
                  </a:cubicBezTo>
                  <a:cubicBezTo>
                    <a:pt x="512" y="6147"/>
                    <a:pt x="539" y="5981"/>
                    <a:pt x="586" y="5804"/>
                  </a:cubicBezTo>
                  <a:cubicBezTo>
                    <a:pt x="592" y="5781"/>
                    <a:pt x="599" y="5758"/>
                    <a:pt x="605" y="5735"/>
                  </a:cubicBezTo>
                  <a:cubicBezTo>
                    <a:pt x="612" y="5712"/>
                    <a:pt x="619" y="5688"/>
                    <a:pt x="626" y="5665"/>
                  </a:cubicBezTo>
                  <a:cubicBezTo>
                    <a:pt x="703" y="5418"/>
                    <a:pt x="817" y="5153"/>
                    <a:pt x="962" y="4876"/>
                  </a:cubicBezTo>
                  <a:cubicBezTo>
                    <a:pt x="979" y="4845"/>
                    <a:pt x="996" y="4813"/>
                    <a:pt x="1013" y="4781"/>
                  </a:cubicBezTo>
                  <a:cubicBezTo>
                    <a:pt x="1031" y="4748"/>
                    <a:pt x="1050" y="4715"/>
                    <a:pt x="1069" y="4682"/>
                  </a:cubicBezTo>
                  <a:cubicBezTo>
                    <a:pt x="1441" y="4031"/>
                    <a:pt x="1982" y="3328"/>
                    <a:pt x="2654" y="2654"/>
                  </a:cubicBezTo>
                  <a:cubicBezTo>
                    <a:pt x="3328" y="1982"/>
                    <a:pt x="4031" y="1441"/>
                    <a:pt x="4682" y="10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0" name="Freeform 12">
              <a:extLst>
                <a:ext uri="{FF2B5EF4-FFF2-40B4-BE49-F238E27FC236}">
                  <a16:creationId xmlns:a16="http://schemas.microsoft.com/office/drawing/2014/main" id="{6967A9C6-FB4D-4270-BB09-0FBE5B7A6E5E}"/>
                </a:ext>
              </a:extLst>
            </p:cNvPr>
            <p:cNvSpPr>
              <a:spLocks/>
            </p:cNvSpPr>
            <p:nvPr/>
          </p:nvSpPr>
          <p:spPr bwMode="auto">
            <a:xfrm>
              <a:off x="5525067" y="2309661"/>
              <a:ext cx="3917703" cy="3936801"/>
            </a:xfrm>
            <a:custGeom>
              <a:avLst/>
              <a:gdLst>
                <a:gd name="T0" fmla="*/ 3424 w 5896"/>
                <a:gd name="T1" fmla="*/ 1876 h 5920"/>
                <a:gd name="T2" fmla="*/ 3633 w 5896"/>
                <a:gd name="T3" fmla="*/ 1712 h 5920"/>
                <a:gd name="T4" fmla="*/ 3808 w 5896"/>
                <a:gd name="T5" fmla="*/ 1582 h 5920"/>
                <a:gd name="T6" fmla="*/ 4916 w 5896"/>
                <a:gd name="T7" fmla="*/ 937 h 5920"/>
                <a:gd name="T8" fmla="*/ 5004 w 5896"/>
                <a:gd name="T9" fmla="*/ 901 h 5920"/>
                <a:gd name="T10" fmla="*/ 5086 w 5896"/>
                <a:gd name="T11" fmla="*/ 873 h 5920"/>
                <a:gd name="T12" fmla="*/ 5614 w 5896"/>
                <a:gd name="T13" fmla="*/ 767 h 5920"/>
                <a:gd name="T14" fmla="*/ 5621 w 5896"/>
                <a:gd name="T15" fmla="*/ 767 h 5920"/>
                <a:gd name="T16" fmla="*/ 5682 w 5896"/>
                <a:gd name="T17" fmla="*/ 770 h 5920"/>
                <a:gd name="T18" fmla="*/ 5742 w 5896"/>
                <a:gd name="T19" fmla="*/ 777 h 5920"/>
                <a:gd name="T20" fmla="*/ 5896 w 5896"/>
                <a:gd name="T21" fmla="*/ 821 h 5920"/>
                <a:gd name="T22" fmla="*/ 5826 w 5896"/>
                <a:gd name="T23" fmla="*/ 476 h 5920"/>
                <a:gd name="T24" fmla="*/ 5792 w 5896"/>
                <a:gd name="T25" fmla="*/ 349 h 5920"/>
                <a:gd name="T26" fmla="*/ 5752 w 5896"/>
                <a:gd name="T27" fmla="*/ 214 h 5920"/>
                <a:gd name="T28" fmla="*/ 5714 w 5896"/>
                <a:gd name="T29" fmla="*/ 97 h 5920"/>
                <a:gd name="T30" fmla="*/ 5444 w 5896"/>
                <a:gd name="T31" fmla="*/ 9 h 5920"/>
                <a:gd name="T32" fmla="*/ 5385 w 5896"/>
                <a:gd name="T33" fmla="*/ 3 h 5920"/>
                <a:gd name="T34" fmla="*/ 5324 w 5896"/>
                <a:gd name="T35" fmla="*/ 1 h 5920"/>
                <a:gd name="T36" fmla="*/ 5312 w 5896"/>
                <a:gd name="T37" fmla="*/ 0 h 5920"/>
                <a:gd name="T38" fmla="*/ 5307 w 5896"/>
                <a:gd name="T39" fmla="*/ 0 h 5920"/>
                <a:gd name="T40" fmla="*/ 4713 w 5896"/>
                <a:gd name="T41" fmla="*/ 112 h 5920"/>
                <a:gd name="T42" fmla="*/ 4636 w 5896"/>
                <a:gd name="T43" fmla="*/ 137 h 5920"/>
                <a:gd name="T44" fmla="*/ 4555 w 5896"/>
                <a:gd name="T45" fmla="*/ 168 h 5920"/>
                <a:gd name="T46" fmla="*/ 3688 w 5896"/>
                <a:gd name="T47" fmla="*/ 607 h 5920"/>
                <a:gd name="T48" fmla="*/ 3564 w 5896"/>
                <a:gd name="T49" fmla="*/ 684 h 5920"/>
                <a:gd name="T50" fmla="*/ 3430 w 5896"/>
                <a:gd name="T51" fmla="*/ 773 h 5920"/>
                <a:gd name="T52" fmla="*/ 1980 w 5896"/>
                <a:gd name="T53" fmla="*/ 1980 h 5920"/>
                <a:gd name="T54" fmla="*/ 774 w 5896"/>
                <a:gd name="T55" fmla="*/ 3429 h 5920"/>
                <a:gd name="T56" fmla="*/ 685 w 5896"/>
                <a:gd name="T57" fmla="*/ 3563 h 5920"/>
                <a:gd name="T58" fmla="*/ 607 w 5896"/>
                <a:gd name="T59" fmla="*/ 3688 h 5920"/>
                <a:gd name="T60" fmla="*/ 169 w 5896"/>
                <a:gd name="T61" fmla="*/ 4554 h 5920"/>
                <a:gd name="T62" fmla="*/ 137 w 5896"/>
                <a:gd name="T63" fmla="*/ 4635 h 5920"/>
                <a:gd name="T64" fmla="*/ 113 w 5896"/>
                <a:gd name="T65" fmla="*/ 4712 h 5920"/>
                <a:gd name="T66" fmla="*/ 1 w 5896"/>
                <a:gd name="T67" fmla="*/ 5311 h 5920"/>
                <a:gd name="T68" fmla="*/ 2 w 5896"/>
                <a:gd name="T69" fmla="*/ 5323 h 5920"/>
                <a:gd name="T70" fmla="*/ 4 w 5896"/>
                <a:gd name="T71" fmla="*/ 5384 h 5920"/>
                <a:gd name="T72" fmla="*/ 10 w 5896"/>
                <a:gd name="T73" fmla="*/ 5443 h 5920"/>
                <a:gd name="T74" fmla="*/ 121 w 5896"/>
                <a:gd name="T75" fmla="*/ 5747 h 5920"/>
                <a:gd name="T76" fmla="*/ 150 w 5896"/>
                <a:gd name="T77" fmla="*/ 5756 h 5920"/>
                <a:gd name="T78" fmla="*/ 291 w 5896"/>
                <a:gd name="T79" fmla="*/ 5800 h 5920"/>
                <a:gd name="T80" fmla="*/ 425 w 5896"/>
                <a:gd name="T81" fmla="*/ 5836 h 5920"/>
                <a:gd name="T82" fmla="*/ 835 w 5896"/>
                <a:gd name="T83" fmla="*/ 5920 h 5920"/>
                <a:gd name="T84" fmla="*/ 778 w 5896"/>
                <a:gd name="T85" fmla="*/ 5741 h 5920"/>
                <a:gd name="T86" fmla="*/ 771 w 5896"/>
                <a:gd name="T87" fmla="*/ 5681 h 5920"/>
                <a:gd name="T88" fmla="*/ 769 w 5896"/>
                <a:gd name="T89" fmla="*/ 5620 h 5920"/>
                <a:gd name="T90" fmla="*/ 768 w 5896"/>
                <a:gd name="T91" fmla="*/ 5612 h 5920"/>
                <a:gd name="T92" fmla="*/ 874 w 5896"/>
                <a:gd name="T93" fmla="*/ 5084 h 5920"/>
                <a:gd name="T94" fmla="*/ 903 w 5896"/>
                <a:gd name="T95" fmla="*/ 5002 h 5920"/>
                <a:gd name="T96" fmla="*/ 938 w 5896"/>
                <a:gd name="T97" fmla="*/ 4915 h 5920"/>
                <a:gd name="T98" fmla="*/ 1583 w 5896"/>
                <a:gd name="T99" fmla="*/ 3807 h 5920"/>
                <a:gd name="T100" fmla="*/ 1713 w 5896"/>
                <a:gd name="T101" fmla="*/ 3632 h 5920"/>
                <a:gd name="T102" fmla="*/ 1877 w 5896"/>
                <a:gd name="T103" fmla="*/ 3424 h 5920"/>
                <a:gd name="T104" fmla="*/ 2610 w 5896"/>
                <a:gd name="T105" fmla="*/ 2610 h 5920"/>
                <a:gd name="T106" fmla="*/ 3424 w 5896"/>
                <a:gd name="T107" fmla="*/ 1876 h 5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96" h="5920">
                  <a:moveTo>
                    <a:pt x="3424" y="1876"/>
                  </a:moveTo>
                  <a:cubicBezTo>
                    <a:pt x="3494" y="1819"/>
                    <a:pt x="3564" y="1765"/>
                    <a:pt x="3633" y="1712"/>
                  </a:cubicBezTo>
                  <a:cubicBezTo>
                    <a:pt x="3692" y="1667"/>
                    <a:pt x="3750" y="1624"/>
                    <a:pt x="3808" y="1582"/>
                  </a:cubicBezTo>
                  <a:cubicBezTo>
                    <a:pt x="4204" y="1295"/>
                    <a:pt x="4581" y="1076"/>
                    <a:pt x="4916" y="937"/>
                  </a:cubicBezTo>
                  <a:cubicBezTo>
                    <a:pt x="4945" y="925"/>
                    <a:pt x="4975" y="912"/>
                    <a:pt x="5004" y="901"/>
                  </a:cubicBezTo>
                  <a:cubicBezTo>
                    <a:pt x="5032" y="891"/>
                    <a:pt x="5058" y="882"/>
                    <a:pt x="5086" y="873"/>
                  </a:cubicBezTo>
                  <a:cubicBezTo>
                    <a:pt x="5281" y="806"/>
                    <a:pt x="5460" y="768"/>
                    <a:pt x="5614" y="767"/>
                  </a:cubicBezTo>
                  <a:cubicBezTo>
                    <a:pt x="5616" y="767"/>
                    <a:pt x="5618" y="767"/>
                    <a:pt x="5621" y="767"/>
                  </a:cubicBezTo>
                  <a:cubicBezTo>
                    <a:pt x="5642" y="768"/>
                    <a:pt x="5662" y="768"/>
                    <a:pt x="5682" y="770"/>
                  </a:cubicBezTo>
                  <a:cubicBezTo>
                    <a:pt x="5702" y="771"/>
                    <a:pt x="5722" y="774"/>
                    <a:pt x="5742" y="777"/>
                  </a:cubicBezTo>
                  <a:cubicBezTo>
                    <a:pt x="5797" y="785"/>
                    <a:pt x="5849" y="800"/>
                    <a:pt x="5896" y="821"/>
                  </a:cubicBezTo>
                  <a:cubicBezTo>
                    <a:pt x="5877" y="705"/>
                    <a:pt x="5854" y="590"/>
                    <a:pt x="5826" y="476"/>
                  </a:cubicBezTo>
                  <a:cubicBezTo>
                    <a:pt x="5816" y="433"/>
                    <a:pt x="5804" y="391"/>
                    <a:pt x="5792" y="349"/>
                  </a:cubicBezTo>
                  <a:cubicBezTo>
                    <a:pt x="5779" y="304"/>
                    <a:pt x="5766" y="259"/>
                    <a:pt x="5752" y="214"/>
                  </a:cubicBezTo>
                  <a:cubicBezTo>
                    <a:pt x="5740" y="175"/>
                    <a:pt x="5728" y="136"/>
                    <a:pt x="5714" y="97"/>
                  </a:cubicBezTo>
                  <a:cubicBezTo>
                    <a:pt x="5639" y="51"/>
                    <a:pt x="5549" y="22"/>
                    <a:pt x="5444" y="9"/>
                  </a:cubicBezTo>
                  <a:cubicBezTo>
                    <a:pt x="5425" y="6"/>
                    <a:pt x="5405" y="4"/>
                    <a:pt x="5385" y="3"/>
                  </a:cubicBezTo>
                  <a:cubicBezTo>
                    <a:pt x="5365" y="1"/>
                    <a:pt x="5345" y="1"/>
                    <a:pt x="5324" y="1"/>
                  </a:cubicBezTo>
                  <a:cubicBezTo>
                    <a:pt x="5320" y="1"/>
                    <a:pt x="5316" y="0"/>
                    <a:pt x="5312" y="0"/>
                  </a:cubicBezTo>
                  <a:cubicBezTo>
                    <a:pt x="5311" y="0"/>
                    <a:pt x="5309" y="0"/>
                    <a:pt x="5307" y="0"/>
                  </a:cubicBezTo>
                  <a:cubicBezTo>
                    <a:pt x="5135" y="0"/>
                    <a:pt x="4934" y="40"/>
                    <a:pt x="4713" y="112"/>
                  </a:cubicBezTo>
                  <a:cubicBezTo>
                    <a:pt x="4687" y="120"/>
                    <a:pt x="4662" y="127"/>
                    <a:pt x="4636" y="137"/>
                  </a:cubicBezTo>
                  <a:cubicBezTo>
                    <a:pt x="4610" y="146"/>
                    <a:pt x="4582" y="158"/>
                    <a:pt x="4555" y="168"/>
                  </a:cubicBezTo>
                  <a:cubicBezTo>
                    <a:pt x="4287" y="270"/>
                    <a:pt x="3995" y="418"/>
                    <a:pt x="3688" y="607"/>
                  </a:cubicBezTo>
                  <a:cubicBezTo>
                    <a:pt x="3647" y="632"/>
                    <a:pt x="3606" y="657"/>
                    <a:pt x="3564" y="684"/>
                  </a:cubicBezTo>
                  <a:cubicBezTo>
                    <a:pt x="3520" y="713"/>
                    <a:pt x="3475" y="743"/>
                    <a:pt x="3430" y="773"/>
                  </a:cubicBezTo>
                  <a:cubicBezTo>
                    <a:pt x="2956" y="1092"/>
                    <a:pt x="2460" y="1499"/>
                    <a:pt x="1980" y="1980"/>
                  </a:cubicBezTo>
                  <a:cubicBezTo>
                    <a:pt x="1500" y="2459"/>
                    <a:pt x="1093" y="2956"/>
                    <a:pt x="774" y="3429"/>
                  </a:cubicBezTo>
                  <a:cubicBezTo>
                    <a:pt x="744" y="3474"/>
                    <a:pt x="714" y="3519"/>
                    <a:pt x="685" y="3563"/>
                  </a:cubicBezTo>
                  <a:cubicBezTo>
                    <a:pt x="658" y="3605"/>
                    <a:pt x="633" y="3646"/>
                    <a:pt x="607" y="3688"/>
                  </a:cubicBezTo>
                  <a:cubicBezTo>
                    <a:pt x="419" y="3994"/>
                    <a:pt x="271" y="4287"/>
                    <a:pt x="169" y="4554"/>
                  </a:cubicBezTo>
                  <a:cubicBezTo>
                    <a:pt x="158" y="4581"/>
                    <a:pt x="147" y="4609"/>
                    <a:pt x="137" y="4635"/>
                  </a:cubicBezTo>
                  <a:cubicBezTo>
                    <a:pt x="128" y="4661"/>
                    <a:pt x="121" y="4686"/>
                    <a:pt x="113" y="4712"/>
                  </a:cubicBezTo>
                  <a:cubicBezTo>
                    <a:pt x="40" y="4935"/>
                    <a:pt x="0" y="5138"/>
                    <a:pt x="1" y="5311"/>
                  </a:cubicBezTo>
                  <a:cubicBezTo>
                    <a:pt x="1" y="5315"/>
                    <a:pt x="1" y="5319"/>
                    <a:pt x="2" y="5323"/>
                  </a:cubicBezTo>
                  <a:cubicBezTo>
                    <a:pt x="2" y="5344"/>
                    <a:pt x="2" y="5364"/>
                    <a:pt x="4" y="5384"/>
                  </a:cubicBezTo>
                  <a:cubicBezTo>
                    <a:pt x="5" y="5404"/>
                    <a:pt x="7" y="5424"/>
                    <a:pt x="10" y="5443"/>
                  </a:cubicBezTo>
                  <a:cubicBezTo>
                    <a:pt x="25" y="5564"/>
                    <a:pt x="62" y="5665"/>
                    <a:pt x="121" y="5747"/>
                  </a:cubicBezTo>
                  <a:cubicBezTo>
                    <a:pt x="131" y="5750"/>
                    <a:pt x="140" y="5753"/>
                    <a:pt x="150" y="5756"/>
                  </a:cubicBezTo>
                  <a:cubicBezTo>
                    <a:pt x="197" y="5771"/>
                    <a:pt x="244" y="5786"/>
                    <a:pt x="291" y="5800"/>
                  </a:cubicBezTo>
                  <a:cubicBezTo>
                    <a:pt x="336" y="5813"/>
                    <a:pt x="380" y="5825"/>
                    <a:pt x="425" y="5836"/>
                  </a:cubicBezTo>
                  <a:cubicBezTo>
                    <a:pt x="560" y="5870"/>
                    <a:pt x="697" y="5898"/>
                    <a:pt x="835" y="5920"/>
                  </a:cubicBezTo>
                  <a:cubicBezTo>
                    <a:pt x="807" y="5866"/>
                    <a:pt x="788" y="5806"/>
                    <a:pt x="778" y="5741"/>
                  </a:cubicBezTo>
                  <a:cubicBezTo>
                    <a:pt x="775" y="5721"/>
                    <a:pt x="773" y="5701"/>
                    <a:pt x="771" y="5681"/>
                  </a:cubicBezTo>
                  <a:cubicBezTo>
                    <a:pt x="769" y="5661"/>
                    <a:pt x="769" y="5641"/>
                    <a:pt x="769" y="5620"/>
                  </a:cubicBezTo>
                  <a:cubicBezTo>
                    <a:pt x="769" y="5617"/>
                    <a:pt x="768" y="5615"/>
                    <a:pt x="768" y="5612"/>
                  </a:cubicBezTo>
                  <a:cubicBezTo>
                    <a:pt x="769" y="5459"/>
                    <a:pt x="807" y="5280"/>
                    <a:pt x="874" y="5084"/>
                  </a:cubicBezTo>
                  <a:cubicBezTo>
                    <a:pt x="884" y="5057"/>
                    <a:pt x="892" y="5030"/>
                    <a:pt x="903" y="5002"/>
                  </a:cubicBezTo>
                  <a:cubicBezTo>
                    <a:pt x="913" y="4974"/>
                    <a:pt x="926" y="4944"/>
                    <a:pt x="938" y="4915"/>
                  </a:cubicBezTo>
                  <a:cubicBezTo>
                    <a:pt x="1077" y="4580"/>
                    <a:pt x="1296" y="4203"/>
                    <a:pt x="1583" y="3807"/>
                  </a:cubicBezTo>
                  <a:cubicBezTo>
                    <a:pt x="1625" y="3749"/>
                    <a:pt x="1668" y="3691"/>
                    <a:pt x="1713" y="3632"/>
                  </a:cubicBezTo>
                  <a:cubicBezTo>
                    <a:pt x="1765" y="3563"/>
                    <a:pt x="1820" y="3493"/>
                    <a:pt x="1877" y="3424"/>
                  </a:cubicBezTo>
                  <a:cubicBezTo>
                    <a:pt x="2095" y="3154"/>
                    <a:pt x="2341" y="2880"/>
                    <a:pt x="2610" y="2610"/>
                  </a:cubicBezTo>
                  <a:cubicBezTo>
                    <a:pt x="2881" y="2340"/>
                    <a:pt x="3155" y="2095"/>
                    <a:pt x="3424" y="187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1" name="Freeform 13">
              <a:extLst>
                <a:ext uri="{FF2B5EF4-FFF2-40B4-BE49-F238E27FC236}">
                  <a16:creationId xmlns:a16="http://schemas.microsoft.com/office/drawing/2014/main" id="{85D81FB3-8A4F-49F2-A164-8A0BF5C67920}"/>
                </a:ext>
              </a:extLst>
            </p:cNvPr>
            <p:cNvSpPr>
              <a:spLocks/>
            </p:cNvSpPr>
            <p:nvPr/>
          </p:nvSpPr>
          <p:spPr bwMode="auto">
            <a:xfrm>
              <a:off x="6849611" y="3634205"/>
              <a:ext cx="2613621" cy="2625898"/>
            </a:xfrm>
            <a:custGeom>
              <a:avLst/>
              <a:gdLst>
                <a:gd name="T0" fmla="*/ 3902 w 3934"/>
                <a:gd name="T1" fmla="*/ 32 h 3950"/>
                <a:gd name="T2" fmla="*/ 3727 w 3934"/>
                <a:gd name="T3" fmla="*/ 0 h 3950"/>
                <a:gd name="T4" fmla="*/ 3687 w 3934"/>
                <a:gd name="T5" fmla="*/ 3 h 3950"/>
                <a:gd name="T6" fmla="*/ 3616 w 3934"/>
                <a:gd name="T7" fmla="*/ 8 h 3950"/>
                <a:gd name="T8" fmla="*/ 3541 w 3934"/>
                <a:gd name="T9" fmla="*/ 21 h 3950"/>
                <a:gd name="T10" fmla="*/ 3005 w 3934"/>
                <a:gd name="T11" fmla="*/ 222 h 3950"/>
                <a:gd name="T12" fmla="*/ 2891 w 3934"/>
                <a:gd name="T13" fmla="*/ 283 h 3950"/>
                <a:gd name="T14" fmla="*/ 2768 w 3934"/>
                <a:gd name="T15" fmla="*/ 353 h 3950"/>
                <a:gd name="T16" fmla="*/ 1424 w 3934"/>
                <a:gd name="T17" fmla="*/ 1424 h 3950"/>
                <a:gd name="T18" fmla="*/ 353 w 3934"/>
                <a:gd name="T19" fmla="*/ 2768 h 3950"/>
                <a:gd name="T20" fmla="*/ 283 w 3934"/>
                <a:gd name="T21" fmla="*/ 2891 h 3950"/>
                <a:gd name="T22" fmla="*/ 222 w 3934"/>
                <a:gd name="T23" fmla="*/ 3005 h 3950"/>
                <a:gd name="T24" fmla="*/ 22 w 3934"/>
                <a:gd name="T25" fmla="*/ 3540 h 3950"/>
                <a:gd name="T26" fmla="*/ 8 w 3934"/>
                <a:gd name="T27" fmla="*/ 3616 h 3950"/>
                <a:gd name="T28" fmla="*/ 3 w 3934"/>
                <a:gd name="T29" fmla="*/ 3686 h 3950"/>
                <a:gd name="T30" fmla="*/ 1 w 3934"/>
                <a:gd name="T31" fmla="*/ 3727 h 3950"/>
                <a:gd name="T32" fmla="*/ 32 w 3934"/>
                <a:gd name="T33" fmla="*/ 3902 h 3950"/>
                <a:gd name="T34" fmla="*/ 56 w 3934"/>
                <a:gd name="T35" fmla="*/ 3950 h 3950"/>
                <a:gd name="T36" fmla="*/ 79 w 3934"/>
                <a:gd name="T37" fmla="*/ 3947 h 3950"/>
                <a:gd name="T38" fmla="*/ 282 w 3934"/>
                <a:gd name="T39" fmla="*/ 3917 h 3950"/>
                <a:gd name="T40" fmla="*/ 1127 w 3934"/>
                <a:gd name="T41" fmla="*/ 3685 h 3950"/>
                <a:gd name="T42" fmla="*/ 1020 w 3934"/>
                <a:gd name="T43" fmla="*/ 3624 h 3950"/>
                <a:gd name="T44" fmla="*/ 959 w 3934"/>
                <a:gd name="T45" fmla="*/ 3517 h 3950"/>
                <a:gd name="T46" fmla="*/ 946 w 3934"/>
                <a:gd name="T47" fmla="*/ 3454 h 3950"/>
                <a:gd name="T48" fmla="*/ 943 w 3934"/>
                <a:gd name="T49" fmla="*/ 3410 h 3950"/>
                <a:gd name="T50" fmla="*/ 945 w 3934"/>
                <a:gd name="T51" fmla="*/ 3382 h 3950"/>
                <a:gd name="T52" fmla="*/ 1060 w 3934"/>
                <a:gd name="T53" fmla="*/ 2995 h 3950"/>
                <a:gd name="T54" fmla="*/ 1123 w 3934"/>
                <a:gd name="T55" fmla="*/ 2873 h 3950"/>
                <a:gd name="T56" fmla="*/ 1207 w 3934"/>
                <a:gd name="T57" fmla="*/ 2729 h 3950"/>
                <a:gd name="T58" fmla="*/ 1890 w 3934"/>
                <a:gd name="T59" fmla="*/ 1890 h 3950"/>
                <a:gd name="T60" fmla="*/ 2729 w 3934"/>
                <a:gd name="T61" fmla="*/ 1207 h 3950"/>
                <a:gd name="T62" fmla="*/ 2873 w 3934"/>
                <a:gd name="T63" fmla="*/ 1123 h 3950"/>
                <a:gd name="T64" fmla="*/ 2994 w 3934"/>
                <a:gd name="T65" fmla="*/ 1061 h 3950"/>
                <a:gd name="T66" fmla="*/ 3382 w 3934"/>
                <a:gd name="T67" fmla="*/ 946 h 3950"/>
                <a:gd name="T68" fmla="*/ 3410 w 3934"/>
                <a:gd name="T69" fmla="*/ 943 h 3950"/>
                <a:gd name="T70" fmla="*/ 3454 w 3934"/>
                <a:gd name="T71" fmla="*/ 947 h 3950"/>
                <a:gd name="T72" fmla="*/ 3517 w 3934"/>
                <a:gd name="T73" fmla="*/ 959 h 3950"/>
                <a:gd name="T74" fmla="*/ 3624 w 3934"/>
                <a:gd name="T75" fmla="*/ 1020 h 3950"/>
                <a:gd name="T76" fmla="*/ 3679 w 3934"/>
                <a:gd name="T77" fmla="*/ 1109 h 3950"/>
                <a:gd name="T78" fmla="*/ 3893 w 3934"/>
                <a:gd name="T79" fmla="*/ 331 h 3950"/>
                <a:gd name="T80" fmla="*/ 3924 w 3934"/>
                <a:gd name="T81" fmla="*/ 131 h 3950"/>
                <a:gd name="T82" fmla="*/ 3934 w 3934"/>
                <a:gd name="T83" fmla="*/ 47 h 3950"/>
                <a:gd name="T84" fmla="*/ 3902 w 3934"/>
                <a:gd name="T85" fmla="*/ 32 h 3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34" h="3950">
                  <a:moveTo>
                    <a:pt x="3902" y="32"/>
                  </a:moveTo>
                  <a:cubicBezTo>
                    <a:pt x="3854" y="12"/>
                    <a:pt x="3797" y="1"/>
                    <a:pt x="3727" y="0"/>
                  </a:cubicBezTo>
                  <a:cubicBezTo>
                    <a:pt x="3714" y="0"/>
                    <a:pt x="3700" y="2"/>
                    <a:pt x="3687" y="3"/>
                  </a:cubicBezTo>
                  <a:cubicBezTo>
                    <a:pt x="3664" y="4"/>
                    <a:pt x="3641" y="5"/>
                    <a:pt x="3616" y="8"/>
                  </a:cubicBezTo>
                  <a:cubicBezTo>
                    <a:pt x="3592" y="12"/>
                    <a:pt x="3567" y="16"/>
                    <a:pt x="3541" y="21"/>
                  </a:cubicBezTo>
                  <a:cubicBezTo>
                    <a:pt x="3386" y="53"/>
                    <a:pt x="3204" y="121"/>
                    <a:pt x="3005" y="222"/>
                  </a:cubicBezTo>
                  <a:cubicBezTo>
                    <a:pt x="2967" y="241"/>
                    <a:pt x="2929" y="262"/>
                    <a:pt x="2891" y="283"/>
                  </a:cubicBezTo>
                  <a:cubicBezTo>
                    <a:pt x="2851" y="305"/>
                    <a:pt x="2810" y="329"/>
                    <a:pt x="2768" y="353"/>
                  </a:cubicBezTo>
                  <a:cubicBezTo>
                    <a:pt x="2350" y="601"/>
                    <a:pt x="1878" y="968"/>
                    <a:pt x="1424" y="1424"/>
                  </a:cubicBezTo>
                  <a:cubicBezTo>
                    <a:pt x="967" y="1878"/>
                    <a:pt x="601" y="2350"/>
                    <a:pt x="353" y="2768"/>
                  </a:cubicBezTo>
                  <a:cubicBezTo>
                    <a:pt x="329" y="2810"/>
                    <a:pt x="305" y="2851"/>
                    <a:pt x="283" y="2891"/>
                  </a:cubicBezTo>
                  <a:cubicBezTo>
                    <a:pt x="261" y="2930"/>
                    <a:pt x="241" y="2968"/>
                    <a:pt x="222" y="3005"/>
                  </a:cubicBezTo>
                  <a:cubicBezTo>
                    <a:pt x="121" y="3204"/>
                    <a:pt x="53" y="3386"/>
                    <a:pt x="22" y="3540"/>
                  </a:cubicBezTo>
                  <a:cubicBezTo>
                    <a:pt x="16" y="3566"/>
                    <a:pt x="12" y="3592"/>
                    <a:pt x="8" y="3616"/>
                  </a:cubicBezTo>
                  <a:cubicBezTo>
                    <a:pt x="5" y="3641"/>
                    <a:pt x="4" y="3664"/>
                    <a:pt x="3" y="3686"/>
                  </a:cubicBezTo>
                  <a:cubicBezTo>
                    <a:pt x="2" y="3700"/>
                    <a:pt x="0" y="3714"/>
                    <a:pt x="1" y="3727"/>
                  </a:cubicBezTo>
                  <a:cubicBezTo>
                    <a:pt x="1" y="3797"/>
                    <a:pt x="12" y="3854"/>
                    <a:pt x="32" y="3902"/>
                  </a:cubicBezTo>
                  <a:cubicBezTo>
                    <a:pt x="39" y="3919"/>
                    <a:pt x="47" y="3935"/>
                    <a:pt x="56" y="3950"/>
                  </a:cubicBezTo>
                  <a:cubicBezTo>
                    <a:pt x="64" y="3949"/>
                    <a:pt x="71" y="3948"/>
                    <a:pt x="79" y="3947"/>
                  </a:cubicBezTo>
                  <a:cubicBezTo>
                    <a:pt x="147" y="3939"/>
                    <a:pt x="214" y="3929"/>
                    <a:pt x="282" y="3917"/>
                  </a:cubicBezTo>
                  <a:cubicBezTo>
                    <a:pt x="569" y="3868"/>
                    <a:pt x="852" y="3791"/>
                    <a:pt x="1127" y="3685"/>
                  </a:cubicBezTo>
                  <a:cubicBezTo>
                    <a:pt x="1087" y="3673"/>
                    <a:pt x="1050" y="3653"/>
                    <a:pt x="1020" y="3624"/>
                  </a:cubicBezTo>
                  <a:cubicBezTo>
                    <a:pt x="990" y="3594"/>
                    <a:pt x="971" y="3557"/>
                    <a:pt x="959" y="3517"/>
                  </a:cubicBezTo>
                  <a:cubicBezTo>
                    <a:pt x="953" y="3497"/>
                    <a:pt x="949" y="3476"/>
                    <a:pt x="946" y="3454"/>
                  </a:cubicBezTo>
                  <a:cubicBezTo>
                    <a:pt x="945" y="3440"/>
                    <a:pt x="943" y="3425"/>
                    <a:pt x="943" y="3410"/>
                  </a:cubicBezTo>
                  <a:cubicBezTo>
                    <a:pt x="944" y="3401"/>
                    <a:pt x="945" y="3392"/>
                    <a:pt x="945" y="3382"/>
                  </a:cubicBezTo>
                  <a:cubicBezTo>
                    <a:pt x="952" y="3271"/>
                    <a:pt x="992" y="3140"/>
                    <a:pt x="1060" y="2995"/>
                  </a:cubicBezTo>
                  <a:cubicBezTo>
                    <a:pt x="1079" y="2955"/>
                    <a:pt x="1100" y="2914"/>
                    <a:pt x="1123" y="2873"/>
                  </a:cubicBezTo>
                  <a:cubicBezTo>
                    <a:pt x="1148" y="2826"/>
                    <a:pt x="1176" y="2778"/>
                    <a:pt x="1207" y="2729"/>
                  </a:cubicBezTo>
                  <a:cubicBezTo>
                    <a:pt x="1371" y="2466"/>
                    <a:pt x="1606" y="2176"/>
                    <a:pt x="1890" y="1890"/>
                  </a:cubicBezTo>
                  <a:cubicBezTo>
                    <a:pt x="2176" y="1606"/>
                    <a:pt x="2466" y="1372"/>
                    <a:pt x="2729" y="1207"/>
                  </a:cubicBezTo>
                  <a:cubicBezTo>
                    <a:pt x="2778" y="1176"/>
                    <a:pt x="2825" y="1149"/>
                    <a:pt x="2873" y="1123"/>
                  </a:cubicBezTo>
                  <a:cubicBezTo>
                    <a:pt x="2914" y="1100"/>
                    <a:pt x="2955" y="1079"/>
                    <a:pt x="2994" y="1061"/>
                  </a:cubicBezTo>
                  <a:cubicBezTo>
                    <a:pt x="3140" y="992"/>
                    <a:pt x="3271" y="953"/>
                    <a:pt x="3382" y="946"/>
                  </a:cubicBezTo>
                  <a:cubicBezTo>
                    <a:pt x="3392" y="945"/>
                    <a:pt x="3401" y="944"/>
                    <a:pt x="3410" y="943"/>
                  </a:cubicBezTo>
                  <a:cubicBezTo>
                    <a:pt x="3425" y="943"/>
                    <a:pt x="3440" y="945"/>
                    <a:pt x="3454" y="947"/>
                  </a:cubicBezTo>
                  <a:cubicBezTo>
                    <a:pt x="3476" y="949"/>
                    <a:pt x="3497" y="953"/>
                    <a:pt x="3517" y="959"/>
                  </a:cubicBezTo>
                  <a:cubicBezTo>
                    <a:pt x="3557" y="971"/>
                    <a:pt x="3594" y="990"/>
                    <a:pt x="3624" y="1020"/>
                  </a:cubicBezTo>
                  <a:cubicBezTo>
                    <a:pt x="3649" y="1045"/>
                    <a:pt x="3667" y="1076"/>
                    <a:pt x="3679" y="1109"/>
                  </a:cubicBezTo>
                  <a:cubicBezTo>
                    <a:pt x="3774" y="856"/>
                    <a:pt x="3846" y="595"/>
                    <a:pt x="3893" y="331"/>
                  </a:cubicBezTo>
                  <a:cubicBezTo>
                    <a:pt x="3905" y="265"/>
                    <a:pt x="3915" y="198"/>
                    <a:pt x="3924" y="131"/>
                  </a:cubicBezTo>
                  <a:cubicBezTo>
                    <a:pt x="3928" y="103"/>
                    <a:pt x="3931" y="75"/>
                    <a:pt x="3934" y="47"/>
                  </a:cubicBezTo>
                  <a:cubicBezTo>
                    <a:pt x="3924" y="41"/>
                    <a:pt x="3913" y="37"/>
                    <a:pt x="3902" y="3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sp>
        <p:nvSpPr>
          <p:cNvPr id="8" name="Platshållare för bild 7"/>
          <p:cNvSpPr>
            <a:spLocks noGrp="1"/>
          </p:cNvSpPr>
          <p:nvPr>
            <p:ph type="pic" sz="quarter" idx="15" hasCustomPrompt="1"/>
          </p:nvPr>
        </p:nvSpPr>
        <p:spPr>
          <a:xfrm>
            <a:off x="4584700" y="952575"/>
            <a:ext cx="4156148" cy="3289235"/>
          </a:xfrm>
          <a:prstGeom prst="rect">
            <a:avLst/>
          </a:prstGeom>
        </p:spPr>
        <p:txBody>
          <a:bodyPr/>
          <a:lstStyle>
            <a:lvl1pPr marL="0" indent="0">
              <a:buNone/>
              <a:defRPr/>
            </a:lvl1pPr>
          </a:lstStyle>
          <a:p>
            <a:r>
              <a:rPr lang="sv-SE"/>
              <a:t> </a:t>
            </a:r>
          </a:p>
        </p:txBody>
      </p:sp>
      <p:sp>
        <p:nvSpPr>
          <p:cNvPr id="34" name="Rubrik 33"/>
          <p:cNvSpPr>
            <a:spLocks noGrp="1"/>
          </p:cNvSpPr>
          <p:nvPr>
            <p:ph type="title" hasCustomPrompt="1"/>
          </p:nvPr>
        </p:nvSpPr>
        <p:spPr>
          <a:xfrm>
            <a:off x="381000" y="231140"/>
            <a:ext cx="4093842" cy="1009894"/>
          </a:xfrm>
          <a:prstGeom prst="rect">
            <a:avLst/>
          </a:prstGeom>
        </p:spPr>
        <p:txBody>
          <a:bodyPr lIns="0" tIns="0" rIns="0" bIns="0" anchor="t" anchorCtr="0">
            <a:normAutofit/>
          </a:bodyPr>
          <a:lstStyle>
            <a:lvl1pPr algn="l">
              <a:defRPr sz="3600">
                <a:solidFill>
                  <a:schemeClr val="tx1"/>
                </a:solidFill>
                <a:latin typeface="Calibri"/>
                <a:cs typeface="Calibri"/>
              </a:defRPr>
            </a:lvl1pPr>
          </a:lstStyle>
          <a:p>
            <a:r>
              <a:rPr lang="en-GB"/>
              <a:t>Heading</a:t>
            </a:r>
            <a:endParaRPr lang="sv-SE"/>
          </a:p>
        </p:txBody>
      </p:sp>
      <p:sp>
        <p:nvSpPr>
          <p:cNvPr id="21" name="Platshållare för text 2"/>
          <p:cNvSpPr>
            <a:spLocks noGrp="1"/>
          </p:cNvSpPr>
          <p:nvPr>
            <p:ph type="body" sz="quarter" idx="17" hasCustomPrompt="1"/>
          </p:nvPr>
        </p:nvSpPr>
        <p:spPr>
          <a:xfrm>
            <a:off x="381000" y="1494564"/>
            <a:ext cx="4093842" cy="3044492"/>
          </a:xfrm>
          <a:prstGeom prst="rect">
            <a:avLst/>
          </a:prstGeom>
        </p:spPr>
        <p:txBody>
          <a:bodyPr lIns="0" tIns="0" rIns="0" bIns="0">
            <a:normAutofit/>
          </a:bodyPr>
          <a:lstStyle>
            <a:lvl1pPr marL="190500" indent="-190500">
              <a:spcBef>
                <a:spcPts val="50"/>
              </a:spcBef>
              <a:defRPr sz="2000"/>
            </a:lvl1pPr>
            <a:lvl2pPr marL="190500" indent="254000">
              <a:spcBef>
                <a:spcPts val="50"/>
              </a:spcBef>
              <a:buFont typeface="Lucida Grande"/>
              <a:buChar char="–"/>
              <a:defRPr sz="2000"/>
            </a:lvl2pPr>
            <a:lvl3pPr marL="571500" indent="-254000">
              <a:spcBef>
                <a:spcPts val="50"/>
              </a:spcBef>
              <a:buFont typeface="Lucida Grande"/>
              <a:buChar char="–"/>
              <a:defRPr sz="2000"/>
            </a:lvl3pPr>
            <a:lvl4pPr marL="698500" indent="-254000">
              <a:spcBef>
                <a:spcPts val="50"/>
              </a:spcBef>
              <a:buFont typeface="Lucida Grande"/>
              <a:buChar char="–"/>
              <a:defRPr sz="2000"/>
            </a:lvl4pPr>
            <a:lvl5pPr marL="825500" indent="-254000">
              <a:spcBef>
                <a:spcPts val="50"/>
              </a:spcBef>
              <a:buFont typeface="Lucida Grande"/>
              <a:buChar char="–"/>
              <a:defRPr/>
            </a:lvl5pPr>
          </a:lstStyle>
          <a:p>
            <a:pPr lvl="0"/>
            <a:r>
              <a:rPr lang="en-GB" noProof="0"/>
              <a:t>Level 1</a:t>
            </a:r>
          </a:p>
          <a:p>
            <a:pPr lvl="1"/>
            <a:r>
              <a:rPr lang="en-GB" noProof="0"/>
              <a:t>Level 2</a:t>
            </a:r>
          </a:p>
          <a:p>
            <a:pPr lvl="2"/>
            <a:r>
              <a:rPr lang="en-GB" noProof="0"/>
              <a:t>Level 3</a:t>
            </a:r>
          </a:p>
          <a:p>
            <a:pPr lvl="3"/>
            <a:r>
              <a:rPr lang="en-GB" noProof="0"/>
              <a:t>Level 4</a:t>
            </a:r>
          </a:p>
          <a:p>
            <a:pPr lvl="4"/>
            <a:r>
              <a:rPr lang="en-GB" noProof="0"/>
              <a:t>Level 5</a:t>
            </a:r>
          </a:p>
        </p:txBody>
      </p:sp>
      <p:pic>
        <p:nvPicPr>
          <p:cNvPr id="33" name="Bildobjekt 3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0201" y="4590290"/>
            <a:ext cx="850195" cy="307734"/>
          </a:xfrm>
          <a:prstGeom prst="rect">
            <a:avLst/>
          </a:prstGeom>
        </p:spPr>
      </p:pic>
      <p:sp>
        <p:nvSpPr>
          <p:cNvPr id="35" name="Platshållare för sidfot 4">
            <a:extLst>
              <a:ext uri="{FF2B5EF4-FFF2-40B4-BE49-F238E27FC236}">
                <a16:creationId xmlns:a16="http://schemas.microsoft.com/office/drawing/2014/main" id="{43E08F50-0FBD-45E6-9751-50F2DE73FBE0}"/>
              </a:ext>
            </a:extLst>
          </p:cNvPr>
          <p:cNvSpPr>
            <a:spLocks noGrp="1"/>
          </p:cNvSpPr>
          <p:nvPr>
            <p:ph type="ftr" sz="quarter" idx="11"/>
          </p:nvPr>
        </p:nvSpPr>
        <p:spPr>
          <a:xfrm>
            <a:off x="5824413" y="4483997"/>
            <a:ext cx="2509889" cy="382813"/>
          </a:xfrm>
          <a:prstGeom prst="rect">
            <a:avLst/>
          </a:prstGeom>
        </p:spPr>
        <p:txBody>
          <a:bodyPr lIns="0" tIns="0" rIns="0" bIns="0" anchor="b" anchorCtr="0"/>
          <a:lstStyle>
            <a:lvl1pPr algn="r">
              <a:defRPr sz="900" b="0">
                <a:solidFill>
                  <a:schemeClr val="bg1"/>
                </a:solidFill>
              </a:defRPr>
            </a:lvl1pPr>
          </a:lstStyle>
          <a:p>
            <a:r>
              <a:rPr lang="en-US"/>
              <a:t>Stakeholder Forum Agenda - Classification: External</a:t>
            </a:r>
            <a:endParaRPr lang="sv-SE"/>
          </a:p>
        </p:txBody>
      </p:sp>
      <p:sp>
        <p:nvSpPr>
          <p:cNvPr id="39" name="Platshållare för datum 3">
            <a:extLst>
              <a:ext uri="{FF2B5EF4-FFF2-40B4-BE49-F238E27FC236}">
                <a16:creationId xmlns:a16="http://schemas.microsoft.com/office/drawing/2014/main" id="{EC3E8990-C19F-4001-BEC5-65D9DF98C38E}"/>
              </a:ext>
            </a:extLst>
          </p:cNvPr>
          <p:cNvSpPr>
            <a:spLocks noGrp="1"/>
          </p:cNvSpPr>
          <p:nvPr>
            <p:ph type="dt" sz="half" idx="10"/>
          </p:nvPr>
        </p:nvSpPr>
        <p:spPr>
          <a:xfrm>
            <a:off x="4734099" y="4495861"/>
            <a:ext cx="1018558" cy="370949"/>
          </a:xfrm>
          <a:prstGeom prst="rect">
            <a:avLst/>
          </a:prstGeom>
        </p:spPr>
        <p:txBody>
          <a:bodyPr lIns="0" tIns="0" rIns="0" bIns="0" anchor="b" anchorCtr="0"/>
          <a:lstStyle>
            <a:lvl1pPr algn="l">
              <a:defRPr sz="900" b="0" i="0" cap="all">
                <a:solidFill>
                  <a:schemeClr val="bg1"/>
                </a:solidFill>
              </a:defRPr>
            </a:lvl1pPr>
          </a:lstStyle>
          <a:p>
            <a:r>
              <a:rPr lang="sv-SE"/>
              <a:t>26/03/2026</a:t>
            </a:r>
          </a:p>
        </p:txBody>
      </p:sp>
      <p:sp>
        <p:nvSpPr>
          <p:cNvPr id="40" name="Platshållare för bildnummer 5">
            <a:extLst>
              <a:ext uri="{FF2B5EF4-FFF2-40B4-BE49-F238E27FC236}">
                <a16:creationId xmlns:a16="http://schemas.microsoft.com/office/drawing/2014/main" id="{240D33FF-B6EE-4F3E-ADAF-D2EA786266DC}"/>
              </a:ext>
            </a:extLst>
          </p:cNvPr>
          <p:cNvSpPr>
            <a:spLocks noGrp="1"/>
          </p:cNvSpPr>
          <p:nvPr>
            <p:ph type="sldNum" sz="quarter" idx="12"/>
          </p:nvPr>
        </p:nvSpPr>
        <p:spPr>
          <a:xfrm>
            <a:off x="8383230" y="4469824"/>
            <a:ext cx="368658" cy="396987"/>
          </a:xfrm>
          <a:prstGeom prst="rect">
            <a:avLst/>
          </a:prstGeom>
          <a:noFill/>
        </p:spPr>
        <p:txBody>
          <a:bodyPr lIns="25400" tIns="0" rIns="0" bIns="0" anchor="b" anchorCtr="0"/>
          <a:lstStyle>
            <a:lvl1pPr algn="r">
              <a:defRPr sz="900">
                <a:solidFill>
                  <a:schemeClr val="bg1"/>
                </a:solidFill>
              </a:defRPr>
            </a:lvl1pPr>
          </a:lstStyle>
          <a:p>
            <a:fld id="{394EE31B-4DFC-CF4D-9A18-3F5D4D7C7302}" type="slidenum">
              <a:rPr lang="sv-SE" smtClean="0"/>
              <a:pPr/>
              <a:t>‹#›</a:t>
            </a:fld>
            <a:endParaRPr lang="sv-SE"/>
          </a:p>
        </p:txBody>
      </p:sp>
    </p:spTree>
    <p:extLst>
      <p:ext uri="{BB962C8B-B14F-4D97-AF65-F5344CB8AC3E}">
        <p14:creationId xmlns:p14="http://schemas.microsoft.com/office/powerpoint/2010/main" val="158715574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redelt: bilde + tekst + tekst">
    <p:spTree>
      <p:nvGrpSpPr>
        <p:cNvPr id="1" name=""/>
        <p:cNvGrpSpPr/>
        <p:nvPr/>
      </p:nvGrpSpPr>
      <p:grpSpPr>
        <a:xfrm>
          <a:off x="0" y="0"/>
          <a:ext cx="0" cy="0"/>
          <a:chOff x="0" y="0"/>
          <a:chExt cx="0" cy="0"/>
        </a:xfrm>
      </p:grpSpPr>
      <p:sp>
        <p:nvSpPr>
          <p:cNvPr id="8" name="Rektangel: avrundede hjørner 7">
            <a:extLst>
              <a:ext uri="{FF2B5EF4-FFF2-40B4-BE49-F238E27FC236}">
                <a16:creationId xmlns:a16="http://schemas.microsoft.com/office/drawing/2014/main" id="{52EFDB54-4B6F-B888-A550-D6760A97ED35}"/>
              </a:ext>
            </a:extLst>
          </p:cNvPr>
          <p:cNvSpPr/>
          <p:nvPr userDrawn="1"/>
        </p:nvSpPr>
        <p:spPr>
          <a:xfrm>
            <a:off x="6024131" y="1059657"/>
            <a:ext cx="2551942" cy="3768836"/>
          </a:xfrm>
          <a:prstGeom prst="roundRect">
            <a:avLst>
              <a:gd name="adj" fmla="val 4089"/>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1350">
              <a:solidFill>
                <a:schemeClr val="tx1"/>
              </a:solidFill>
            </a:endParaRPr>
          </a:p>
        </p:txBody>
      </p:sp>
      <p:sp>
        <p:nvSpPr>
          <p:cNvPr id="10" name="Rektangel: avrundede hjørner 9">
            <a:extLst>
              <a:ext uri="{FF2B5EF4-FFF2-40B4-BE49-F238E27FC236}">
                <a16:creationId xmlns:a16="http://schemas.microsoft.com/office/drawing/2014/main" id="{FEF596CD-1A3F-3885-AFDA-F29C431903F4}"/>
              </a:ext>
            </a:extLst>
          </p:cNvPr>
          <p:cNvSpPr/>
          <p:nvPr userDrawn="1"/>
        </p:nvSpPr>
        <p:spPr>
          <a:xfrm>
            <a:off x="3278865" y="1052120"/>
            <a:ext cx="2551943" cy="3768836"/>
          </a:xfrm>
          <a:prstGeom prst="roundRect">
            <a:avLst>
              <a:gd name="adj" fmla="val 4089"/>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1350">
              <a:solidFill>
                <a:schemeClr val="tx1"/>
              </a:solidFill>
            </a:endParaRPr>
          </a:p>
        </p:txBody>
      </p:sp>
      <p:sp>
        <p:nvSpPr>
          <p:cNvPr id="2" name="TekstSylinder 1">
            <a:extLst>
              <a:ext uri="{FF2B5EF4-FFF2-40B4-BE49-F238E27FC236}">
                <a16:creationId xmlns:a16="http://schemas.microsoft.com/office/drawing/2014/main" id="{633047B1-EB84-4AF4-A42B-C9870F6F3877}"/>
              </a:ext>
            </a:extLst>
          </p:cNvPr>
          <p:cNvSpPr txBox="1"/>
          <p:nvPr userDrawn="1"/>
        </p:nvSpPr>
        <p:spPr>
          <a:xfrm>
            <a:off x="8246795" y="4828493"/>
            <a:ext cx="329277" cy="207749"/>
          </a:xfrm>
          <a:prstGeom prst="rect">
            <a:avLst/>
          </a:prstGeom>
          <a:noFill/>
        </p:spPr>
        <p:txBody>
          <a:bodyPr wrap="square" rIns="0" rtlCol="0">
            <a:spAutoFit/>
          </a:bodyPr>
          <a:lstStyle/>
          <a:p>
            <a:pPr algn="r"/>
            <a:fld id="{C25C054F-90E3-43D3-9F5F-0765C525DF5A}" type="slidenum">
              <a:rPr lang="nb-NO" sz="750" smtClean="0">
                <a:solidFill>
                  <a:schemeClr val="accent2"/>
                </a:solidFill>
              </a:rPr>
              <a:pPr algn="r"/>
              <a:t>‹#›</a:t>
            </a:fld>
            <a:endParaRPr lang="nb-NO" sz="750">
              <a:solidFill>
                <a:schemeClr val="accent2"/>
              </a:solidFill>
            </a:endParaRPr>
          </a:p>
        </p:txBody>
      </p:sp>
      <p:sp>
        <p:nvSpPr>
          <p:cNvPr id="9" name="Plassholder for bilde 2">
            <a:extLst>
              <a:ext uri="{FF2B5EF4-FFF2-40B4-BE49-F238E27FC236}">
                <a16:creationId xmlns:a16="http://schemas.microsoft.com/office/drawing/2014/main" id="{E352CC65-63DA-4462-B6FB-7438B018A0E8}"/>
              </a:ext>
            </a:extLst>
          </p:cNvPr>
          <p:cNvSpPr>
            <a:spLocks noGrp="1"/>
          </p:cNvSpPr>
          <p:nvPr>
            <p:ph type="pic" idx="1"/>
          </p:nvPr>
        </p:nvSpPr>
        <p:spPr>
          <a:xfrm>
            <a:off x="266" y="-1446"/>
            <a:ext cx="3069166" cy="5144946"/>
          </a:xfrm>
        </p:spPr>
        <p:txBody>
          <a:bodyPr>
            <a:normAutofit/>
          </a:bodyPr>
          <a:lstStyle>
            <a:lvl1pPr marL="0" indent="0" algn="ctr">
              <a:buNone/>
              <a:defRPr sz="1050">
                <a:solidFill>
                  <a:schemeClr val="tx1"/>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b-NO"/>
              <a:t>Klikk på ikonet for å legge til et bilde</a:t>
            </a:r>
          </a:p>
        </p:txBody>
      </p:sp>
      <p:sp>
        <p:nvSpPr>
          <p:cNvPr id="16" name="Plassholder for innhold 2">
            <a:extLst>
              <a:ext uri="{FF2B5EF4-FFF2-40B4-BE49-F238E27FC236}">
                <a16:creationId xmlns:a16="http://schemas.microsoft.com/office/drawing/2014/main" id="{67C1CF63-DD01-4D11-B72F-0057307D513B}"/>
              </a:ext>
            </a:extLst>
          </p:cNvPr>
          <p:cNvSpPr>
            <a:spLocks noGrp="1"/>
          </p:cNvSpPr>
          <p:nvPr>
            <p:ph sz="half" idx="14"/>
          </p:nvPr>
        </p:nvSpPr>
        <p:spPr>
          <a:xfrm>
            <a:off x="6026297" y="1067979"/>
            <a:ext cx="2538000" cy="3682029"/>
          </a:xfrm>
        </p:spPr>
        <p:txBody>
          <a:bodyPr lIns="108000" tIns="108000" rIns="36000">
            <a:noAutofit/>
          </a:bodyPr>
          <a:lstStyle>
            <a:lvl1pPr marL="271463" indent="-271463">
              <a:buClr>
                <a:srgbClr val="3D9CDA"/>
              </a:buClr>
              <a:buSzPct val="130000"/>
              <a:buFont typeface="Arial" panose="020B0604020202020204" pitchFamily="34" charset="0"/>
              <a:buChar char="■"/>
              <a:defRPr sz="1500">
                <a:solidFill>
                  <a:schemeClr val="tx1"/>
                </a:solidFill>
              </a:defRPr>
            </a:lvl1pPr>
            <a:lvl2pPr marL="407194" indent="-135731">
              <a:buFont typeface="Calibri" panose="020F0502020204030204" pitchFamily="34" charset="0"/>
              <a:buChar char="−"/>
              <a:defRPr sz="1500">
                <a:solidFill>
                  <a:schemeClr val="tx1"/>
                </a:solidFill>
              </a:defRPr>
            </a:lvl2pPr>
            <a:lvl3pPr marL="534591" indent="-127397">
              <a:defRPr sz="1500">
                <a:solidFill>
                  <a:schemeClr val="tx1"/>
                </a:solidFill>
              </a:defRPr>
            </a:lvl3pPr>
            <a:lvl4pPr marL="670322" indent="-135731">
              <a:buFont typeface="Arial" panose="020B0604020202020204" pitchFamily="34" charset="0"/>
              <a:buChar char="▪"/>
              <a:defRPr sz="1500">
                <a:solidFill>
                  <a:schemeClr val="tx1"/>
                </a:solidFill>
              </a:defRPr>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sp>
        <p:nvSpPr>
          <p:cNvPr id="17" name="Plassholder for innhold 2">
            <a:extLst>
              <a:ext uri="{FF2B5EF4-FFF2-40B4-BE49-F238E27FC236}">
                <a16:creationId xmlns:a16="http://schemas.microsoft.com/office/drawing/2014/main" id="{D664378B-CB59-4636-BFA4-EC11AC9A4D48}"/>
              </a:ext>
            </a:extLst>
          </p:cNvPr>
          <p:cNvSpPr>
            <a:spLocks noGrp="1"/>
          </p:cNvSpPr>
          <p:nvPr>
            <p:ph sz="half" idx="16"/>
          </p:nvPr>
        </p:nvSpPr>
        <p:spPr>
          <a:xfrm>
            <a:off x="3278864" y="1067979"/>
            <a:ext cx="2538000" cy="3682029"/>
          </a:xfrm>
        </p:spPr>
        <p:txBody>
          <a:bodyPr lIns="108000" tIns="108000" rIns="36000">
            <a:noAutofit/>
          </a:bodyPr>
          <a:lstStyle>
            <a:lvl1pPr marL="271463" indent="-271463">
              <a:buClr>
                <a:srgbClr val="3D9CDA"/>
              </a:buClr>
              <a:buSzPct val="130000"/>
              <a:buFont typeface="Arial" panose="020B0604020202020204" pitchFamily="34" charset="0"/>
              <a:buChar char="■"/>
              <a:defRPr sz="1500">
                <a:solidFill>
                  <a:schemeClr val="tx1"/>
                </a:solidFill>
              </a:defRPr>
            </a:lvl1pPr>
            <a:lvl2pPr marL="407194" indent="-135731">
              <a:buFont typeface="Calibri" panose="020F0502020204030204" pitchFamily="34" charset="0"/>
              <a:buChar char="−"/>
              <a:defRPr sz="1500">
                <a:solidFill>
                  <a:schemeClr val="tx1"/>
                </a:solidFill>
              </a:defRPr>
            </a:lvl2pPr>
            <a:lvl3pPr marL="534591" indent="-127397">
              <a:defRPr sz="1500">
                <a:solidFill>
                  <a:schemeClr val="tx1"/>
                </a:solidFill>
              </a:defRPr>
            </a:lvl3pPr>
            <a:lvl4pPr marL="670322" indent="-135731">
              <a:buFont typeface="Arial" panose="020B0604020202020204" pitchFamily="34" charset="0"/>
              <a:buChar char="▪"/>
              <a:defRPr sz="1500">
                <a:solidFill>
                  <a:schemeClr val="tx1"/>
                </a:solidFill>
              </a:defRPr>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sp>
        <p:nvSpPr>
          <p:cNvPr id="4" name="Rubrik 1">
            <a:extLst>
              <a:ext uri="{FF2B5EF4-FFF2-40B4-BE49-F238E27FC236}">
                <a16:creationId xmlns:a16="http://schemas.microsoft.com/office/drawing/2014/main" id="{49046DF7-45B9-6DE2-9B01-61AC6D3CFEDA}"/>
              </a:ext>
            </a:extLst>
          </p:cNvPr>
          <p:cNvSpPr>
            <a:spLocks noGrp="1"/>
          </p:cNvSpPr>
          <p:nvPr>
            <p:ph type="title" hasCustomPrompt="1"/>
          </p:nvPr>
        </p:nvSpPr>
        <p:spPr>
          <a:xfrm>
            <a:off x="3278865" y="285067"/>
            <a:ext cx="4967930" cy="455830"/>
          </a:xfrm>
        </p:spPr>
        <p:txBody>
          <a:bodyPr lIns="0">
            <a:normAutofit/>
          </a:bodyPr>
          <a:lstStyle>
            <a:lvl1pPr>
              <a:defRPr sz="2100" b="0">
                <a:solidFill>
                  <a:schemeClr val="tx1"/>
                </a:solidFill>
              </a:defRPr>
            </a:lvl1pPr>
          </a:lstStyle>
          <a:p>
            <a:r>
              <a:rPr lang="nb-NO" noProof="0"/>
              <a:t>Overskrift</a:t>
            </a:r>
          </a:p>
        </p:txBody>
      </p:sp>
      <p:pic>
        <p:nvPicPr>
          <p:cNvPr id="5" name="Plassholder for innhold 14" descr="Et bilde som inneholder Grafikk, skjermbilde, logo, Font&#10;&#10;KI-generert innhold kan være feil.">
            <a:extLst>
              <a:ext uri="{FF2B5EF4-FFF2-40B4-BE49-F238E27FC236}">
                <a16:creationId xmlns:a16="http://schemas.microsoft.com/office/drawing/2014/main" id="{E44E3AAB-2923-B5A9-3BE3-0168D4E2914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414" t="-286" r="66790" b="286"/>
          <a:stretch/>
        </p:blipFill>
        <p:spPr>
          <a:xfrm>
            <a:off x="8391623" y="285066"/>
            <a:ext cx="368897" cy="455830"/>
          </a:xfrm>
          <a:prstGeom prst="rect">
            <a:avLst/>
          </a:prstGeom>
        </p:spPr>
      </p:pic>
      <p:sp>
        <p:nvSpPr>
          <p:cNvPr id="3" name="Text Placeholder 6">
            <a:extLst>
              <a:ext uri="{FF2B5EF4-FFF2-40B4-BE49-F238E27FC236}">
                <a16:creationId xmlns:a16="http://schemas.microsoft.com/office/drawing/2014/main" id="{2FC7FB2F-460C-F29C-1AD6-BEC8EFE4D4EA}"/>
              </a:ext>
            </a:extLst>
          </p:cNvPr>
          <p:cNvSpPr>
            <a:spLocks noGrp="1" noChangeAspect="1"/>
          </p:cNvSpPr>
          <p:nvPr>
            <p:ph type="body" sz="quarter" idx="13" hasCustomPrompt="1"/>
          </p:nvPr>
        </p:nvSpPr>
        <p:spPr>
          <a:xfrm>
            <a:off x="3283716" y="158841"/>
            <a:ext cx="4004871" cy="176036"/>
          </a:xfrm>
          <a:prstGeom prst="rect">
            <a:avLst/>
          </a:prstGeom>
        </p:spPr>
        <p:txBody>
          <a:bodyPr lIns="0" tIns="0" rIns="0" bIns="0" anchor="b">
            <a:noAutofit/>
          </a:bodyPr>
          <a:lstStyle>
            <a:lvl1pPr marL="0" indent="0">
              <a:spcBef>
                <a:spcPts val="0"/>
              </a:spcBef>
              <a:spcAft>
                <a:spcPts val="0"/>
              </a:spcAft>
              <a:buNone/>
              <a:defRPr sz="1200" b="0" i="0" cap="none" spc="45" baseline="0">
                <a:solidFill>
                  <a:schemeClr val="tx1"/>
                </a:solidFill>
              </a:defRPr>
            </a:lvl1pPr>
            <a:lvl5pPr>
              <a:defRPr>
                <a:solidFill>
                  <a:schemeClr val="bg1"/>
                </a:solidFill>
              </a:defRPr>
            </a:lvl5pPr>
          </a:lstStyle>
          <a:p>
            <a:pPr lvl="0"/>
            <a:r>
              <a:rPr lang="nb-NO" noProof="0"/>
              <a:t>Stikktittel</a:t>
            </a:r>
          </a:p>
        </p:txBody>
      </p:sp>
    </p:spTree>
    <p:extLst>
      <p:ext uri="{BB962C8B-B14F-4D97-AF65-F5344CB8AC3E}">
        <p14:creationId xmlns:p14="http://schemas.microsoft.com/office/powerpoint/2010/main" val="414053032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Valgfritt smalt bilde og to kolonner ">
    <p:spTree>
      <p:nvGrpSpPr>
        <p:cNvPr id="1" name=""/>
        <p:cNvGrpSpPr/>
        <p:nvPr/>
      </p:nvGrpSpPr>
      <p:grpSpPr>
        <a:xfrm>
          <a:off x="0" y="0"/>
          <a:ext cx="0" cy="0"/>
          <a:chOff x="0" y="0"/>
          <a:chExt cx="0" cy="0"/>
        </a:xfrm>
      </p:grpSpPr>
      <p:sp>
        <p:nvSpPr>
          <p:cNvPr id="6" name="Rektangel: avrundede hjørner 5">
            <a:extLst>
              <a:ext uri="{FF2B5EF4-FFF2-40B4-BE49-F238E27FC236}">
                <a16:creationId xmlns:a16="http://schemas.microsoft.com/office/drawing/2014/main" id="{B3B53C5C-3DEC-DFAE-0A69-EFD1C38A324A}"/>
              </a:ext>
            </a:extLst>
          </p:cNvPr>
          <p:cNvSpPr/>
          <p:nvPr userDrawn="1"/>
        </p:nvSpPr>
        <p:spPr>
          <a:xfrm>
            <a:off x="3303000" y="1067193"/>
            <a:ext cx="2538001" cy="3768836"/>
          </a:xfrm>
          <a:prstGeom prst="roundRect">
            <a:avLst>
              <a:gd name="adj" fmla="val 298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1350">
              <a:solidFill>
                <a:schemeClr val="tx1"/>
              </a:solidFill>
            </a:endParaRPr>
          </a:p>
        </p:txBody>
      </p:sp>
      <p:sp>
        <p:nvSpPr>
          <p:cNvPr id="5" name="Rektangel: avrundede hjørner 4">
            <a:extLst>
              <a:ext uri="{FF2B5EF4-FFF2-40B4-BE49-F238E27FC236}">
                <a16:creationId xmlns:a16="http://schemas.microsoft.com/office/drawing/2014/main" id="{A64C8065-8F55-8134-8911-BCB823C5D7FE}"/>
              </a:ext>
            </a:extLst>
          </p:cNvPr>
          <p:cNvSpPr/>
          <p:nvPr userDrawn="1"/>
        </p:nvSpPr>
        <p:spPr>
          <a:xfrm>
            <a:off x="557735" y="1067980"/>
            <a:ext cx="2538000" cy="3768836"/>
          </a:xfrm>
          <a:prstGeom prst="roundRect">
            <a:avLst>
              <a:gd name="adj" fmla="val 4089"/>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1350">
              <a:solidFill>
                <a:schemeClr val="tx1"/>
              </a:solidFill>
            </a:endParaRPr>
          </a:p>
        </p:txBody>
      </p:sp>
      <p:sp>
        <p:nvSpPr>
          <p:cNvPr id="9" name="Plassholder for bilde 2">
            <a:extLst>
              <a:ext uri="{FF2B5EF4-FFF2-40B4-BE49-F238E27FC236}">
                <a16:creationId xmlns:a16="http://schemas.microsoft.com/office/drawing/2014/main" id="{E352CC65-63DA-4462-B6FB-7438B018A0E8}"/>
              </a:ext>
            </a:extLst>
          </p:cNvPr>
          <p:cNvSpPr>
            <a:spLocks noGrp="1"/>
          </p:cNvSpPr>
          <p:nvPr>
            <p:ph type="pic" idx="1"/>
          </p:nvPr>
        </p:nvSpPr>
        <p:spPr>
          <a:xfrm>
            <a:off x="6074835" y="0"/>
            <a:ext cx="3069166" cy="5144946"/>
          </a:xfrm>
        </p:spPr>
        <p:txBody>
          <a:bodyPr>
            <a:normAutofit/>
          </a:bodyPr>
          <a:lstStyle>
            <a:lvl1pPr marL="0" indent="0" algn="ctr">
              <a:buNone/>
              <a:defRPr sz="1050">
                <a:solidFill>
                  <a:schemeClr val="tx1"/>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b-NO"/>
              <a:t>Klikk på ikonet for å legge til et bilde</a:t>
            </a:r>
          </a:p>
        </p:txBody>
      </p:sp>
      <p:sp>
        <p:nvSpPr>
          <p:cNvPr id="3" name="Plassholder for innhold 2">
            <a:extLst>
              <a:ext uri="{FF2B5EF4-FFF2-40B4-BE49-F238E27FC236}">
                <a16:creationId xmlns:a16="http://schemas.microsoft.com/office/drawing/2014/main" id="{9F36887C-3A04-3D16-405B-1E5FD02EC3B2}"/>
              </a:ext>
            </a:extLst>
          </p:cNvPr>
          <p:cNvSpPr>
            <a:spLocks noGrp="1"/>
          </p:cNvSpPr>
          <p:nvPr>
            <p:ph sz="half" idx="14"/>
          </p:nvPr>
        </p:nvSpPr>
        <p:spPr>
          <a:xfrm>
            <a:off x="3303001" y="1067980"/>
            <a:ext cx="2538000" cy="3709607"/>
          </a:xfrm>
        </p:spPr>
        <p:txBody>
          <a:bodyPr lIns="72000" tIns="108000" rIns="72000">
            <a:normAutofit/>
          </a:bodyPr>
          <a:lstStyle>
            <a:lvl1pPr marL="271463" indent="-271463">
              <a:buClr>
                <a:srgbClr val="3D9CDA"/>
              </a:buClr>
              <a:buSzPct val="130000"/>
              <a:buFont typeface="Arial" panose="020B0604020202020204" pitchFamily="34" charset="0"/>
              <a:buChar char="■"/>
              <a:defRPr sz="1500">
                <a:solidFill>
                  <a:schemeClr val="tx1"/>
                </a:solidFill>
              </a:defRPr>
            </a:lvl1pPr>
            <a:lvl2pPr marL="407194" indent="-135731">
              <a:buFont typeface="Calibri" panose="020F0502020204030204" pitchFamily="34" charset="0"/>
              <a:buChar char="−"/>
              <a:defRPr sz="1500">
                <a:solidFill>
                  <a:schemeClr val="tx1"/>
                </a:solidFill>
              </a:defRPr>
            </a:lvl2pPr>
            <a:lvl3pPr marL="534591" indent="-127397">
              <a:defRPr sz="1500">
                <a:solidFill>
                  <a:schemeClr val="tx1"/>
                </a:solidFill>
              </a:defRPr>
            </a:lvl3pPr>
            <a:lvl4pPr marL="670322" indent="-135731">
              <a:buFont typeface="Arial" panose="020B0604020202020204" pitchFamily="34" charset="0"/>
              <a:buChar char="▪"/>
              <a:defRPr sz="1500">
                <a:solidFill>
                  <a:schemeClr val="tx1"/>
                </a:solidFill>
              </a:defRPr>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sp>
        <p:nvSpPr>
          <p:cNvPr id="4" name="Plassholder for innhold 2">
            <a:extLst>
              <a:ext uri="{FF2B5EF4-FFF2-40B4-BE49-F238E27FC236}">
                <a16:creationId xmlns:a16="http://schemas.microsoft.com/office/drawing/2014/main" id="{41F25784-DE4C-3D88-949F-EC79EB27BED1}"/>
              </a:ext>
            </a:extLst>
          </p:cNvPr>
          <p:cNvSpPr>
            <a:spLocks noGrp="1"/>
          </p:cNvSpPr>
          <p:nvPr>
            <p:ph sz="half" idx="16"/>
          </p:nvPr>
        </p:nvSpPr>
        <p:spPr>
          <a:xfrm>
            <a:off x="567130" y="1067979"/>
            <a:ext cx="2528605" cy="3709607"/>
          </a:xfrm>
        </p:spPr>
        <p:txBody>
          <a:bodyPr lIns="108000" tIns="108000" rIns="72000">
            <a:noAutofit/>
          </a:bodyPr>
          <a:lstStyle>
            <a:lvl1pPr marL="271463" indent="-271463">
              <a:buClr>
                <a:srgbClr val="3D9CDA"/>
              </a:buClr>
              <a:buSzPct val="130000"/>
              <a:buFont typeface="Arial" panose="020B0604020202020204" pitchFamily="34" charset="0"/>
              <a:buChar char="■"/>
              <a:defRPr sz="1500">
                <a:solidFill>
                  <a:schemeClr val="tx1"/>
                </a:solidFill>
              </a:defRPr>
            </a:lvl1pPr>
            <a:lvl2pPr marL="407194" indent="-135731">
              <a:buFont typeface="Calibri" panose="020F0502020204030204" pitchFamily="34" charset="0"/>
              <a:buChar char="−"/>
              <a:defRPr sz="1500">
                <a:solidFill>
                  <a:schemeClr val="tx1"/>
                </a:solidFill>
              </a:defRPr>
            </a:lvl2pPr>
            <a:lvl3pPr marL="534591" indent="-127397">
              <a:defRPr sz="1500">
                <a:solidFill>
                  <a:schemeClr val="tx1"/>
                </a:solidFill>
              </a:defRPr>
            </a:lvl3pPr>
            <a:lvl4pPr marL="670322" indent="-135731">
              <a:buFont typeface="Arial" panose="020B0604020202020204" pitchFamily="34" charset="0"/>
              <a:buChar char="▪"/>
              <a:defRPr sz="1500">
                <a:solidFill>
                  <a:schemeClr val="tx1"/>
                </a:solidFill>
              </a:defRPr>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sp>
        <p:nvSpPr>
          <p:cNvPr id="13" name="Rubrik 1">
            <a:extLst>
              <a:ext uri="{FF2B5EF4-FFF2-40B4-BE49-F238E27FC236}">
                <a16:creationId xmlns:a16="http://schemas.microsoft.com/office/drawing/2014/main" id="{1580DBBF-2E2C-C345-FEB7-A5B31AD12DAA}"/>
              </a:ext>
            </a:extLst>
          </p:cNvPr>
          <p:cNvSpPr>
            <a:spLocks noGrp="1"/>
          </p:cNvSpPr>
          <p:nvPr>
            <p:ph type="title" hasCustomPrompt="1"/>
          </p:nvPr>
        </p:nvSpPr>
        <p:spPr>
          <a:xfrm>
            <a:off x="567130" y="285067"/>
            <a:ext cx="5273871" cy="455830"/>
          </a:xfrm>
        </p:spPr>
        <p:txBody>
          <a:bodyPr lIns="0">
            <a:normAutofit/>
          </a:bodyPr>
          <a:lstStyle>
            <a:lvl1pPr>
              <a:defRPr sz="2100" b="0">
                <a:solidFill>
                  <a:schemeClr val="tx1"/>
                </a:solidFill>
              </a:defRPr>
            </a:lvl1pPr>
          </a:lstStyle>
          <a:p>
            <a:r>
              <a:rPr lang="nb-NO" noProof="0"/>
              <a:t>Overskrift</a:t>
            </a:r>
          </a:p>
        </p:txBody>
      </p:sp>
      <p:sp>
        <p:nvSpPr>
          <p:cNvPr id="7" name="Text Placeholder 6">
            <a:extLst>
              <a:ext uri="{FF2B5EF4-FFF2-40B4-BE49-F238E27FC236}">
                <a16:creationId xmlns:a16="http://schemas.microsoft.com/office/drawing/2014/main" id="{1B45AA6F-97DA-01F0-D746-FB6366CFD97E}"/>
              </a:ext>
            </a:extLst>
          </p:cNvPr>
          <p:cNvSpPr>
            <a:spLocks noGrp="1" noChangeAspect="1"/>
          </p:cNvSpPr>
          <p:nvPr>
            <p:ph type="body" sz="quarter" idx="13" hasCustomPrompt="1"/>
          </p:nvPr>
        </p:nvSpPr>
        <p:spPr>
          <a:xfrm>
            <a:off x="574532" y="158841"/>
            <a:ext cx="4004871" cy="176036"/>
          </a:xfrm>
          <a:prstGeom prst="rect">
            <a:avLst/>
          </a:prstGeom>
        </p:spPr>
        <p:txBody>
          <a:bodyPr lIns="0" tIns="0" rIns="0" bIns="0" anchor="b">
            <a:noAutofit/>
          </a:bodyPr>
          <a:lstStyle>
            <a:lvl1pPr marL="0" indent="0">
              <a:spcBef>
                <a:spcPts val="0"/>
              </a:spcBef>
              <a:spcAft>
                <a:spcPts val="0"/>
              </a:spcAft>
              <a:buNone/>
              <a:defRPr sz="1200" b="0" i="0" cap="none" spc="45" baseline="0">
                <a:solidFill>
                  <a:schemeClr val="tx1"/>
                </a:solidFill>
              </a:defRPr>
            </a:lvl1pPr>
            <a:lvl5pPr>
              <a:defRPr>
                <a:solidFill>
                  <a:schemeClr val="bg1"/>
                </a:solidFill>
              </a:defRPr>
            </a:lvl5pPr>
          </a:lstStyle>
          <a:p>
            <a:pPr lvl="0"/>
            <a:r>
              <a:rPr lang="nb-NO" noProof="0"/>
              <a:t>Stikktittel</a:t>
            </a:r>
          </a:p>
        </p:txBody>
      </p:sp>
    </p:spTree>
    <p:extLst>
      <p:ext uri="{BB962C8B-B14F-4D97-AF65-F5344CB8AC3E}">
        <p14:creationId xmlns:p14="http://schemas.microsoft.com/office/powerpoint/2010/main" val="104123513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 tekstkolonner - blå">
    <p:spTree>
      <p:nvGrpSpPr>
        <p:cNvPr id="1" name=""/>
        <p:cNvGrpSpPr/>
        <p:nvPr/>
      </p:nvGrpSpPr>
      <p:grpSpPr>
        <a:xfrm>
          <a:off x="0" y="0"/>
          <a:ext cx="0" cy="0"/>
          <a:chOff x="0" y="0"/>
          <a:chExt cx="0" cy="0"/>
        </a:xfrm>
      </p:grpSpPr>
      <p:sp>
        <p:nvSpPr>
          <p:cNvPr id="7" name="Rektangel: avrundede hjørner 6">
            <a:extLst>
              <a:ext uri="{FF2B5EF4-FFF2-40B4-BE49-F238E27FC236}">
                <a16:creationId xmlns:a16="http://schemas.microsoft.com/office/drawing/2014/main" id="{4A6AA6D0-747B-F93A-F1D0-18D62132F205}"/>
              </a:ext>
            </a:extLst>
          </p:cNvPr>
          <p:cNvSpPr/>
          <p:nvPr userDrawn="1"/>
        </p:nvSpPr>
        <p:spPr>
          <a:xfrm>
            <a:off x="3302302" y="1045819"/>
            <a:ext cx="2554200" cy="3768836"/>
          </a:xfrm>
          <a:prstGeom prst="roundRect">
            <a:avLst>
              <a:gd name="adj" fmla="val 4089"/>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1350"/>
          </a:p>
        </p:txBody>
      </p:sp>
      <p:sp>
        <p:nvSpPr>
          <p:cNvPr id="8" name="Rektangel: avrundede hjørner 7">
            <a:extLst>
              <a:ext uri="{FF2B5EF4-FFF2-40B4-BE49-F238E27FC236}">
                <a16:creationId xmlns:a16="http://schemas.microsoft.com/office/drawing/2014/main" id="{3C17D2CB-B9D5-41FF-908C-1267867DF4C8}"/>
              </a:ext>
            </a:extLst>
          </p:cNvPr>
          <p:cNvSpPr/>
          <p:nvPr userDrawn="1"/>
        </p:nvSpPr>
        <p:spPr>
          <a:xfrm>
            <a:off x="6047397" y="1045819"/>
            <a:ext cx="2602195" cy="3768836"/>
          </a:xfrm>
          <a:prstGeom prst="roundRect">
            <a:avLst>
              <a:gd name="adj" fmla="val 4089"/>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1350"/>
          </a:p>
        </p:txBody>
      </p:sp>
      <p:sp>
        <p:nvSpPr>
          <p:cNvPr id="6" name="Rektangel: avrundede hjørner 5">
            <a:extLst>
              <a:ext uri="{FF2B5EF4-FFF2-40B4-BE49-F238E27FC236}">
                <a16:creationId xmlns:a16="http://schemas.microsoft.com/office/drawing/2014/main" id="{E60EBFA3-0AA4-1FDC-8F0D-1AAEC670F26D}"/>
              </a:ext>
            </a:extLst>
          </p:cNvPr>
          <p:cNvSpPr/>
          <p:nvPr userDrawn="1"/>
        </p:nvSpPr>
        <p:spPr>
          <a:xfrm>
            <a:off x="557734" y="1045819"/>
            <a:ext cx="2553674" cy="3768836"/>
          </a:xfrm>
          <a:prstGeom prst="roundRect">
            <a:avLst>
              <a:gd name="adj" fmla="val 3869"/>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1350"/>
          </a:p>
        </p:txBody>
      </p:sp>
      <p:sp>
        <p:nvSpPr>
          <p:cNvPr id="2" name="TekstSylinder 1">
            <a:extLst>
              <a:ext uri="{FF2B5EF4-FFF2-40B4-BE49-F238E27FC236}">
                <a16:creationId xmlns:a16="http://schemas.microsoft.com/office/drawing/2014/main" id="{98E7C6F2-F08D-446E-96B5-8DC136609691}"/>
              </a:ext>
            </a:extLst>
          </p:cNvPr>
          <p:cNvSpPr txBox="1"/>
          <p:nvPr userDrawn="1"/>
        </p:nvSpPr>
        <p:spPr>
          <a:xfrm>
            <a:off x="8246795" y="4828493"/>
            <a:ext cx="329277" cy="207749"/>
          </a:xfrm>
          <a:prstGeom prst="rect">
            <a:avLst/>
          </a:prstGeom>
          <a:noFill/>
        </p:spPr>
        <p:txBody>
          <a:bodyPr wrap="square" rIns="0" rtlCol="0">
            <a:spAutoFit/>
          </a:bodyPr>
          <a:lstStyle/>
          <a:p>
            <a:pPr algn="r"/>
            <a:fld id="{C25C054F-90E3-43D3-9F5F-0765C525DF5A}" type="slidenum">
              <a:rPr lang="nb-NO" sz="750" smtClean="0">
                <a:solidFill>
                  <a:schemeClr val="accent2"/>
                </a:solidFill>
              </a:rPr>
              <a:pPr algn="r"/>
              <a:t>‹#›</a:t>
            </a:fld>
            <a:endParaRPr lang="nb-NO" sz="750">
              <a:solidFill>
                <a:schemeClr val="accent2"/>
              </a:solidFill>
            </a:endParaRPr>
          </a:p>
        </p:txBody>
      </p:sp>
      <p:sp>
        <p:nvSpPr>
          <p:cNvPr id="11" name="Plassholder for innhold 2">
            <a:extLst>
              <a:ext uri="{FF2B5EF4-FFF2-40B4-BE49-F238E27FC236}">
                <a16:creationId xmlns:a16="http://schemas.microsoft.com/office/drawing/2014/main" id="{6C2C7924-D99F-44BE-A783-8C8203DD1AB0}"/>
              </a:ext>
            </a:extLst>
          </p:cNvPr>
          <p:cNvSpPr>
            <a:spLocks noGrp="1"/>
          </p:cNvSpPr>
          <p:nvPr>
            <p:ph sz="half" idx="1"/>
          </p:nvPr>
        </p:nvSpPr>
        <p:spPr>
          <a:xfrm>
            <a:off x="567129" y="1045819"/>
            <a:ext cx="2529475" cy="3678602"/>
          </a:xfrm>
          <a:noFill/>
        </p:spPr>
        <p:txBody>
          <a:bodyPr lIns="108000" tIns="108000">
            <a:noAutofit/>
          </a:bodyPr>
          <a:lstStyle>
            <a:lvl1pPr marL="271463" indent="-271463">
              <a:buClr>
                <a:schemeClr val="accent2"/>
              </a:buClr>
              <a:buSzPct val="130000"/>
              <a:buFont typeface="Arial" panose="020B0604020202020204" pitchFamily="34" charset="0"/>
              <a:buChar char="■"/>
              <a:defRPr sz="1500"/>
            </a:lvl1pPr>
            <a:lvl2pPr marL="407194" indent="-135731">
              <a:buFont typeface="Arial" panose="020B0604020202020204" pitchFamily="34" charset="0"/>
              <a:buChar char="•"/>
              <a:defRPr sz="1500"/>
            </a:lvl2pPr>
            <a:lvl3pPr marL="534591" indent="-127397">
              <a:defRPr sz="1500"/>
            </a:lvl3pPr>
            <a:lvl4pPr marL="670322" indent="-135731">
              <a:buFont typeface="Arial" panose="020B0604020202020204" pitchFamily="34" charset="0"/>
              <a:buChar char="•"/>
              <a:defRPr sz="1500"/>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sp>
        <p:nvSpPr>
          <p:cNvPr id="16" name="Plassholder for innhold 2">
            <a:extLst>
              <a:ext uri="{FF2B5EF4-FFF2-40B4-BE49-F238E27FC236}">
                <a16:creationId xmlns:a16="http://schemas.microsoft.com/office/drawing/2014/main" id="{0D4776C7-D6AF-4EDB-A6F9-1D0237A82562}"/>
              </a:ext>
            </a:extLst>
          </p:cNvPr>
          <p:cNvSpPr>
            <a:spLocks noGrp="1"/>
          </p:cNvSpPr>
          <p:nvPr>
            <p:ph sz="half" idx="14"/>
          </p:nvPr>
        </p:nvSpPr>
        <p:spPr>
          <a:xfrm>
            <a:off x="3302303" y="1045819"/>
            <a:ext cx="2553674" cy="3678602"/>
          </a:xfrm>
          <a:noFill/>
        </p:spPr>
        <p:txBody>
          <a:bodyPr lIns="108000" tIns="108000">
            <a:noAutofit/>
          </a:bodyPr>
          <a:lstStyle>
            <a:lvl1pPr marL="271463" indent="-271463">
              <a:buClr>
                <a:schemeClr val="accent2"/>
              </a:buClr>
              <a:buSzPct val="130000"/>
              <a:buFont typeface="Arial" panose="020B0604020202020204" pitchFamily="34" charset="0"/>
              <a:buChar char="■"/>
              <a:defRPr sz="1500"/>
            </a:lvl1pPr>
            <a:lvl2pPr marL="407194" indent="-135731">
              <a:buFont typeface="Arial" panose="020B0604020202020204" pitchFamily="34" charset="0"/>
              <a:buChar char="•"/>
              <a:defRPr sz="1500"/>
            </a:lvl2pPr>
            <a:lvl3pPr marL="534591" indent="-127397">
              <a:defRPr sz="1500"/>
            </a:lvl3pPr>
            <a:lvl4pPr marL="670322" indent="-135731">
              <a:buFont typeface="Arial" panose="020B0604020202020204" pitchFamily="34" charset="0"/>
              <a:buChar char="•"/>
              <a:defRPr sz="1500"/>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sp>
        <p:nvSpPr>
          <p:cNvPr id="17" name="Plassholder for innhold 2">
            <a:extLst>
              <a:ext uri="{FF2B5EF4-FFF2-40B4-BE49-F238E27FC236}">
                <a16:creationId xmlns:a16="http://schemas.microsoft.com/office/drawing/2014/main" id="{B9AD7412-4E8E-4EDA-862A-A7A441463008}"/>
              </a:ext>
            </a:extLst>
          </p:cNvPr>
          <p:cNvSpPr>
            <a:spLocks noGrp="1"/>
          </p:cNvSpPr>
          <p:nvPr>
            <p:ph sz="half" idx="15"/>
          </p:nvPr>
        </p:nvSpPr>
        <p:spPr>
          <a:xfrm>
            <a:off x="6046872" y="1045819"/>
            <a:ext cx="2602195" cy="3678601"/>
          </a:xfrm>
          <a:noFill/>
        </p:spPr>
        <p:txBody>
          <a:bodyPr lIns="108000" tIns="108000">
            <a:noAutofit/>
          </a:bodyPr>
          <a:lstStyle>
            <a:lvl1pPr marL="271463" indent="-271463">
              <a:buClr>
                <a:schemeClr val="accent2"/>
              </a:buClr>
              <a:buSzPct val="130000"/>
              <a:buFont typeface="Arial" panose="020B0604020202020204" pitchFamily="34" charset="0"/>
              <a:buChar char="■"/>
              <a:defRPr sz="1500"/>
            </a:lvl1pPr>
            <a:lvl2pPr marL="407194" indent="-135731">
              <a:buFont typeface="Calibri" panose="020F0502020204030204" pitchFamily="34" charset="0"/>
              <a:buChar char="−"/>
              <a:defRPr sz="1500"/>
            </a:lvl2pPr>
            <a:lvl3pPr marL="534591" indent="-127397">
              <a:defRPr sz="1500"/>
            </a:lvl3pPr>
            <a:lvl4pPr marL="670322" indent="-135731">
              <a:buFont typeface="Arial" panose="020B0604020202020204" pitchFamily="34" charset="0"/>
              <a:buChar char="▪"/>
              <a:defRPr sz="1500"/>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sp>
        <p:nvSpPr>
          <p:cNvPr id="4" name="Rubrik 1">
            <a:extLst>
              <a:ext uri="{FF2B5EF4-FFF2-40B4-BE49-F238E27FC236}">
                <a16:creationId xmlns:a16="http://schemas.microsoft.com/office/drawing/2014/main" id="{78856C0E-C417-32D7-A24D-D4941E29B865}"/>
              </a:ext>
            </a:extLst>
          </p:cNvPr>
          <p:cNvSpPr>
            <a:spLocks noGrp="1"/>
          </p:cNvSpPr>
          <p:nvPr>
            <p:ph type="title" hasCustomPrompt="1"/>
          </p:nvPr>
        </p:nvSpPr>
        <p:spPr>
          <a:xfrm>
            <a:off x="567130" y="285067"/>
            <a:ext cx="7679666" cy="455830"/>
          </a:xfrm>
        </p:spPr>
        <p:txBody>
          <a:bodyPr lIns="0">
            <a:normAutofit/>
          </a:bodyPr>
          <a:lstStyle>
            <a:lvl1pPr>
              <a:defRPr sz="2100" b="0">
                <a:solidFill>
                  <a:schemeClr val="tx1">
                    <a:lumMod val="85000"/>
                    <a:lumOff val="15000"/>
                  </a:schemeClr>
                </a:solidFill>
              </a:defRPr>
            </a:lvl1pPr>
          </a:lstStyle>
          <a:p>
            <a:r>
              <a:rPr lang="nb-NO" noProof="0"/>
              <a:t>Overskrift</a:t>
            </a:r>
          </a:p>
        </p:txBody>
      </p:sp>
      <p:pic>
        <p:nvPicPr>
          <p:cNvPr id="5" name="Plassholder for innhold 14" descr="Et bilde som inneholder Grafikk, skjermbilde, logo, Font&#10;&#10;KI-generert innhold kan være feil.">
            <a:extLst>
              <a:ext uri="{FF2B5EF4-FFF2-40B4-BE49-F238E27FC236}">
                <a16:creationId xmlns:a16="http://schemas.microsoft.com/office/drawing/2014/main" id="{29832AB8-7685-EBF2-10AF-E4D45C9391A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414" t="-286" r="66790" b="286"/>
          <a:stretch/>
        </p:blipFill>
        <p:spPr>
          <a:xfrm>
            <a:off x="8391623" y="285066"/>
            <a:ext cx="368897" cy="455830"/>
          </a:xfrm>
          <a:prstGeom prst="rect">
            <a:avLst/>
          </a:prstGeom>
        </p:spPr>
      </p:pic>
      <p:sp>
        <p:nvSpPr>
          <p:cNvPr id="3" name="Text Placeholder 6">
            <a:extLst>
              <a:ext uri="{FF2B5EF4-FFF2-40B4-BE49-F238E27FC236}">
                <a16:creationId xmlns:a16="http://schemas.microsoft.com/office/drawing/2014/main" id="{3ECC4EF4-BFD2-CDA1-2535-E3644668C9E5}"/>
              </a:ext>
            </a:extLst>
          </p:cNvPr>
          <p:cNvSpPr>
            <a:spLocks noGrp="1" noChangeAspect="1"/>
          </p:cNvSpPr>
          <p:nvPr>
            <p:ph type="body" sz="quarter" idx="13" hasCustomPrompt="1"/>
          </p:nvPr>
        </p:nvSpPr>
        <p:spPr>
          <a:xfrm>
            <a:off x="574532" y="158841"/>
            <a:ext cx="4004871" cy="176036"/>
          </a:xfrm>
          <a:prstGeom prst="rect">
            <a:avLst/>
          </a:prstGeom>
        </p:spPr>
        <p:txBody>
          <a:bodyPr lIns="0" tIns="0" rIns="0" bIns="0" anchor="b">
            <a:noAutofit/>
          </a:bodyPr>
          <a:lstStyle>
            <a:lvl1pPr marL="0" indent="0">
              <a:spcBef>
                <a:spcPts val="0"/>
              </a:spcBef>
              <a:spcAft>
                <a:spcPts val="0"/>
              </a:spcAft>
              <a:buNone/>
              <a:defRPr sz="1200" b="0" i="0" cap="none" spc="45" baseline="0">
                <a:solidFill>
                  <a:schemeClr val="tx1"/>
                </a:solidFill>
              </a:defRPr>
            </a:lvl1pPr>
            <a:lvl5pPr>
              <a:defRPr>
                <a:solidFill>
                  <a:schemeClr val="bg1"/>
                </a:solidFill>
              </a:defRPr>
            </a:lvl5pPr>
          </a:lstStyle>
          <a:p>
            <a:pPr lvl="0"/>
            <a:r>
              <a:rPr lang="nb-NO" noProof="0"/>
              <a:t>Stikktittel</a:t>
            </a:r>
          </a:p>
        </p:txBody>
      </p:sp>
    </p:spTree>
    <p:extLst>
      <p:ext uri="{BB962C8B-B14F-4D97-AF65-F5344CB8AC3E}">
        <p14:creationId xmlns:p14="http://schemas.microsoft.com/office/powerpoint/2010/main" val="406495858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Fire tekstspalter">
    <p:spTree>
      <p:nvGrpSpPr>
        <p:cNvPr id="1" name=""/>
        <p:cNvGrpSpPr/>
        <p:nvPr/>
      </p:nvGrpSpPr>
      <p:grpSpPr>
        <a:xfrm>
          <a:off x="0" y="0"/>
          <a:ext cx="0" cy="0"/>
          <a:chOff x="0" y="0"/>
          <a:chExt cx="0" cy="0"/>
        </a:xfrm>
      </p:grpSpPr>
      <p:sp>
        <p:nvSpPr>
          <p:cNvPr id="6" name="Rektangel: avrundede hjørner 5">
            <a:extLst>
              <a:ext uri="{FF2B5EF4-FFF2-40B4-BE49-F238E27FC236}">
                <a16:creationId xmlns:a16="http://schemas.microsoft.com/office/drawing/2014/main" id="{A402C51A-56C2-D950-DD6B-C91785EE990D}"/>
              </a:ext>
            </a:extLst>
          </p:cNvPr>
          <p:cNvSpPr/>
          <p:nvPr userDrawn="1"/>
        </p:nvSpPr>
        <p:spPr>
          <a:xfrm>
            <a:off x="557734" y="1059656"/>
            <a:ext cx="1823780" cy="3724082"/>
          </a:xfrm>
          <a:prstGeom prst="roundRect">
            <a:avLst>
              <a:gd name="adj" fmla="val 5630"/>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1350"/>
          </a:p>
        </p:txBody>
      </p:sp>
      <p:sp>
        <p:nvSpPr>
          <p:cNvPr id="7" name="Rektangel: avrundede hjørner 6">
            <a:extLst>
              <a:ext uri="{FF2B5EF4-FFF2-40B4-BE49-F238E27FC236}">
                <a16:creationId xmlns:a16="http://schemas.microsoft.com/office/drawing/2014/main" id="{73B2F076-765E-0E24-27B3-2DD9E6A353C6}"/>
              </a:ext>
            </a:extLst>
          </p:cNvPr>
          <p:cNvSpPr/>
          <p:nvPr userDrawn="1"/>
        </p:nvSpPr>
        <p:spPr>
          <a:xfrm>
            <a:off x="2621059" y="1067193"/>
            <a:ext cx="1823780" cy="3724082"/>
          </a:xfrm>
          <a:prstGeom prst="roundRect">
            <a:avLst>
              <a:gd name="adj" fmla="val 532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1350"/>
          </a:p>
        </p:txBody>
      </p:sp>
      <p:sp>
        <p:nvSpPr>
          <p:cNvPr id="8" name="Rektangel: avrundede hjørner 7">
            <a:extLst>
              <a:ext uri="{FF2B5EF4-FFF2-40B4-BE49-F238E27FC236}">
                <a16:creationId xmlns:a16="http://schemas.microsoft.com/office/drawing/2014/main" id="{CA7820B2-D33A-B39C-7E6D-427445F8E0FB}"/>
              </a:ext>
            </a:extLst>
          </p:cNvPr>
          <p:cNvSpPr/>
          <p:nvPr userDrawn="1"/>
        </p:nvSpPr>
        <p:spPr>
          <a:xfrm>
            <a:off x="4684383" y="1067193"/>
            <a:ext cx="1823780" cy="3724082"/>
          </a:xfrm>
          <a:prstGeom prst="roundRect">
            <a:avLst>
              <a:gd name="adj" fmla="val 532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1350"/>
          </a:p>
        </p:txBody>
      </p:sp>
      <p:sp>
        <p:nvSpPr>
          <p:cNvPr id="9" name="Rektangel: avrundede hjørner 8">
            <a:extLst>
              <a:ext uri="{FF2B5EF4-FFF2-40B4-BE49-F238E27FC236}">
                <a16:creationId xmlns:a16="http://schemas.microsoft.com/office/drawing/2014/main" id="{AEC937D3-49F7-3FE0-86BD-E459AB372FBB}"/>
              </a:ext>
            </a:extLst>
          </p:cNvPr>
          <p:cNvSpPr/>
          <p:nvPr userDrawn="1"/>
        </p:nvSpPr>
        <p:spPr>
          <a:xfrm>
            <a:off x="6747707" y="1059655"/>
            <a:ext cx="1823780" cy="3724082"/>
          </a:xfrm>
          <a:prstGeom prst="roundRect">
            <a:avLst>
              <a:gd name="adj" fmla="val 5014"/>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1350"/>
          </a:p>
        </p:txBody>
      </p:sp>
      <p:sp>
        <p:nvSpPr>
          <p:cNvPr id="2" name="TekstSylinder 1">
            <a:extLst>
              <a:ext uri="{FF2B5EF4-FFF2-40B4-BE49-F238E27FC236}">
                <a16:creationId xmlns:a16="http://schemas.microsoft.com/office/drawing/2014/main" id="{AD77EB79-8743-4876-8E13-23C0F861E58E}"/>
              </a:ext>
            </a:extLst>
          </p:cNvPr>
          <p:cNvSpPr txBox="1"/>
          <p:nvPr userDrawn="1"/>
        </p:nvSpPr>
        <p:spPr>
          <a:xfrm>
            <a:off x="8246795" y="4828493"/>
            <a:ext cx="329277" cy="207749"/>
          </a:xfrm>
          <a:prstGeom prst="rect">
            <a:avLst/>
          </a:prstGeom>
          <a:noFill/>
        </p:spPr>
        <p:txBody>
          <a:bodyPr wrap="square" rIns="0" rtlCol="0">
            <a:spAutoFit/>
          </a:bodyPr>
          <a:lstStyle/>
          <a:p>
            <a:pPr algn="r"/>
            <a:fld id="{C25C054F-90E3-43D3-9F5F-0765C525DF5A}" type="slidenum">
              <a:rPr lang="nb-NO" sz="750" smtClean="0">
                <a:solidFill>
                  <a:schemeClr val="accent2"/>
                </a:solidFill>
              </a:rPr>
              <a:pPr algn="r"/>
              <a:t>‹#›</a:t>
            </a:fld>
            <a:endParaRPr lang="nb-NO" sz="750">
              <a:solidFill>
                <a:schemeClr val="accent2"/>
              </a:solidFill>
            </a:endParaRPr>
          </a:p>
        </p:txBody>
      </p:sp>
      <p:sp>
        <p:nvSpPr>
          <p:cNvPr id="10" name="Plassholder for innhold 2">
            <a:extLst>
              <a:ext uri="{FF2B5EF4-FFF2-40B4-BE49-F238E27FC236}">
                <a16:creationId xmlns:a16="http://schemas.microsoft.com/office/drawing/2014/main" id="{191B9173-5B50-4F08-B1C1-E070CDF56860}"/>
              </a:ext>
            </a:extLst>
          </p:cNvPr>
          <p:cNvSpPr>
            <a:spLocks noGrp="1"/>
          </p:cNvSpPr>
          <p:nvPr>
            <p:ph sz="half" idx="1"/>
          </p:nvPr>
        </p:nvSpPr>
        <p:spPr>
          <a:xfrm>
            <a:off x="557734" y="1067192"/>
            <a:ext cx="1809000" cy="3649088"/>
          </a:xfrm>
        </p:spPr>
        <p:txBody>
          <a:bodyPr lIns="108000" tIns="108000">
            <a:noAutofit/>
          </a:bodyPr>
          <a:lstStyle>
            <a:lvl1pPr marL="271463" indent="-271463">
              <a:buClr>
                <a:srgbClr val="3D9CDA"/>
              </a:buClr>
              <a:buSzPct val="130000"/>
              <a:buFont typeface="Arial" panose="020B0604020202020204" pitchFamily="34" charset="0"/>
              <a:buChar char="■"/>
              <a:defRPr sz="1500">
                <a:solidFill>
                  <a:schemeClr val="tx1"/>
                </a:solidFill>
              </a:defRPr>
            </a:lvl1pPr>
            <a:lvl2pPr marL="407194" indent="-135731">
              <a:buFont typeface="Calibri" panose="020F0502020204030204" pitchFamily="34" charset="0"/>
              <a:buChar char="−"/>
              <a:defRPr sz="1500">
                <a:solidFill>
                  <a:schemeClr val="tx1"/>
                </a:solidFill>
              </a:defRPr>
            </a:lvl2pPr>
            <a:lvl3pPr marL="534591" indent="-127397">
              <a:defRPr sz="1500">
                <a:solidFill>
                  <a:schemeClr val="tx1"/>
                </a:solidFill>
              </a:defRPr>
            </a:lvl3pPr>
            <a:lvl4pPr marL="670322" indent="-135731">
              <a:buFont typeface="Arial" panose="020B0604020202020204" pitchFamily="34" charset="0"/>
              <a:buChar char="▪"/>
              <a:defRPr sz="1500">
                <a:solidFill>
                  <a:schemeClr val="tx1"/>
                </a:solidFill>
              </a:defRPr>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sp>
        <p:nvSpPr>
          <p:cNvPr id="12" name="Plassholder for innhold 2">
            <a:extLst>
              <a:ext uri="{FF2B5EF4-FFF2-40B4-BE49-F238E27FC236}">
                <a16:creationId xmlns:a16="http://schemas.microsoft.com/office/drawing/2014/main" id="{7A2E4055-F2C3-4E98-9841-5A05708933D8}"/>
              </a:ext>
            </a:extLst>
          </p:cNvPr>
          <p:cNvSpPr>
            <a:spLocks noGrp="1"/>
          </p:cNvSpPr>
          <p:nvPr>
            <p:ph sz="half" idx="22"/>
          </p:nvPr>
        </p:nvSpPr>
        <p:spPr>
          <a:xfrm>
            <a:off x="2624167" y="1067192"/>
            <a:ext cx="1809000" cy="3656625"/>
          </a:xfrm>
        </p:spPr>
        <p:txBody>
          <a:bodyPr lIns="108000" tIns="108000">
            <a:noAutofit/>
          </a:bodyPr>
          <a:lstStyle>
            <a:lvl1pPr marL="271463" indent="-271463">
              <a:buClr>
                <a:srgbClr val="3D9CDA"/>
              </a:buClr>
              <a:buSzPct val="130000"/>
              <a:buFont typeface="Arial" panose="020B0604020202020204" pitchFamily="34" charset="0"/>
              <a:buChar char="■"/>
              <a:defRPr sz="1500">
                <a:solidFill>
                  <a:schemeClr val="tx1"/>
                </a:solidFill>
              </a:defRPr>
            </a:lvl1pPr>
            <a:lvl2pPr marL="407194" indent="-135731">
              <a:buFont typeface="Calibri" panose="020F0502020204030204" pitchFamily="34" charset="0"/>
              <a:buChar char="−"/>
              <a:defRPr sz="1500">
                <a:solidFill>
                  <a:schemeClr val="tx1"/>
                </a:solidFill>
              </a:defRPr>
            </a:lvl2pPr>
            <a:lvl3pPr marL="534591" indent="-127397">
              <a:defRPr sz="1500">
                <a:solidFill>
                  <a:schemeClr val="tx1"/>
                </a:solidFill>
              </a:defRPr>
            </a:lvl3pPr>
            <a:lvl4pPr marL="670322" indent="-135731">
              <a:buFont typeface="Arial" panose="020B0604020202020204" pitchFamily="34" charset="0"/>
              <a:buChar char="▪"/>
              <a:defRPr sz="1500">
                <a:solidFill>
                  <a:schemeClr val="tx1"/>
                </a:solidFill>
              </a:defRPr>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sp>
        <p:nvSpPr>
          <p:cNvPr id="15" name="Plassholder for innhold 2">
            <a:extLst>
              <a:ext uri="{FF2B5EF4-FFF2-40B4-BE49-F238E27FC236}">
                <a16:creationId xmlns:a16="http://schemas.microsoft.com/office/drawing/2014/main" id="{15905CB2-26C5-4D6B-93F4-B61D9697995D}"/>
              </a:ext>
            </a:extLst>
          </p:cNvPr>
          <p:cNvSpPr>
            <a:spLocks noGrp="1"/>
          </p:cNvSpPr>
          <p:nvPr>
            <p:ph sz="half" idx="23"/>
          </p:nvPr>
        </p:nvSpPr>
        <p:spPr>
          <a:xfrm>
            <a:off x="4684382" y="1070042"/>
            <a:ext cx="1809000" cy="3656625"/>
          </a:xfrm>
        </p:spPr>
        <p:txBody>
          <a:bodyPr lIns="108000" tIns="108000">
            <a:noAutofit/>
          </a:bodyPr>
          <a:lstStyle>
            <a:lvl1pPr marL="271463" indent="-271463">
              <a:buClr>
                <a:srgbClr val="3D9CDA"/>
              </a:buClr>
              <a:buSzPct val="130000"/>
              <a:buFont typeface="Arial" panose="020B0604020202020204" pitchFamily="34" charset="0"/>
              <a:buChar char="■"/>
              <a:defRPr sz="1500">
                <a:solidFill>
                  <a:schemeClr val="tx1"/>
                </a:solidFill>
              </a:defRPr>
            </a:lvl1pPr>
            <a:lvl2pPr marL="407194" indent="-135731">
              <a:buFont typeface="Calibri" panose="020F0502020204030204" pitchFamily="34" charset="0"/>
              <a:buChar char="−"/>
              <a:defRPr sz="1500">
                <a:solidFill>
                  <a:schemeClr val="tx1"/>
                </a:solidFill>
              </a:defRPr>
            </a:lvl2pPr>
            <a:lvl3pPr marL="534591" indent="-127397">
              <a:defRPr sz="1500">
                <a:solidFill>
                  <a:schemeClr val="tx1"/>
                </a:solidFill>
              </a:defRPr>
            </a:lvl3pPr>
            <a:lvl4pPr marL="670322" indent="-135731">
              <a:buFont typeface="Arial" panose="020B0604020202020204" pitchFamily="34" charset="0"/>
              <a:buChar char="▪"/>
              <a:defRPr sz="1500">
                <a:solidFill>
                  <a:schemeClr val="tx1"/>
                </a:solidFill>
              </a:defRPr>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sp>
        <p:nvSpPr>
          <p:cNvPr id="17" name="Plassholder for innhold 2">
            <a:extLst>
              <a:ext uri="{FF2B5EF4-FFF2-40B4-BE49-F238E27FC236}">
                <a16:creationId xmlns:a16="http://schemas.microsoft.com/office/drawing/2014/main" id="{FDF42647-5E3E-4F62-8DCA-4A3CA3432401}"/>
              </a:ext>
            </a:extLst>
          </p:cNvPr>
          <p:cNvSpPr>
            <a:spLocks noGrp="1"/>
          </p:cNvSpPr>
          <p:nvPr>
            <p:ph sz="half" idx="24"/>
          </p:nvPr>
        </p:nvSpPr>
        <p:spPr>
          <a:xfrm>
            <a:off x="6747707" y="1059655"/>
            <a:ext cx="1809000" cy="3656625"/>
          </a:xfrm>
        </p:spPr>
        <p:txBody>
          <a:bodyPr lIns="108000" tIns="108000">
            <a:noAutofit/>
          </a:bodyPr>
          <a:lstStyle>
            <a:lvl1pPr marL="271463" indent="-271463">
              <a:buClr>
                <a:srgbClr val="3D9CDA"/>
              </a:buClr>
              <a:buSzPct val="130000"/>
              <a:buFont typeface="Arial" panose="020B0604020202020204" pitchFamily="34" charset="0"/>
              <a:buChar char="■"/>
              <a:defRPr sz="1500">
                <a:solidFill>
                  <a:schemeClr val="tx1"/>
                </a:solidFill>
              </a:defRPr>
            </a:lvl1pPr>
            <a:lvl2pPr marL="407194" indent="-135731">
              <a:buFont typeface="Calibri" panose="020F0502020204030204" pitchFamily="34" charset="0"/>
              <a:buChar char="−"/>
              <a:defRPr sz="1500">
                <a:solidFill>
                  <a:schemeClr val="tx1"/>
                </a:solidFill>
              </a:defRPr>
            </a:lvl2pPr>
            <a:lvl3pPr marL="534591" indent="-127397">
              <a:defRPr sz="1500">
                <a:solidFill>
                  <a:schemeClr val="tx1"/>
                </a:solidFill>
              </a:defRPr>
            </a:lvl3pPr>
            <a:lvl4pPr marL="670322" indent="-135731">
              <a:buFont typeface="Arial" panose="020B0604020202020204" pitchFamily="34" charset="0"/>
              <a:buChar char="▪"/>
              <a:defRPr sz="1500">
                <a:solidFill>
                  <a:schemeClr val="tx1"/>
                </a:solidFill>
              </a:defRPr>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sp>
        <p:nvSpPr>
          <p:cNvPr id="3" name="Rubrik 1">
            <a:extLst>
              <a:ext uri="{FF2B5EF4-FFF2-40B4-BE49-F238E27FC236}">
                <a16:creationId xmlns:a16="http://schemas.microsoft.com/office/drawing/2014/main" id="{2B444F9D-3B82-D263-4C63-088A1BE70718}"/>
              </a:ext>
            </a:extLst>
          </p:cNvPr>
          <p:cNvSpPr>
            <a:spLocks noGrp="1"/>
          </p:cNvSpPr>
          <p:nvPr>
            <p:ph type="title" hasCustomPrompt="1"/>
          </p:nvPr>
        </p:nvSpPr>
        <p:spPr>
          <a:xfrm>
            <a:off x="567130" y="285067"/>
            <a:ext cx="7679666" cy="455830"/>
          </a:xfrm>
        </p:spPr>
        <p:txBody>
          <a:bodyPr lIns="0">
            <a:normAutofit/>
          </a:bodyPr>
          <a:lstStyle>
            <a:lvl1pPr>
              <a:defRPr sz="2100" b="0">
                <a:solidFill>
                  <a:schemeClr val="tx1"/>
                </a:solidFill>
              </a:defRPr>
            </a:lvl1pPr>
          </a:lstStyle>
          <a:p>
            <a:r>
              <a:rPr lang="nb-NO" noProof="0"/>
              <a:t>Overskrift</a:t>
            </a:r>
          </a:p>
        </p:txBody>
      </p:sp>
      <p:pic>
        <p:nvPicPr>
          <p:cNvPr id="4" name="Plassholder for innhold 14" descr="Et bilde som inneholder Grafikk, skjermbilde, logo, Font&#10;&#10;KI-generert innhold kan være feil.">
            <a:extLst>
              <a:ext uri="{FF2B5EF4-FFF2-40B4-BE49-F238E27FC236}">
                <a16:creationId xmlns:a16="http://schemas.microsoft.com/office/drawing/2014/main" id="{A1653387-B959-8931-20F6-91AC8B2ECFE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414" t="-286" r="66790" b="286"/>
          <a:stretch/>
        </p:blipFill>
        <p:spPr>
          <a:xfrm>
            <a:off x="8391623" y="285066"/>
            <a:ext cx="368897" cy="455830"/>
          </a:xfrm>
          <a:prstGeom prst="rect">
            <a:avLst/>
          </a:prstGeom>
        </p:spPr>
      </p:pic>
      <p:sp>
        <p:nvSpPr>
          <p:cNvPr id="5" name="Text Placeholder 6">
            <a:extLst>
              <a:ext uri="{FF2B5EF4-FFF2-40B4-BE49-F238E27FC236}">
                <a16:creationId xmlns:a16="http://schemas.microsoft.com/office/drawing/2014/main" id="{EC6BEC96-8631-1770-DBB0-F50CE24A3506}"/>
              </a:ext>
            </a:extLst>
          </p:cNvPr>
          <p:cNvSpPr>
            <a:spLocks noGrp="1" noChangeAspect="1"/>
          </p:cNvSpPr>
          <p:nvPr>
            <p:ph type="body" sz="quarter" idx="13" hasCustomPrompt="1"/>
          </p:nvPr>
        </p:nvSpPr>
        <p:spPr>
          <a:xfrm>
            <a:off x="574532" y="158841"/>
            <a:ext cx="4004871" cy="176036"/>
          </a:xfrm>
          <a:prstGeom prst="rect">
            <a:avLst/>
          </a:prstGeom>
        </p:spPr>
        <p:txBody>
          <a:bodyPr lIns="0" tIns="0" rIns="0" bIns="0" anchor="b">
            <a:noAutofit/>
          </a:bodyPr>
          <a:lstStyle>
            <a:lvl1pPr marL="0" indent="0">
              <a:spcBef>
                <a:spcPts val="0"/>
              </a:spcBef>
              <a:spcAft>
                <a:spcPts val="0"/>
              </a:spcAft>
              <a:buNone/>
              <a:defRPr sz="1200" b="0" i="0" cap="none" spc="45" baseline="0">
                <a:solidFill>
                  <a:schemeClr val="tx1"/>
                </a:solidFill>
              </a:defRPr>
            </a:lvl1pPr>
            <a:lvl5pPr>
              <a:defRPr>
                <a:solidFill>
                  <a:schemeClr val="bg1"/>
                </a:solidFill>
              </a:defRPr>
            </a:lvl5pPr>
          </a:lstStyle>
          <a:p>
            <a:pPr lvl="0"/>
            <a:r>
              <a:rPr lang="nb-NO" noProof="0"/>
              <a:t>Stikktittel</a:t>
            </a:r>
          </a:p>
        </p:txBody>
      </p:sp>
    </p:spTree>
    <p:extLst>
      <p:ext uri="{BB962C8B-B14F-4D97-AF65-F5344CB8AC3E}">
        <p14:creationId xmlns:p14="http://schemas.microsoft.com/office/powerpoint/2010/main" val="184309042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Kapittelside med tekst">
    <p:spTree>
      <p:nvGrpSpPr>
        <p:cNvPr id="1" name=""/>
        <p:cNvGrpSpPr/>
        <p:nvPr/>
      </p:nvGrpSpPr>
      <p:grpSpPr>
        <a:xfrm>
          <a:off x="0" y="0"/>
          <a:ext cx="0" cy="0"/>
          <a:chOff x="0" y="0"/>
          <a:chExt cx="0" cy="0"/>
        </a:xfrm>
      </p:grpSpPr>
      <p:pic>
        <p:nvPicPr>
          <p:cNvPr id="5" name="Bilde 4">
            <a:extLst>
              <a:ext uri="{FF2B5EF4-FFF2-40B4-BE49-F238E27FC236}">
                <a16:creationId xmlns:a16="http://schemas.microsoft.com/office/drawing/2014/main" id="{093EE271-6FA6-496E-966E-7D8B7806F19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4482846" cy="5143500"/>
          </a:xfrm>
          <a:prstGeom prst="rect">
            <a:avLst/>
          </a:prstGeom>
        </p:spPr>
      </p:pic>
      <p:sp>
        <p:nvSpPr>
          <p:cNvPr id="13" name="Rubrik 1">
            <a:extLst>
              <a:ext uri="{FF2B5EF4-FFF2-40B4-BE49-F238E27FC236}">
                <a16:creationId xmlns:a16="http://schemas.microsoft.com/office/drawing/2014/main" id="{D6009B22-8BAF-4C08-8A0B-EF95DE057143}"/>
              </a:ext>
            </a:extLst>
          </p:cNvPr>
          <p:cNvSpPr>
            <a:spLocks noGrp="1" noChangeAspect="1"/>
          </p:cNvSpPr>
          <p:nvPr>
            <p:ph type="title" hasCustomPrompt="1"/>
          </p:nvPr>
        </p:nvSpPr>
        <p:spPr>
          <a:xfrm>
            <a:off x="3277150" y="3079485"/>
            <a:ext cx="5049441" cy="455830"/>
          </a:xfrm>
        </p:spPr>
        <p:txBody>
          <a:bodyPr lIns="0">
            <a:normAutofit/>
          </a:bodyPr>
          <a:lstStyle>
            <a:lvl1pPr>
              <a:defRPr sz="2400" b="0">
                <a:solidFill>
                  <a:srgbClr val="3A3C40"/>
                </a:solidFill>
              </a:defRPr>
            </a:lvl1pPr>
          </a:lstStyle>
          <a:p>
            <a:r>
              <a:rPr lang="nb-NO" noProof="0"/>
              <a:t>Kapittelside</a:t>
            </a:r>
          </a:p>
        </p:txBody>
      </p:sp>
      <p:sp>
        <p:nvSpPr>
          <p:cNvPr id="14" name="Text Placeholder 6">
            <a:extLst>
              <a:ext uri="{FF2B5EF4-FFF2-40B4-BE49-F238E27FC236}">
                <a16:creationId xmlns:a16="http://schemas.microsoft.com/office/drawing/2014/main" id="{2E0F30A5-CA50-49C5-9E3B-23EFE9FCD2A6}"/>
              </a:ext>
            </a:extLst>
          </p:cNvPr>
          <p:cNvSpPr>
            <a:spLocks noGrp="1" noChangeAspect="1"/>
          </p:cNvSpPr>
          <p:nvPr>
            <p:ph type="body" sz="quarter" idx="13" hasCustomPrompt="1"/>
          </p:nvPr>
        </p:nvSpPr>
        <p:spPr>
          <a:xfrm>
            <a:off x="3277150" y="2778265"/>
            <a:ext cx="5070872" cy="292894"/>
          </a:xfrm>
          <a:prstGeom prst="rect">
            <a:avLst/>
          </a:prstGeom>
        </p:spPr>
        <p:txBody>
          <a:bodyPr lIns="0" anchor="b">
            <a:noAutofit/>
          </a:bodyPr>
          <a:lstStyle>
            <a:lvl1pPr marL="0" indent="0">
              <a:spcBef>
                <a:spcPts val="0"/>
              </a:spcBef>
              <a:spcAft>
                <a:spcPts val="0"/>
              </a:spcAft>
              <a:buNone/>
              <a:defRPr sz="1200" b="0" i="0" cap="none" spc="45" baseline="0">
                <a:solidFill>
                  <a:schemeClr val="tx1"/>
                </a:solidFill>
              </a:defRPr>
            </a:lvl1pPr>
            <a:lvl5pPr>
              <a:defRPr>
                <a:solidFill>
                  <a:schemeClr val="bg1"/>
                </a:solidFill>
              </a:defRPr>
            </a:lvl5pPr>
          </a:lstStyle>
          <a:p>
            <a:pPr lvl="0"/>
            <a:r>
              <a:rPr lang="nb-NO" noProof="0"/>
              <a:t>Stikktittel</a:t>
            </a:r>
          </a:p>
        </p:txBody>
      </p:sp>
      <p:pic>
        <p:nvPicPr>
          <p:cNvPr id="16" name="Bilde 15" descr="Et bilde som inneholder tegning&#10;&#10;Automatisk generert beskrivelse">
            <a:extLst>
              <a:ext uri="{FF2B5EF4-FFF2-40B4-BE49-F238E27FC236}">
                <a16:creationId xmlns:a16="http://schemas.microsoft.com/office/drawing/2014/main" id="{B6A50FEE-309B-4D6F-8C56-81506FC4FC2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16591" y="6421"/>
            <a:ext cx="1620000" cy="653333"/>
          </a:xfrm>
          <a:prstGeom prst="rect">
            <a:avLst/>
          </a:prstGeom>
        </p:spPr>
      </p:pic>
    </p:spTree>
    <p:extLst>
      <p:ext uri="{BB962C8B-B14F-4D97-AF65-F5344CB8AC3E}">
        <p14:creationId xmlns:p14="http://schemas.microsoft.com/office/powerpoint/2010/main" val="210750646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aksiden">
    <p:bg>
      <p:bgPr>
        <a:solidFill>
          <a:schemeClr val="accent1"/>
        </a:solidFill>
        <a:effectLst/>
      </p:bgPr>
    </p:bg>
    <p:spTree>
      <p:nvGrpSpPr>
        <p:cNvPr id="1" name=""/>
        <p:cNvGrpSpPr/>
        <p:nvPr/>
      </p:nvGrpSpPr>
      <p:grpSpPr>
        <a:xfrm>
          <a:off x="0" y="0"/>
          <a:ext cx="0" cy="0"/>
          <a:chOff x="0" y="0"/>
          <a:chExt cx="0" cy="0"/>
        </a:xfrm>
      </p:grpSpPr>
      <p:sp>
        <p:nvSpPr>
          <p:cNvPr id="15" name="Plassholder for bilde 14">
            <a:extLst>
              <a:ext uri="{FF2B5EF4-FFF2-40B4-BE49-F238E27FC236}">
                <a16:creationId xmlns:a16="http://schemas.microsoft.com/office/drawing/2014/main" id="{E5E68579-1414-E72C-CF69-009F07666B55}"/>
              </a:ext>
            </a:extLst>
          </p:cNvPr>
          <p:cNvSpPr>
            <a:spLocks noGrp="1"/>
          </p:cNvSpPr>
          <p:nvPr>
            <p:ph type="pic" sz="quarter" idx="10" hasCustomPrompt="1"/>
          </p:nvPr>
        </p:nvSpPr>
        <p:spPr>
          <a:xfrm>
            <a:off x="2568861" y="2322228"/>
            <a:ext cx="844734" cy="852316"/>
          </a:xfrm>
        </p:spPr>
        <p:txBody>
          <a:bodyPr>
            <a:normAutofit/>
          </a:bodyPr>
          <a:lstStyle>
            <a:lvl1pPr marL="0" indent="0">
              <a:buNone/>
              <a:defRPr sz="1350">
                <a:solidFill>
                  <a:schemeClr val="accent3"/>
                </a:solidFill>
              </a:defRPr>
            </a:lvl1pPr>
          </a:lstStyle>
          <a:p>
            <a:r>
              <a:rPr lang="nb-NO"/>
              <a:t>Lim inn bilde fra </a:t>
            </a:r>
            <a:r>
              <a:rPr lang="nb-NO" err="1"/>
              <a:t>org.kartet</a:t>
            </a:r>
            <a:endParaRPr lang="nb-NO"/>
          </a:p>
        </p:txBody>
      </p:sp>
      <p:sp>
        <p:nvSpPr>
          <p:cNvPr id="8" name="TekstSylinder 7">
            <a:extLst>
              <a:ext uri="{FF2B5EF4-FFF2-40B4-BE49-F238E27FC236}">
                <a16:creationId xmlns:a16="http://schemas.microsoft.com/office/drawing/2014/main" id="{D59FC0CF-3BDD-47E7-A0B5-ED9837113FA6}"/>
              </a:ext>
            </a:extLst>
          </p:cNvPr>
          <p:cNvSpPr txBox="1"/>
          <p:nvPr userDrawn="1"/>
        </p:nvSpPr>
        <p:spPr>
          <a:xfrm>
            <a:off x="2568862" y="4694041"/>
            <a:ext cx="4006718" cy="230832"/>
          </a:xfrm>
          <a:prstGeom prst="rect">
            <a:avLst/>
          </a:prstGeom>
          <a:noFill/>
        </p:spPr>
        <p:txBody>
          <a:bodyPr wrap="square" rtlCol="0">
            <a:spAutoFit/>
          </a:bodyPr>
          <a:lstStyle/>
          <a:p>
            <a:pPr algn="ctr"/>
            <a:r>
              <a:rPr lang="nb-NO" sz="900">
                <a:solidFill>
                  <a:schemeClr val="accent3"/>
                </a:solidFill>
                <a:latin typeface="+mn-lt"/>
              </a:rPr>
              <a:t>Bits AS  </a:t>
            </a:r>
            <a:r>
              <a:rPr lang="nb-NO" sz="900">
                <a:solidFill>
                  <a:schemeClr val="accent3"/>
                </a:solidFill>
                <a:effectLst/>
                <a:latin typeface="+mn-lt"/>
                <a:ea typeface="Aptos" panose="020B0004020202020204" pitchFamily="34" charset="0"/>
                <a:cs typeface="Times New Roman" panose="02020603050405020304" pitchFamily="18" charset="0"/>
              </a:rPr>
              <a:t>| </a:t>
            </a:r>
            <a:r>
              <a:rPr lang="nb-NO" sz="900">
                <a:solidFill>
                  <a:schemeClr val="accent3"/>
                </a:solidFill>
                <a:latin typeface="+mn-lt"/>
              </a:rPr>
              <a:t> Hansteens gate 2  </a:t>
            </a:r>
            <a:r>
              <a:rPr lang="nb-NO" sz="900">
                <a:solidFill>
                  <a:schemeClr val="accent3"/>
                </a:solidFill>
                <a:effectLst/>
                <a:latin typeface="+mn-lt"/>
                <a:ea typeface="Aptos" panose="020B0004020202020204" pitchFamily="34" charset="0"/>
                <a:cs typeface="Times New Roman" panose="02020603050405020304" pitchFamily="18" charset="0"/>
              </a:rPr>
              <a:t>|  </a:t>
            </a:r>
            <a:r>
              <a:rPr lang="nb-NO" sz="900">
                <a:solidFill>
                  <a:schemeClr val="accent3"/>
                </a:solidFill>
                <a:latin typeface="+mn-lt"/>
              </a:rPr>
              <a:t>P.O. Box 2644  </a:t>
            </a:r>
            <a:r>
              <a:rPr lang="nb-NO" sz="900">
                <a:solidFill>
                  <a:schemeClr val="accent3"/>
                </a:solidFill>
                <a:effectLst/>
                <a:latin typeface="+mn-lt"/>
                <a:ea typeface="Aptos" panose="020B0004020202020204" pitchFamily="34" charset="0"/>
                <a:cs typeface="Times New Roman" panose="02020603050405020304" pitchFamily="18" charset="0"/>
              </a:rPr>
              <a:t>|  </a:t>
            </a:r>
            <a:r>
              <a:rPr lang="nb-NO" sz="900">
                <a:solidFill>
                  <a:schemeClr val="accent3"/>
                </a:solidFill>
                <a:latin typeface="+mn-lt"/>
              </a:rPr>
              <a:t>N-0203 Oslo  </a:t>
            </a:r>
            <a:r>
              <a:rPr lang="nb-NO" sz="900">
                <a:solidFill>
                  <a:schemeClr val="accent3"/>
                </a:solidFill>
                <a:effectLst/>
                <a:latin typeface="+mn-lt"/>
                <a:ea typeface="Aptos" panose="020B0004020202020204" pitchFamily="34" charset="0"/>
                <a:cs typeface="Times New Roman" panose="02020603050405020304" pitchFamily="18" charset="0"/>
              </a:rPr>
              <a:t>|  </a:t>
            </a:r>
            <a:r>
              <a:rPr lang="nb-NO" sz="900">
                <a:solidFill>
                  <a:schemeClr val="accent3"/>
                </a:solidFill>
                <a:latin typeface="+mn-lt"/>
              </a:rPr>
              <a:t>www.bits.no</a:t>
            </a:r>
          </a:p>
        </p:txBody>
      </p:sp>
      <p:pic>
        <p:nvPicPr>
          <p:cNvPr id="10" name="Bilde 9" descr="Et bilde som inneholder Grafikk, logo, Font, grafisk design&#10;&#10;Automatisk generert beskrivelse">
            <a:extLst>
              <a:ext uri="{FF2B5EF4-FFF2-40B4-BE49-F238E27FC236}">
                <a16:creationId xmlns:a16="http://schemas.microsoft.com/office/drawing/2014/main" id="{DEF1EAF0-77F9-5671-1232-45EF23E8B7C1}"/>
              </a:ext>
            </a:extLst>
          </p:cNvPr>
          <p:cNvPicPr>
            <a:picLocks noChangeAspect="1"/>
          </p:cNvPicPr>
          <p:nvPr userDrawn="1"/>
        </p:nvPicPr>
        <p:blipFill rotWithShape="1">
          <a:blip r:embed="rId2" cstate="print">
            <a:alphaModFix amt="90000"/>
            <a:extLst>
              <a:ext uri="{28A0092B-C50C-407E-A947-70E740481C1C}">
                <a14:useLocalDpi xmlns:a14="http://schemas.microsoft.com/office/drawing/2010/main" val="0"/>
              </a:ext>
            </a:extLst>
          </a:blip>
          <a:srcRect l="21744" r="1550"/>
          <a:stretch/>
        </p:blipFill>
        <p:spPr>
          <a:xfrm>
            <a:off x="0" y="1096228"/>
            <a:ext cx="2188204" cy="3505775"/>
          </a:xfrm>
          <a:prstGeom prst="rect">
            <a:avLst/>
          </a:prstGeom>
        </p:spPr>
      </p:pic>
      <p:pic>
        <p:nvPicPr>
          <p:cNvPr id="12" name="Bilde 11" descr="Et bilde som inneholder Grafikk, logo, Font, grafisk design&#10;&#10;Automatisk generert beskrivelse">
            <a:extLst>
              <a:ext uri="{FF2B5EF4-FFF2-40B4-BE49-F238E27FC236}">
                <a16:creationId xmlns:a16="http://schemas.microsoft.com/office/drawing/2014/main" id="{B78F508A-BF81-5836-7E17-4D7B27551C2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04774" y="227575"/>
            <a:ext cx="768698" cy="319364"/>
          </a:xfrm>
          <a:prstGeom prst="rect">
            <a:avLst/>
          </a:prstGeom>
        </p:spPr>
      </p:pic>
      <p:sp>
        <p:nvSpPr>
          <p:cNvPr id="17" name="Plassholder for tekst 16">
            <a:extLst>
              <a:ext uri="{FF2B5EF4-FFF2-40B4-BE49-F238E27FC236}">
                <a16:creationId xmlns:a16="http://schemas.microsoft.com/office/drawing/2014/main" id="{9DB680F7-C1D9-2118-4C5B-86EAACEA5A44}"/>
              </a:ext>
            </a:extLst>
          </p:cNvPr>
          <p:cNvSpPr>
            <a:spLocks noGrp="1"/>
          </p:cNvSpPr>
          <p:nvPr>
            <p:ph type="body" sz="quarter" idx="11" hasCustomPrompt="1"/>
          </p:nvPr>
        </p:nvSpPr>
        <p:spPr>
          <a:xfrm>
            <a:off x="3513920" y="2326739"/>
            <a:ext cx="2052000" cy="259558"/>
          </a:xfrm>
        </p:spPr>
        <p:txBody>
          <a:bodyPr>
            <a:spAutoFit/>
          </a:bodyPr>
          <a:lstStyle>
            <a:lvl1pPr marL="0" indent="0">
              <a:buNone/>
              <a:defRPr sz="1200" b="1">
                <a:solidFill>
                  <a:schemeClr val="accent3"/>
                </a:solidFill>
                <a:latin typeface="+mj-lt"/>
              </a:defRPr>
            </a:lvl1pPr>
            <a:lvl5pPr marL="1371600" indent="0" algn="l">
              <a:buNone/>
              <a:defRPr/>
            </a:lvl5pPr>
          </a:lstStyle>
          <a:p>
            <a:pPr lvl="0"/>
            <a:r>
              <a:rPr lang="nb-NO"/>
              <a:t>Fornavn Etternavn</a:t>
            </a:r>
          </a:p>
        </p:txBody>
      </p:sp>
      <p:sp>
        <p:nvSpPr>
          <p:cNvPr id="22" name="Plassholder for tekst 16">
            <a:extLst>
              <a:ext uri="{FF2B5EF4-FFF2-40B4-BE49-F238E27FC236}">
                <a16:creationId xmlns:a16="http://schemas.microsoft.com/office/drawing/2014/main" id="{7F7724D5-434F-A7D8-B23C-ABF3D626981E}"/>
              </a:ext>
            </a:extLst>
          </p:cNvPr>
          <p:cNvSpPr>
            <a:spLocks noGrp="1"/>
          </p:cNvSpPr>
          <p:nvPr>
            <p:ph type="body" sz="quarter" idx="14" hasCustomPrompt="1"/>
          </p:nvPr>
        </p:nvSpPr>
        <p:spPr>
          <a:xfrm>
            <a:off x="3513920" y="2529751"/>
            <a:ext cx="2052000" cy="259558"/>
          </a:xfrm>
        </p:spPr>
        <p:txBody>
          <a:bodyPr>
            <a:spAutoFit/>
          </a:bodyPr>
          <a:lstStyle>
            <a:lvl1pPr marL="0" indent="0">
              <a:spcBef>
                <a:spcPts val="0"/>
              </a:spcBef>
              <a:buNone/>
              <a:defRPr sz="1200" b="0">
                <a:solidFill>
                  <a:schemeClr val="bg1"/>
                </a:solidFill>
                <a:latin typeface="+mn-lt"/>
              </a:defRPr>
            </a:lvl1pPr>
            <a:lvl5pPr marL="1371600" indent="0" algn="l">
              <a:buNone/>
              <a:defRPr/>
            </a:lvl5pPr>
          </a:lstStyle>
          <a:p>
            <a:pPr lvl="0"/>
            <a:r>
              <a:rPr lang="nb-NO"/>
              <a:t>Tittel</a:t>
            </a:r>
          </a:p>
        </p:txBody>
      </p:sp>
      <p:sp>
        <p:nvSpPr>
          <p:cNvPr id="23" name="Plassholder for tekst 16">
            <a:extLst>
              <a:ext uri="{FF2B5EF4-FFF2-40B4-BE49-F238E27FC236}">
                <a16:creationId xmlns:a16="http://schemas.microsoft.com/office/drawing/2014/main" id="{D6CF24D6-8F9A-66BC-F660-9426B3F2ED9D}"/>
              </a:ext>
            </a:extLst>
          </p:cNvPr>
          <p:cNvSpPr>
            <a:spLocks noGrp="1"/>
          </p:cNvSpPr>
          <p:nvPr>
            <p:ph type="body" sz="quarter" idx="15" hasCustomPrompt="1"/>
          </p:nvPr>
        </p:nvSpPr>
        <p:spPr>
          <a:xfrm>
            <a:off x="3513920" y="2733870"/>
            <a:ext cx="2052000" cy="259558"/>
          </a:xfrm>
        </p:spPr>
        <p:txBody>
          <a:bodyPr>
            <a:spAutoFit/>
          </a:bodyPr>
          <a:lstStyle>
            <a:lvl1pPr marL="0" indent="0">
              <a:spcBef>
                <a:spcPts val="0"/>
              </a:spcBef>
              <a:buNone/>
              <a:defRPr sz="1200" b="0">
                <a:solidFill>
                  <a:schemeClr val="bg1"/>
                </a:solidFill>
                <a:latin typeface="+mn-lt"/>
              </a:defRPr>
            </a:lvl1pPr>
            <a:lvl5pPr marL="1371600" indent="0" algn="l">
              <a:buNone/>
              <a:defRPr/>
            </a:lvl5pPr>
          </a:lstStyle>
          <a:p>
            <a:pPr lvl="0"/>
            <a:r>
              <a:rPr lang="nb-NO"/>
              <a:t>Telefon</a:t>
            </a:r>
          </a:p>
        </p:txBody>
      </p:sp>
      <p:sp>
        <p:nvSpPr>
          <p:cNvPr id="24" name="Plassholder for tekst 16">
            <a:extLst>
              <a:ext uri="{FF2B5EF4-FFF2-40B4-BE49-F238E27FC236}">
                <a16:creationId xmlns:a16="http://schemas.microsoft.com/office/drawing/2014/main" id="{4E549A7C-C44A-8B38-0FF5-817B7B7E62E6}"/>
              </a:ext>
            </a:extLst>
          </p:cNvPr>
          <p:cNvSpPr>
            <a:spLocks noGrp="1"/>
          </p:cNvSpPr>
          <p:nvPr>
            <p:ph type="body" sz="quarter" idx="16" hasCustomPrompt="1"/>
          </p:nvPr>
        </p:nvSpPr>
        <p:spPr>
          <a:xfrm>
            <a:off x="3513920" y="2937988"/>
            <a:ext cx="2052000" cy="259558"/>
          </a:xfrm>
        </p:spPr>
        <p:txBody>
          <a:bodyPr>
            <a:spAutoFit/>
          </a:bodyPr>
          <a:lstStyle>
            <a:lvl1pPr marL="0" indent="0">
              <a:spcBef>
                <a:spcPts val="0"/>
              </a:spcBef>
              <a:buNone/>
              <a:defRPr sz="1200" b="0">
                <a:solidFill>
                  <a:schemeClr val="bg1"/>
                </a:solidFill>
                <a:latin typeface="+mn-lt"/>
              </a:defRPr>
            </a:lvl1pPr>
            <a:lvl5pPr marL="1371600" indent="0" algn="l">
              <a:buNone/>
              <a:defRPr/>
            </a:lvl5pPr>
          </a:lstStyle>
          <a:p>
            <a:pPr lvl="0"/>
            <a:r>
              <a:rPr lang="nb-NO"/>
              <a:t>Epost</a:t>
            </a:r>
          </a:p>
        </p:txBody>
      </p:sp>
      <p:sp>
        <p:nvSpPr>
          <p:cNvPr id="2" name="Plassholder for bilde 14">
            <a:extLst>
              <a:ext uri="{FF2B5EF4-FFF2-40B4-BE49-F238E27FC236}">
                <a16:creationId xmlns:a16="http://schemas.microsoft.com/office/drawing/2014/main" id="{742298F1-0E7F-9317-972C-D2239AA35F93}"/>
              </a:ext>
            </a:extLst>
          </p:cNvPr>
          <p:cNvSpPr>
            <a:spLocks noGrp="1"/>
          </p:cNvSpPr>
          <p:nvPr>
            <p:ph type="pic" sz="quarter" idx="17" hasCustomPrompt="1"/>
          </p:nvPr>
        </p:nvSpPr>
        <p:spPr>
          <a:xfrm>
            <a:off x="5811248" y="2322228"/>
            <a:ext cx="844734" cy="852316"/>
          </a:xfrm>
        </p:spPr>
        <p:txBody>
          <a:bodyPr>
            <a:normAutofit/>
          </a:bodyPr>
          <a:lstStyle>
            <a:lvl1pPr marL="0" indent="0">
              <a:buNone/>
              <a:defRPr sz="1350">
                <a:solidFill>
                  <a:schemeClr val="accent3"/>
                </a:solidFill>
              </a:defRPr>
            </a:lvl1pPr>
          </a:lstStyle>
          <a:p>
            <a:r>
              <a:rPr lang="nb-NO"/>
              <a:t>Lim inn bilde fra </a:t>
            </a:r>
            <a:r>
              <a:rPr lang="nb-NO" err="1"/>
              <a:t>org.kartet</a:t>
            </a:r>
            <a:endParaRPr lang="nb-NO"/>
          </a:p>
        </p:txBody>
      </p:sp>
      <p:sp>
        <p:nvSpPr>
          <p:cNvPr id="4" name="Plassholder for tekst 16">
            <a:extLst>
              <a:ext uri="{FF2B5EF4-FFF2-40B4-BE49-F238E27FC236}">
                <a16:creationId xmlns:a16="http://schemas.microsoft.com/office/drawing/2014/main" id="{9A634E10-7271-8AA9-554F-20065920243A}"/>
              </a:ext>
            </a:extLst>
          </p:cNvPr>
          <p:cNvSpPr>
            <a:spLocks noGrp="1"/>
          </p:cNvSpPr>
          <p:nvPr>
            <p:ph type="body" sz="quarter" idx="18" hasCustomPrompt="1"/>
          </p:nvPr>
        </p:nvSpPr>
        <p:spPr>
          <a:xfrm>
            <a:off x="6756308" y="2326739"/>
            <a:ext cx="2052000" cy="259558"/>
          </a:xfrm>
        </p:spPr>
        <p:txBody>
          <a:bodyPr>
            <a:spAutoFit/>
          </a:bodyPr>
          <a:lstStyle>
            <a:lvl1pPr marL="0" indent="0">
              <a:buNone/>
              <a:defRPr sz="1200" b="1">
                <a:solidFill>
                  <a:schemeClr val="accent3"/>
                </a:solidFill>
                <a:latin typeface="+mj-lt"/>
              </a:defRPr>
            </a:lvl1pPr>
            <a:lvl5pPr marL="1371600" indent="0" algn="l">
              <a:buNone/>
              <a:defRPr/>
            </a:lvl5pPr>
          </a:lstStyle>
          <a:p>
            <a:pPr lvl="0"/>
            <a:r>
              <a:rPr lang="nb-NO"/>
              <a:t>Fornavn Etternavn</a:t>
            </a:r>
          </a:p>
        </p:txBody>
      </p:sp>
      <p:sp>
        <p:nvSpPr>
          <p:cNvPr id="7" name="Plassholder for tekst 16">
            <a:extLst>
              <a:ext uri="{FF2B5EF4-FFF2-40B4-BE49-F238E27FC236}">
                <a16:creationId xmlns:a16="http://schemas.microsoft.com/office/drawing/2014/main" id="{7F2232B9-71A6-7966-A4B6-56C636CA1690}"/>
              </a:ext>
            </a:extLst>
          </p:cNvPr>
          <p:cNvSpPr>
            <a:spLocks noGrp="1"/>
          </p:cNvSpPr>
          <p:nvPr>
            <p:ph type="body" sz="quarter" idx="19" hasCustomPrompt="1"/>
          </p:nvPr>
        </p:nvSpPr>
        <p:spPr>
          <a:xfrm>
            <a:off x="6756308" y="2529751"/>
            <a:ext cx="2052000" cy="259558"/>
          </a:xfrm>
        </p:spPr>
        <p:txBody>
          <a:bodyPr>
            <a:spAutoFit/>
          </a:bodyPr>
          <a:lstStyle>
            <a:lvl1pPr marL="0" indent="0">
              <a:spcBef>
                <a:spcPts val="0"/>
              </a:spcBef>
              <a:buNone/>
              <a:defRPr sz="1200" b="0">
                <a:solidFill>
                  <a:schemeClr val="bg1"/>
                </a:solidFill>
                <a:latin typeface="+mn-lt"/>
              </a:defRPr>
            </a:lvl1pPr>
            <a:lvl5pPr marL="1371600" indent="0" algn="l">
              <a:buNone/>
              <a:defRPr/>
            </a:lvl5pPr>
          </a:lstStyle>
          <a:p>
            <a:pPr lvl="0"/>
            <a:r>
              <a:rPr lang="nb-NO"/>
              <a:t>Tittel</a:t>
            </a:r>
          </a:p>
        </p:txBody>
      </p:sp>
      <p:sp>
        <p:nvSpPr>
          <p:cNvPr id="9" name="Plassholder for tekst 16">
            <a:extLst>
              <a:ext uri="{FF2B5EF4-FFF2-40B4-BE49-F238E27FC236}">
                <a16:creationId xmlns:a16="http://schemas.microsoft.com/office/drawing/2014/main" id="{48243F31-FD5D-2A29-4423-B381BCD506D5}"/>
              </a:ext>
            </a:extLst>
          </p:cNvPr>
          <p:cNvSpPr>
            <a:spLocks noGrp="1"/>
          </p:cNvSpPr>
          <p:nvPr>
            <p:ph type="body" sz="quarter" idx="20" hasCustomPrompt="1"/>
          </p:nvPr>
        </p:nvSpPr>
        <p:spPr>
          <a:xfrm>
            <a:off x="6756308" y="2733870"/>
            <a:ext cx="2052000" cy="259558"/>
          </a:xfrm>
        </p:spPr>
        <p:txBody>
          <a:bodyPr>
            <a:spAutoFit/>
          </a:bodyPr>
          <a:lstStyle>
            <a:lvl1pPr marL="0" indent="0">
              <a:spcBef>
                <a:spcPts val="0"/>
              </a:spcBef>
              <a:buNone/>
              <a:defRPr sz="1200" b="0">
                <a:solidFill>
                  <a:schemeClr val="bg1"/>
                </a:solidFill>
                <a:latin typeface="+mn-lt"/>
              </a:defRPr>
            </a:lvl1pPr>
            <a:lvl5pPr marL="1371600" indent="0" algn="l">
              <a:buNone/>
              <a:defRPr/>
            </a:lvl5pPr>
          </a:lstStyle>
          <a:p>
            <a:pPr lvl="0"/>
            <a:r>
              <a:rPr lang="nb-NO"/>
              <a:t>Telefon</a:t>
            </a:r>
          </a:p>
        </p:txBody>
      </p:sp>
      <p:sp>
        <p:nvSpPr>
          <p:cNvPr id="11" name="Plassholder for tekst 16">
            <a:extLst>
              <a:ext uri="{FF2B5EF4-FFF2-40B4-BE49-F238E27FC236}">
                <a16:creationId xmlns:a16="http://schemas.microsoft.com/office/drawing/2014/main" id="{3BA55173-E206-EFC0-C26F-7F096F3DA0BE}"/>
              </a:ext>
            </a:extLst>
          </p:cNvPr>
          <p:cNvSpPr>
            <a:spLocks noGrp="1"/>
          </p:cNvSpPr>
          <p:nvPr>
            <p:ph type="body" sz="quarter" idx="21" hasCustomPrompt="1"/>
          </p:nvPr>
        </p:nvSpPr>
        <p:spPr>
          <a:xfrm>
            <a:off x="6756308" y="2937988"/>
            <a:ext cx="2052000" cy="259558"/>
          </a:xfrm>
        </p:spPr>
        <p:txBody>
          <a:bodyPr>
            <a:spAutoFit/>
          </a:bodyPr>
          <a:lstStyle>
            <a:lvl1pPr marL="0" indent="0">
              <a:spcBef>
                <a:spcPts val="0"/>
              </a:spcBef>
              <a:buNone/>
              <a:defRPr sz="1200" b="0">
                <a:solidFill>
                  <a:schemeClr val="bg1"/>
                </a:solidFill>
                <a:latin typeface="+mn-lt"/>
              </a:defRPr>
            </a:lvl1pPr>
            <a:lvl5pPr marL="1371600" indent="0" algn="l">
              <a:buNone/>
              <a:defRPr/>
            </a:lvl5pPr>
          </a:lstStyle>
          <a:p>
            <a:pPr lvl="0"/>
            <a:r>
              <a:rPr lang="nb-NO"/>
              <a:t>Epost</a:t>
            </a:r>
          </a:p>
        </p:txBody>
      </p:sp>
      <p:sp>
        <p:nvSpPr>
          <p:cNvPr id="5" name="TekstSylinder 4">
            <a:extLst>
              <a:ext uri="{FF2B5EF4-FFF2-40B4-BE49-F238E27FC236}">
                <a16:creationId xmlns:a16="http://schemas.microsoft.com/office/drawing/2014/main" id="{03FD8B0B-420E-FD52-6A18-09C674B083B1}"/>
              </a:ext>
            </a:extLst>
          </p:cNvPr>
          <p:cNvSpPr txBox="1"/>
          <p:nvPr userDrawn="1"/>
        </p:nvSpPr>
        <p:spPr>
          <a:xfrm>
            <a:off x="567559" y="193756"/>
            <a:ext cx="4339650" cy="507831"/>
          </a:xfrm>
          <a:prstGeom prst="rect">
            <a:avLst/>
          </a:prstGeom>
          <a:noFill/>
        </p:spPr>
        <p:txBody>
          <a:bodyPr wrap="none" rtlCol="0">
            <a:spAutoFit/>
          </a:bodyPr>
          <a:lstStyle/>
          <a:p>
            <a:r>
              <a:rPr lang="nb-NO" sz="2700">
                <a:solidFill>
                  <a:schemeClr val="accent3"/>
                </a:solidFill>
                <a:latin typeface="+mj-lt"/>
              </a:rPr>
              <a:t>Takk for oppmerksomheten!</a:t>
            </a:r>
          </a:p>
        </p:txBody>
      </p:sp>
    </p:spTree>
    <p:extLst>
      <p:ext uri="{BB962C8B-B14F-4D97-AF65-F5344CB8AC3E}">
        <p14:creationId xmlns:p14="http://schemas.microsoft.com/office/powerpoint/2010/main" val="171728979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Smalt bilde og to kolonner ">
    <p:spTree>
      <p:nvGrpSpPr>
        <p:cNvPr id="1" name=""/>
        <p:cNvGrpSpPr/>
        <p:nvPr/>
      </p:nvGrpSpPr>
      <p:grpSpPr>
        <a:xfrm>
          <a:off x="0" y="0"/>
          <a:ext cx="0" cy="0"/>
          <a:chOff x="0" y="0"/>
          <a:chExt cx="0" cy="0"/>
        </a:xfrm>
      </p:grpSpPr>
      <p:pic>
        <p:nvPicPr>
          <p:cNvPr id="10" name="Bilde 9" descr="Et bilde som inneholder tegning&#10;&#10;Automatisk generert beskrivelse">
            <a:extLst>
              <a:ext uri="{FF2B5EF4-FFF2-40B4-BE49-F238E27FC236}">
                <a16:creationId xmlns:a16="http://schemas.microsoft.com/office/drawing/2014/main" id="{5B5B0279-74AA-43BA-9A4E-C788A7F13F1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6591" y="6421"/>
            <a:ext cx="1620000" cy="653333"/>
          </a:xfrm>
          <a:prstGeom prst="rect">
            <a:avLst/>
          </a:prstGeom>
        </p:spPr>
      </p:pic>
      <p:sp>
        <p:nvSpPr>
          <p:cNvPr id="13" name="Rubrik 1">
            <a:extLst>
              <a:ext uri="{FF2B5EF4-FFF2-40B4-BE49-F238E27FC236}">
                <a16:creationId xmlns:a16="http://schemas.microsoft.com/office/drawing/2014/main" id="{4EAB2285-6FBE-4E9C-9C08-989436DFC3AF}"/>
              </a:ext>
            </a:extLst>
          </p:cNvPr>
          <p:cNvSpPr>
            <a:spLocks noGrp="1"/>
          </p:cNvSpPr>
          <p:nvPr>
            <p:ph type="title" hasCustomPrompt="1"/>
          </p:nvPr>
        </p:nvSpPr>
        <p:spPr>
          <a:xfrm>
            <a:off x="3277715" y="222674"/>
            <a:ext cx="4156649" cy="455830"/>
          </a:xfrm>
        </p:spPr>
        <p:txBody>
          <a:bodyPr lIns="0">
            <a:normAutofit/>
          </a:bodyPr>
          <a:lstStyle>
            <a:lvl1pPr>
              <a:defRPr sz="2100" b="1">
                <a:solidFill>
                  <a:schemeClr val="accent1"/>
                </a:solidFill>
              </a:defRPr>
            </a:lvl1pPr>
          </a:lstStyle>
          <a:p>
            <a:r>
              <a:rPr lang="nb-NO" noProof="0"/>
              <a:t>Overskrift</a:t>
            </a:r>
          </a:p>
        </p:txBody>
      </p:sp>
      <p:sp>
        <p:nvSpPr>
          <p:cNvPr id="14" name="Text Placeholder 6">
            <a:extLst>
              <a:ext uri="{FF2B5EF4-FFF2-40B4-BE49-F238E27FC236}">
                <a16:creationId xmlns:a16="http://schemas.microsoft.com/office/drawing/2014/main" id="{AD9131DC-11A8-4F76-ACFD-13643168D17C}"/>
              </a:ext>
            </a:extLst>
          </p:cNvPr>
          <p:cNvSpPr>
            <a:spLocks noGrp="1"/>
          </p:cNvSpPr>
          <p:nvPr>
            <p:ph type="body" sz="quarter" idx="13" hasCustomPrompt="1"/>
          </p:nvPr>
        </p:nvSpPr>
        <p:spPr>
          <a:xfrm>
            <a:off x="3277715" y="569521"/>
            <a:ext cx="4149721" cy="292894"/>
          </a:xfrm>
          <a:prstGeom prst="rect">
            <a:avLst/>
          </a:prstGeom>
        </p:spPr>
        <p:txBody>
          <a:bodyPr lIns="0" anchor="b">
            <a:noAutofit/>
          </a:bodyPr>
          <a:lstStyle>
            <a:lvl1pPr marL="0" indent="0">
              <a:spcBef>
                <a:spcPts val="0"/>
              </a:spcBef>
              <a:spcAft>
                <a:spcPts val="0"/>
              </a:spcAft>
              <a:buNone/>
              <a:defRPr sz="1350" b="1" i="0" cap="none" spc="45" baseline="0">
                <a:solidFill>
                  <a:schemeClr val="tx1"/>
                </a:solidFill>
              </a:defRPr>
            </a:lvl1pPr>
            <a:lvl5pPr>
              <a:defRPr>
                <a:solidFill>
                  <a:schemeClr val="bg1"/>
                </a:solidFill>
              </a:defRPr>
            </a:lvl5pPr>
          </a:lstStyle>
          <a:p>
            <a:pPr lvl="0"/>
            <a:r>
              <a:rPr lang="nb-NO" noProof="0"/>
              <a:t>Underoverskrift</a:t>
            </a:r>
          </a:p>
        </p:txBody>
      </p:sp>
      <p:sp>
        <p:nvSpPr>
          <p:cNvPr id="2" name="TekstSylinder 1">
            <a:extLst>
              <a:ext uri="{FF2B5EF4-FFF2-40B4-BE49-F238E27FC236}">
                <a16:creationId xmlns:a16="http://schemas.microsoft.com/office/drawing/2014/main" id="{633047B1-EB84-4AF4-A42B-C9870F6F3877}"/>
              </a:ext>
            </a:extLst>
          </p:cNvPr>
          <p:cNvSpPr txBox="1"/>
          <p:nvPr userDrawn="1"/>
        </p:nvSpPr>
        <p:spPr>
          <a:xfrm>
            <a:off x="8246795" y="4828493"/>
            <a:ext cx="329277" cy="207749"/>
          </a:xfrm>
          <a:prstGeom prst="rect">
            <a:avLst/>
          </a:prstGeom>
          <a:noFill/>
        </p:spPr>
        <p:txBody>
          <a:bodyPr wrap="square" rIns="0" rtlCol="0">
            <a:spAutoFit/>
          </a:bodyPr>
          <a:lstStyle/>
          <a:p>
            <a:pPr algn="r"/>
            <a:fld id="{C25C054F-90E3-43D3-9F5F-0765C525DF5A}" type="slidenum">
              <a:rPr lang="nb-NO" sz="750" smtClean="0">
                <a:solidFill>
                  <a:schemeClr val="accent1"/>
                </a:solidFill>
              </a:rPr>
              <a:pPr algn="r"/>
              <a:t>‹#›</a:t>
            </a:fld>
            <a:endParaRPr lang="nb-NO" sz="750">
              <a:solidFill>
                <a:schemeClr val="accent1"/>
              </a:solidFill>
            </a:endParaRPr>
          </a:p>
        </p:txBody>
      </p:sp>
      <p:sp>
        <p:nvSpPr>
          <p:cNvPr id="9" name="Plassholder for innhold 2">
            <a:extLst>
              <a:ext uri="{FF2B5EF4-FFF2-40B4-BE49-F238E27FC236}">
                <a16:creationId xmlns:a16="http://schemas.microsoft.com/office/drawing/2014/main" id="{CAE96C54-4B6F-4BBA-BA52-6142DE68FFDA}"/>
              </a:ext>
            </a:extLst>
          </p:cNvPr>
          <p:cNvSpPr>
            <a:spLocks noGrp="1"/>
          </p:cNvSpPr>
          <p:nvPr>
            <p:ph sz="half" idx="1"/>
          </p:nvPr>
        </p:nvSpPr>
        <p:spPr>
          <a:xfrm>
            <a:off x="5973719" y="1067979"/>
            <a:ext cx="2592000" cy="3601538"/>
          </a:xfrm>
        </p:spPr>
        <p:txBody>
          <a:bodyPr lIns="0">
            <a:normAutofit/>
          </a:bodyPr>
          <a:lstStyle>
            <a:lvl1pPr marL="271463" indent="-271463">
              <a:buClr>
                <a:schemeClr val="tx2"/>
              </a:buClr>
              <a:buSzPct val="130000"/>
              <a:buFont typeface="Arial" panose="020B0604020202020204" pitchFamily="34" charset="0"/>
              <a:buChar char="■"/>
              <a:defRPr sz="1500"/>
            </a:lvl1pPr>
            <a:lvl2pPr marL="407194" indent="-135731">
              <a:buFont typeface="Calibri" panose="020F0502020204030204" pitchFamily="34" charset="0"/>
              <a:buChar char="−"/>
              <a:defRPr sz="1200"/>
            </a:lvl2pPr>
            <a:lvl3pPr marL="534591" indent="-127397">
              <a:defRPr sz="1200"/>
            </a:lvl3pPr>
            <a:lvl4pPr marL="670322" indent="-135731">
              <a:buFont typeface="Arial" panose="020B0604020202020204" pitchFamily="34" charset="0"/>
              <a:buChar char="▪"/>
              <a:defRPr sz="1200"/>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sp>
        <p:nvSpPr>
          <p:cNvPr id="12" name="Plassholder for innhold 2">
            <a:extLst>
              <a:ext uri="{FF2B5EF4-FFF2-40B4-BE49-F238E27FC236}">
                <a16:creationId xmlns:a16="http://schemas.microsoft.com/office/drawing/2014/main" id="{DF3F635F-CBD0-40E7-B43C-B80E3831F23C}"/>
              </a:ext>
            </a:extLst>
          </p:cNvPr>
          <p:cNvSpPr>
            <a:spLocks noGrp="1"/>
          </p:cNvSpPr>
          <p:nvPr>
            <p:ph sz="half" idx="16"/>
          </p:nvPr>
        </p:nvSpPr>
        <p:spPr>
          <a:xfrm>
            <a:off x="3278865" y="1067979"/>
            <a:ext cx="2590850" cy="3601538"/>
          </a:xfrm>
        </p:spPr>
        <p:txBody>
          <a:bodyPr lIns="0">
            <a:normAutofit/>
          </a:bodyPr>
          <a:lstStyle>
            <a:lvl1pPr marL="271463" indent="-271463">
              <a:buClr>
                <a:schemeClr val="tx2"/>
              </a:buClr>
              <a:buSzPct val="130000"/>
              <a:buFont typeface="Arial" panose="020B0604020202020204" pitchFamily="34" charset="0"/>
              <a:buChar char="■"/>
              <a:defRPr sz="1500"/>
            </a:lvl1pPr>
            <a:lvl2pPr marL="407194" indent="-135731">
              <a:buFont typeface="Calibri" panose="020F0502020204030204" pitchFamily="34" charset="0"/>
              <a:buChar char="−"/>
              <a:defRPr sz="1200"/>
            </a:lvl2pPr>
            <a:lvl3pPr marL="534591" indent="-127397">
              <a:defRPr sz="1200"/>
            </a:lvl3pPr>
            <a:lvl4pPr marL="670322" indent="-135731">
              <a:buFont typeface="Arial" panose="020B0604020202020204" pitchFamily="34" charset="0"/>
              <a:buChar char="▪"/>
              <a:defRPr sz="1200"/>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pic>
        <p:nvPicPr>
          <p:cNvPr id="4" name="Bilde 3">
            <a:extLst>
              <a:ext uri="{FF2B5EF4-FFF2-40B4-BE49-F238E27FC236}">
                <a16:creationId xmlns:a16="http://schemas.microsoft.com/office/drawing/2014/main" id="{EF15BAFB-C5CC-4787-9A76-C72B373282C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0" y="0"/>
            <a:ext cx="3084817" cy="5143500"/>
          </a:xfrm>
          <a:prstGeom prst="rect">
            <a:avLst/>
          </a:prstGeom>
        </p:spPr>
      </p:pic>
    </p:spTree>
    <p:extLst>
      <p:ext uri="{BB962C8B-B14F-4D97-AF65-F5344CB8AC3E}">
        <p14:creationId xmlns:p14="http://schemas.microsoft.com/office/powerpoint/2010/main" val="19812519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Agenda/Innhold - 2">
    <p:spTree>
      <p:nvGrpSpPr>
        <p:cNvPr id="1" name=""/>
        <p:cNvGrpSpPr/>
        <p:nvPr/>
      </p:nvGrpSpPr>
      <p:grpSpPr>
        <a:xfrm>
          <a:off x="0" y="0"/>
          <a:ext cx="0" cy="0"/>
          <a:chOff x="0" y="0"/>
          <a:chExt cx="0" cy="0"/>
        </a:xfrm>
      </p:grpSpPr>
      <p:pic>
        <p:nvPicPr>
          <p:cNvPr id="2" name="Bilde 1" descr="Et bilde som inneholder mat&#10;&#10;Automatisk generert beskrivelse">
            <a:extLst>
              <a:ext uri="{FF2B5EF4-FFF2-40B4-BE49-F238E27FC236}">
                <a16:creationId xmlns:a16="http://schemas.microsoft.com/office/drawing/2014/main" id="{5B7FD247-2EBC-4D30-B2FA-3A868C3E3EC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Rubrik 1">
            <a:extLst>
              <a:ext uri="{FF2B5EF4-FFF2-40B4-BE49-F238E27FC236}">
                <a16:creationId xmlns:a16="http://schemas.microsoft.com/office/drawing/2014/main" id="{ABCF65A8-1736-4B01-8369-15F6222F5702}"/>
              </a:ext>
            </a:extLst>
          </p:cNvPr>
          <p:cNvSpPr>
            <a:spLocks noGrp="1"/>
          </p:cNvSpPr>
          <p:nvPr>
            <p:ph type="title" hasCustomPrompt="1"/>
          </p:nvPr>
        </p:nvSpPr>
        <p:spPr>
          <a:xfrm>
            <a:off x="567559" y="221457"/>
            <a:ext cx="8008883" cy="450056"/>
          </a:xfrm>
        </p:spPr>
        <p:txBody>
          <a:bodyPr lIns="0">
            <a:normAutofit/>
          </a:bodyPr>
          <a:lstStyle>
            <a:lvl1pPr>
              <a:defRPr sz="2100" b="1">
                <a:solidFill>
                  <a:schemeClr val="accent1"/>
                </a:solidFill>
              </a:defRPr>
            </a:lvl1pPr>
          </a:lstStyle>
          <a:p>
            <a:r>
              <a:rPr lang="nb-NO" noProof="0"/>
              <a:t>Innhold</a:t>
            </a:r>
          </a:p>
        </p:txBody>
      </p:sp>
      <p:sp>
        <p:nvSpPr>
          <p:cNvPr id="5" name="Plassholder for innhold 2">
            <a:extLst>
              <a:ext uri="{FF2B5EF4-FFF2-40B4-BE49-F238E27FC236}">
                <a16:creationId xmlns:a16="http://schemas.microsoft.com/office/drawing/2014/main" id="{ACC5D81B-6C25-4C34-8C17-447CC3D413F2}"/>
              </a:ext>
            </a:extLst>
          </p:cNvPr>
          <p:cNvSpPr>
            <a:spLocks noGrp="1"/>
          </p:cNvSpPr>
          <p:nvPr>
            <p:ph sz="half" idx="14"/>
          </p:nvPr>
        </p:nvSpPr>
        <p:spPr>
          <a:xfrm>
            <a:off x="567559" y="1059656"/>
            <a:ext cx="8008943" cy="3507027"/>
          </a:xfrm>
        </p:spPr>
        <p:txBody>
          <a:bodyPr lIns="0">
            <a:normAutofit/>
          </a:bodyPr>
          <a:lstStyle>
            <a:lvl1pPr marL="271463" indent="-271463">
              <a:lnSpc>
                <a:spcPts val="1620"/>
              </a:lnSpc>
              <a:buClr>
                <a:schemeClr val="tx2"/>
              </a:buClr>
              <a:buSzPct val="100000"/>
              <a:buFont typeface="+mj-lt"/>
              <a:buAutoNum type="arabicPeriod"/>
              <a:defRPr sz="1500">
                <a:solidFill>
                  <a:schemeClr val="tx2"/>
                </a:solidFill>
              </a:defRPr>
            </a:lvl1pPr>
            <a:lvl2pPr marL="407194" indent="-135731">
              <a:lnSpc>
                <a:spcPts val="1620"/>
              </a:lnSpc>
              <a:buClr>
                <a:schemeClr val="tx1"/>
              </a:buClr>
              <a:buFont typeface="Calibri" panose="020F0502020204030204" pitchFamily="34" charset="0"/>
              <a:buChar char="−"/>
              <a:defRPr sz="1200">
                <a:solidFill>
                  <a:schemeClr val="tx2"/>
                </a:solidFill>
              </a:defRPr>
            </a:lvl2pPr>
            <a:lvl3pPr marL="534591" indent="-127397">
              <a:lnSpc>
                <a:spcPts val="1620"/>
              </a:lnSpc>
              <a:buClr>
                <a:schemeClr val="tx1"/>
              </a:buClr>
              <a:defRPr sz="1200">
                <a:solidFill>
                  <a:schemeClr val="tx2"/>
                </a:solidFill>
              </a:defRPr>
            </a:lvl3pPr>
            <a:lvl4pPr marL="670322" indent="-135731">
              <a:lnSpc>
                <a:spcPts val="1620"/>
              </a:lnSpc>
              <a:buClr>
                <a:schemeClr val="tx1"/>
              </a:buClr>
              <a:buFont typeface="Arial" panose="020B0604020202020204" pitchFamily="34" charset="0"/>
              <a:buChar char="▪"/>
              <a:defRPr sz="1200">
                <a:solidFill>
                  <a:schemeClr val="tx2"/>
                </a:solidFill>
              </a:defRPr>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spTree>
    <p:extLst>
      <p:ext uri="{BB962C8B-B14F-4D97-AF65-F5344CB8AC3E}">
        <p14:creationId xmlns:p14="http://schemas.microsoft.com/office/powerpoint/2010/main" val="103384186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2_Standard to kolonner">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03A9327F-317D-4108-A6F1-7E5A31D4E5EC}"/>
              </a:ext>
            </a:extLst>
          </p:cNvPr>
          <p:cNvSpPr>
            <a:spLocks noGrp="1"/>
          </p:cNvSpPr>
          <p:nvPr>
            <p:ph type="body" sz="quarter" idx="13" hasCustomPrompt="1"/>
          </p:nvPr>
        </p:nvSpPr>
        <p:spPr>
          <a:xfrm>
            <a:off x="567047" y="576817"/>
            <a:ext cx="6854798" cy="292894"/>
          </a:xfrm>
          <a:prstGeom prst="rect">
            <a:avLst/>
          </a:prstGeom>
        </p:spPr>
        <p:txBody>
          <a:bodyPr lIns="0" anchor="b">
            <a:noAutofit/>
          </a:bodyPr>
          <a:lstStyle>
            <a:lvl1pPr marL="0" indent="0">
              <a:spcBef>
                <a:spcPts val="0"/>
              </a:spcBef>
              <a:spcAft>
                <a:spcPts val="0"/>
              </a:spcAft>
              <a:buNone/>
              <a:defRPr sz="1350" b="1" i="0" cap="none" spc="45" baseline="0">
                <a:solidFill>
                  <a:schemeClr val="tx1"/>
                </a:solidFill>
              </a:defRPr>
            </a:lvl1pPr>
            <a:lvl5pPr>
              <a:defRPr>
                <a:solidFill>
                  <a:schemeClr val="bg1"/>
                </a:solidFill>
              </a:defRPr>
            </a:lvl5pPr>
          </a:lstStyle>
          <a:p>
            <a:pPr lvl="0"/>
            <a:r>
              <a:rPr lang="nb-NO" noProof="0"/>
              <a:t>Underoverskrift</a:t>
            </a:r>
          </a:p>
        </p:txBody>
      </p:sp>
      <p:pic>
        <p:nvPicPr>
          <p:cNvPr id="13" name="Bilde 12" descr="Et bilde som inneholder tegning&#10;&#10;Automatisk generert beskrivelse">
            <a:extLst>
              <a:ext uri="{FF2B5EF4-FFF2-40B4-BE49-F238E27FC236}">
                <a16:creationId xmlns:a16="http://schemas.microsoft.com/office/drawing/2014/main" id="{FD8A2E3B-D0AC-43DA-87EE-A643C7E50AB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16591" y="6421"/>
            <a:ext cx="1620000" cy="653333"/>
          </a:xfrm>
          <a:prstGeom prst="rect">
            <a:avLst/>
          </a:prstGeom>
        </p:spPr>
      </p:pic>
      <p:sp>
        <p:nvSpPr>
          <p:cNvPr id="2" name="TekstSylinder 1">
            <a:extLst>
              <a:ext uri="{FF2B5EF4-FFF2-40B4-BE49-F238E27FC236}">
                <a16:creationId xmlns:a16="http://schemas.microsoft.com/office/drawing/2014/main" id="{D771AF1C-FDE2-4B76-8893-FC459A658A1A}"/>
              </a:ext>
            </a:extLst>
          </p:cNvPr>
          <p:cNvSpPr txBox="1"/>
          <p:nvPr userDrawn="1"/>
        </p:nvSpPr>
        <p:spPr>
          <a:xfrm>
            <a:off x="8246795" y="4828493"/>
            <a:ext cx="329277" cy="207749"/>
          </a:xfrm>
          <a:prstGeom prst="rect">
            <a:avLst/>
          </a:prstGeom>
          <a:noFill/>
        </p:spPr>
        <p:txBody>
          <a:bodyPr wrap="square" rIns="0" rtlCol="0">
            <a:spAutoFit/>
          </a:bodyPr>
          <a:lstStyle/>
          <a:p>
            <a:pPr algn="r"/>
            <a:fld id="{C25C054F-90E3-43D3-9F5F-0765C525DF5A}" type="slidenum">
              <a:rPr lang="nb-NO" sz="750" smtClean="0">
                <a:solidFill>
                  <a:schemeClr val="accent1"/>
                </a:solidFill>
              </a:rPr>
              <a:pPr algn="r"/>
              <a:t>‹#›</a:t>
            </a:fld>
            <a:endParaRPr lang="nb-NO" sz="750">
              <a:solidFill>
                <a:schemeClr val="accent1"/>
              </a:solidFill>
            </a:endParaRPr>
          </a:p>
        </p:txBody>
      </p:sp>
      <p:sp>
        <p:nvSpPr>
          <p:cNvPr id="8" name="Plassholder for innhold 2">
            <a:extLst>
              <a:ext uri="{FF2B5EF4-FFF2-40B4-BE49-F238E27FC236}">
                <a16:creationId xmlns:a16="http://schemas.microsoft.com/office/drawing/2014/main" id="{13C07267-C4F6-45E4-B794-064CD7274ACB}"/>
              </a:ext>
            </a:extLst>
          </p:cNvPr>
          <p:cNvSpPr>
            <a:spLocks noGrp="1"/>
          </p:cNvSpPr>
          <p:nvPr>
            <p:ph sz="half" idx="1"/>
          </p:nvPr>
        </p:nvSpPr>
        <p:spPr>
          <a:xfrm>
            <a:off x="567476" y="1067192"/>
            <a:ext cx="3911567" cy="3507027"/>
          </a:xfrm>
        </p:spPr>
        <p:txBody>
          <a:bodyPr lIns="0">
            <a:normAutofit/>
          </a:bodyPr>
          <a:lstStyle>
            <a:lvl1pPr marL="271463" indent="-271463">
              <a:buClr>
                <a:schemeClr val="tx2"/>
              </a:buClr>
              <a:buSzPct val="130000"/>
              <a:buFont typeface="Arial" panose="020B0604020202020204" pitchFamily="34" charset="0"/>
              <a:buChar char="■"/>
              <a:defRPr sz="1500"/>
            </a:lvl1pPr>
            <a:lvl2pPr marL="407194" indent="-135731">
              <a:buFont typeface="Calibri" panose="020F0502020204030204" pitchFamily="34" charset="0"/>
              <a:buChar char="−"/>
              <a:defRPr sz="1200"/>
            </a:lvl2pPr>
            <a:lvl3pPr marL="534591" indent="-127397">
              <a:defRPr sz="1200"/>
            </a:lvl3pPr>
            <a:lvl4pPr marL="670322" indent="-135731">
              <a:buFont typeface="Arial" panose="020B0604020202020204" pitchFamily="34" charset="0"/>
              <a:buChar char="▪"/>
              <a:defRPr sz="1200"/>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sp>
        <p:nvSpPr>
          <p:cNvPr id="9" name="Plassholder for innhold 2">
            <a:extLst>
              <a:ext uri="{FF2B5EF4-FFF2-40B4-BE49-F238E27FC236}">
                <a16:creationId xmlns:a16="http://schemas.microsoft.com/office/drawing/2014/main" id="{000347F6-D596-4F5F-8BDD-1D8EA8695CC9}"/>
              </a:ext>
            </a:extLst>
          </p:cNvPr>
          <p:cNvSpPr>
            <a:spLocks noGrp="1"/>
          </p:cNvSpPr>
          <p:nvPr>
            <p:ph sz="half" idx="14"/>
          </p:nvPr>
        </p:nvSpPr>
        <p:spPr>
          <a:xfrm>
            <a:off x="4654794" y="1067192"/>
            <a:ext cx="3911567" cy="3507027"/>
          </a:xfrm>
        </p:spPr>
        <p:txBody>
          <a:bodyPr lIns="0">
            <a:normAutofit/>
          </a:bodyPr>
          <a:lstStyle>
            <a:lvl1pPr marL="271463" indent="-271463">
              <a:buClr>
                <a:schemeClr val="tx2"/>
              </a:buClr>
              <a:buSzPct val="130000"/>
              <a:buFont typeface="Arial" panose="020B0604020202020204" pitchFamily="34" charset="0"/>
              <a:buChar char="■"/>
              <a:defRPr sz="1500"/>
            </a:lvl1pPr>
            <a:lvl2pPr marL="407194" indent="-135731">
              <a:buFont typeface="Calibri" panose="020F0502020204030204" pitchFamily="34" charset="0"/>
              <a:buChar char="−"/>
              <a:defRPr sz="1200"/>
            </a:lvl2pPr>
            <a:lvl3pPr marL="534591" indent="-127397">
              <a:defRPr sz="1200"/>
            </a:lvl3pPr>
            <a:lvl4pPr marL="670322" indent="-135731">
              <a:buFont typeface="Arial" panose="020B0604020202020204" pitchFamily="34" charset="0"/>
              <a:buChar char="▪"/>
              <a:defRPr sz="1200"/>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spTree>
    <p:extLst>
      <p:ext uri="{BB962C8B-B14F-4D97-AF65-F5344CB8AC3E}">
        <p14:creationId xmlns:p14="http://schemas.microsoft.com/office/powerpoint/2010/main" val="90926287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Enkel forside">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65BAAEB5-4CF3-476F-857A-FE5A9CC7718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tel 1">
            <a:extLst>
              <a:ext uri="{FF2B5EF4-FFF2-40B4-BE49-F238E27FC236}">
                <a16:creationId xmlns:a16="http://schemas.microsoft.com/office/drawing/2014/main" id="{5FC0B021-E38A-438B-BDE9-47406CAF08A9}"/>
              </a:ext>
            </a:extLst>
          </p:cNvPr>
          <p:cNvSpPr>
            <a:spLocks noGrp="1"/>
          </p:cNvSpPr>
          <p:nvPr>
            <p:ph type="ctrTitle"/>
          </p:nvPr>
        </p:nvSpPr>
        <p:spPr>
          <a:xfrm>
            <a:off x="566890" y="1553993"/>
            <a:ext cx="7441406" cy="810588"/>
          </a:xfrm>
        </p:spPr>
        <p:txBody>
          <a:bodyPr lIns="0" anchor="b">
            <a:noAutofit/>
          </a:bodyPr>
          <a:lstStyle>
            <a:lvl1pPr algn="l">
              <a:defRPr sz="2400" b="1">
                <a:solidFill>
                  <a:schemeClr val="accent1"/>
                </a:solidFill>
              </a:defRPr>
            </a:lvl1pPr>
          </a:lstStyle>
          <a:p>
            <a:r>
              <a:rPr lang="nb-NO"/>
              <a:t>Klikk for å redigere tittelstil</a:t>
            </a:r>
          </a:p>
        </p:txBody>
      </p:sp>
      <p:sp>
        <p:nvSpPr>
          <p:cNvPr id="13" name="Plassholder for dato 3">
            <a:extLst>
              <a:ext uri="{FF2B5EF4-FFF2-40B4-BE49-F238E27FC236}">
                <a16:creationId xmlns:a16="http://schemas.microsoft.com/office/drawing/2014/main" id="{025293C0-6807-497B-A8CD-F2D0BBF9D7F9}"/>
              </a:ext>
            </a:extLst>
          </p:cNvPr>
          <p:cNvSpPr>
            <a:spLocks noGrp="1"/>
          </p:cNvSpPr>
          <p:nvPr>
            <p:ph type="dt" sz="half" idx="2"/>
          </p:nvPr>
        </p:nvSpPr>
        <p:spPr>
          <a:xfrm>
            <a:off x="564509" y="1063380"/>
            <a:ext cx="2057400" cy="273844"/>
          </a:xfrm>
          <a:prstGeom prst="rect">
            <a:avLst/>
          </a:prstGeom>
        </p:spPr>
        <p:txBody>
          <a:bodyPr vert="horz" lIns="0" tIns="45720" rIns="91440" bIns="45720" rtlCol="0" anchor="ctr"/>
          <a:lstStyle>
            <a:lvl1pPr algn="l">
              <a:defRPr sz="1200">
                <a:solidFill>
                  <a:schemeClr val="tx1"/>
                </a:solidFill>
              </a:defRPr>
            </a:lvl1pPr>
          </a:lstStyle>
          <a:p>
            <a:r>
              <a:rPr lang="sv-SE"/>
              <a:t>26/03/2026</a:t>
            </a:r>
            <a:endParaRPr lang="nb-NO"/>
          </a:p>
        </p:txBody>
      </p:sp>
      <p:sp>
        <p:nvSpPr>
          <p:cNvPr id="6" name="Picture Placeholder 8">
            <a:extLst>
              <a:ext uri="{FF2B5EF4-FFF2-40B4-BE49-F238E27FC236}">
                <a16:creationId xmlns:a16="http://schemas.microsoft.com/office/drawing/2014/main" id="{5460A878-8677-4C40-83A8-93B605584208}"/>
              </a:ext>
            </a:extLst>
          </p:cNvPr>
          <p:cNvSpPr>
            <a:spLocks noGrp="1"/>
          </p:cNvSpPr>
          <p:nvPr>
            <p:ph type="pic" sz="quarter" idx="13" hasCustomPrompt="1"/>
          </p:nvPr>
        </p:nvSpPr>
        <p:spPr>
          <a:xfrm>
            <a:off x="559594" y="215436"/>
            <a:ext cx="3069752" cy="196208"/>
          </a:xfrm>
          <a:prstGeom prst="rect">
            <a:avLst/>
          </a:prstGeom>
          <a:noFill/>
          <a:ln>
            <a:solidFill>
              <a:schemeClr val="bg1"/>
            </a:solidFill>
          </a:ln>
        </p:spPr>
        <p:txBody>
          <a:bodyPr wrap="square" lIns="0">
            <a:spAutoFit/>
          </a:bodyPr>
          <a:lstStyle>
            <a:lvl1pPr marL="0" indent="0">
              <a:buNone/>
              <a:defRPr sz="750"/>
            </a:lvl1pPr>
          </a:lstStyle>
          <a:p>
            <a:r>
              <a:rPr lang="nb-NO" noProof="0"/>
              <a:t>Klikk i feltet og lim inn TLP </a:t>
            </a:r>
          </a:p>
        </p:txBody>
      </p:sp>
    </p:spTree>
    <p:extLst>
      <p:ext uri="{BB962C8B-B14F-4D97-AF65-F5344CB8AC3E}">
        <p14:creationId xmlns:p14="http://schemas.microsoft.com/office/powerpoint/2010/main" val="42458155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1 Cyan">
    <p:spTree>
      <p:nvGrpSpPr>
        <p:cNvPr id="1" name=""/>
        <p:cNvGrpSpPr/>
        <p:nvPr/>
      </p:nvGrpSpPr>
      <p:grpSpPr>
        <a:xfrm>
          <a:off x="0" y="0"/>
          <a:ext cx="0" cy="0"/>
          <a:chOff x="0" y="0"/>
          <a:chExt cx="0" cy="0"/>
        </a:xfrm>
      </p:grpSpPr>
      <p:sp>
        <p:nvSpPr>
          <p:cNvPr id="20" name="Rektangel 19"/>
          <p:cNvSpPr/>
          <p:nvPr userDrawn="1"/>
        </p:nvSpPr>
        <p:spPr>
          <a:xfrm>
            <a:off x="4572000" y="0"/>
            <a:ext cx="4572000" cy="5143500"/>
          </a:xfrm>
          <a:prstGeom prst="rect">
            <a:avLst/>
          </a:prstGeom>
          <a:solidFill>
            <a:schemeClr val="accent5"/>
          </a:solidFill>
          <a:ln>
            <a:noFill/>
          </a:ln>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sv-SE"/>
          </a:p>
        </p:txBody>
      </p:sp>
      <p:grpSp>
        <p:nvGrpSpPr>
          <p:cNvPr id="22" name="Grupp 21">
            <a:extLst>
              <a:ext uri="{FF2B5EF4-FFF2-40B4-BE49-F238E27FC236}">
                <a16:creationId xmlns:a16="http://schemas.microsoft.com/office/drawing/2014/main" id="{58A4F037-5372-4F50-AB2C-80E4F015FDE0}"/>
              </a:ext>
            </a:extLst>
          </p:cNvPr>
          <p:cNvGrpSpPr/>
          <p:nvPr userDrawn="1"/>
        </p:nvGrpSpPr>
        <p:grpSpPr>
          <a:xfrm>
            <a:off x="4099911" y="-1785593"/>
            <a:ext cx="8908892" cy="8714685"/>
            <a:chOff x="3589405" y="387640"/>
            <a:chExt cx="5873827" cy="5872463"/>
          </a:xfrm>
          <a:solidFill>
            <a:schemeClr val="bg1">
              <a:alpha val="10000"/>
            </a:schemeClr>
          </a:solidFill>
        </p:grpSpPr>
        <p:sp>
          <p:nvSpPr>
            <p:cNvPr id="23" name="Freeform 5">
              <a:extLst>
                <a:ext uri="{FF2B5EF4-FFF2-40B4-BE49-F238E27FC236}">
                  <a16:creationId xmlns:a16="http://schemas.microsoft.com/office/drawing/2014/main" id="{7C1D4E85-F2CE-4336-8CC8-25E235311297}"/>
                </a:ext>
              </a:extLst>
            </p:cNvPr>
            <p:cNvSpPr>
              <a:spLocks/>
            </p:cNvSpPr>
            <p:nvPr/>
          </p:nvSpPr>
          <p:spPr bwMode="auto">
            <a:xfrm>
              <a:off x="3871774" y="678194"/>
              <a:ext cx="1392749" cy="1400934"/>
            </a:xfrm>
            <a:custGeom>
              <a:avLst/>
              <a:gdLst>
                <a:gd name="T0" fmla="*/ 2096 w 2096"/>
                <a:gd name="T1" fmla="*/ 0 h 2108"/>
                <a:gd name="T2" fmla="*/ 877 w 2096"/>
                <a:gd name="T3" fmla="*/ 863 h 2108"/>
                <a:gd name="T4" fmla="*/ 0 w 2096"/>
                <a:gd name="T5" fmla="*/ 2108 h 2108"/>
                <a:gd name="T6" fmla="*/ 981 w 2096"/>
                <a:gd name="T7" fmla="*/ 948 h 2108"/>
                <a:gd name="T8" fmla="*/ 2096 w 2096"/>
                <a:gd name="T9" fmla="*/ 0 h 2108"/>
              </a:gdLst>
              <a:ahLst/>
              <a:cxnLst>
                <a:cxn ang="0">
                  <a:pos x="T0" y="T1"/>
                </a:cxn>
                <a:cxn ang="0">
                  <a:pos x="T2" y="T3"/>
                </a:cxn>
                <a:cxn ang="0">
                  <a:pos x="T4" y="T5"/>
                </a:cxn>
                <a:cxn ang="0">
                  <a:pos x="T6" y="T7"/>
                </a:cxn>
                <a:cxn ang="0">
                  <a:pos x="T8" y="T9"/>
                </a:cxn>
              </a:cxnLst>
              <a:rect l="0" t="0" r="r" b="b"/>
              <a:pathLst>
                <a:path w="2096" h="2108">
                  <a:moveTo>
                    <a:pt x="2096" y="0"/>
                  </a:moveTo>
                  <a:cubicBezTo>
                    <a:pt x="1655" y="211"/>
                    <a:pt x="1242" y="498"/>
                    <a:pt x="877" y="863"/>
                  </a:cubicBezTo>
                  <a:cubicBezTo>
                    <a:pt x="504" y="1235"/>
                    <a:pt x="213" y="1658"/>
                    <a:pt x="0" y="2108"/>
                  </a:cubicBezTo>
                  <a:cubicBezTo>
                    <a:pt x="254" y="1741"/>
                    <a:pt x="588" y="1343"/>
                    <a:pt x="981" y="948"/>
                  </a:cubicBezTo>
                  <a:cubicBezTo>
                    <a:pt x="1360" y="571"/>
                    <a:pt x="1741" y="249"/>
                    <a:pt x="209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4" name="Freeform 6">
              <a:extLst>
                <a:ext uri="{FF2B5EF4-FFF2-40B4-BE49-F238E27FC236}">
                  <a16:creationId xmlns:a16="http://schemas.microsoft.com/office/drawing/2014/main" id="{AAC8634F-3E34-4168-8D60-19B3A00C0D81}"/>
                </a:ext>
              </a:extLst>
            </p:cNvPr>
            <p:cNvSpPr>
              <a:spLocks/>
            </p:cNvSpPr>
            <p:nvPr/>
          </p:nvSpPr>
          <p:spPr bwMode="auto">
            <a:xfrm>
              <a:off x="3635784" y="435383"/>
              <a:ext cx="2381724" cy="2399457"/>
            </a:xfrm>
            <a:custGeom>
              <a:avLst/>
              <a:gdLst>
                <a:gd name="T0" fmla="*/ 446 w 3585"/>
                <a:gd name="T1" fmla="*/ 2866 h 3609"/>
                <a:gd name="T2" fmla="*/ 484 w 3585"/>
                <a:gd name="T3" fmla="*/ 2811 h 3609"/>
                <a:gd name="T4" fmla="*/ 1565 w 3585"/>
                <a:gd name="T5" fmla="*/ 1541 h 3609"/>
                <a:gd name="T6" fmla="*/ 2835 w 3585"/>
                <a:gd name="T7" fmla="*/ 460 h 3609"/>
                <a:gd name="T8" fmla="*/ 2891 w 3585"/>
                <a:gd name="T9" fmla="*/ 422 h 3609"/>
                <a:gd name="T10" fmla="*/ 2945 w 3585"/>
                <a:gd name="T11" fmla="*/ 385 h 3609"/>
                <a:gd name="T12" fmla="*/ 3585 w 3585"/>
                <a:gd name="T13" fmla="*/ 0 h 3609"/>
                <a:gd name="T14" fmla="*/ 3071 w 3585"/>
                <a:gd name="T15" fmla="*/ 123 h 3609"/>
                <a:gd name="T16" fmla="*/ 2863 w 3585"/>
                <a:gd name="T17" fmla="*/ 239 h 3609"/>
                <a:gd name="T18" fmla="*/ 2809 w 3585"/>
                <a:gd name="T19" fmla="*/ 272 h 3609"/>
                <a:gd name="T20" fmla="*/ 2752 w 3585"/>
                <a:gd name="T21" fmla="*/ 307 h 3609"/>
                <a:gd name="T22" fmla="*/ 1420 w 3585"/>
                <a:gd name="T23" fmla="*/ 1396 h 3609"/>
                <a:gd name="T24" fmla="*/ 331 w 3585"/>
                <a:gd name="T25" fmla="*/ 2728 h 3609"/>
                <a:gd name="T26" fmla="*/ 296 w 3585"/>
                <a:gd name="T27" fmla="*/ 2785 h 3609"/>
                <a:gd name="T28" fmla="*/ 263 w 3585"/>
                <a:gd name="T29" fmla="*/ 2839 h 3609"/>
                <a:gd name="T30" fmla="*/ 113 w 3585"/>
                <a:gd name="T31" fmla="*/ 3114 h 3609"/>
                <a:gd name="T32" fmla="*/ 0 w 3585"/>
                <a:gd name="T33" fmla="*/ 3609 h 3609"/>
                <a:gd name="T34" fmla="*/ 408 w 3585"/>
                <a:gd name="T35" fmla="*/ 2921 h 3609"/>
                <a:gd name="T36" fmla="*/ 446 w 3585"/>
                <a:gd name="T37" fmla="*/ 2866 h 3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85" h="3609">
                  <a:moveTo>
                    <a:pt x="446" y="2866"/>
                  </a:moveTo>
                  <a:cubicBezTo>
                    <a:pt x="459" y="2848"/>
                    <a:pt x="471" y="2830"/>
                    <a:pt x="484" y="2811"/>
                  </a:cubicBezTo>
                  <a:cubicBezTo>
                    <a:pt x="775" y="2399"/>
                    <a:pt x="1141" y="1966"/>
                    <a:pt x="1565" y="1541"/>
                  </a:cubicBezTo>
                  <a:cubicBezTo>
                    <a:pt x="1990" y="1117"/>
                    <a:pt x="2423" y="751"/>
                    <a:pt x="2835" y="460"/>
                  </a:cubicBezTo>
                  <a:cubicBezTo>
                    <a:pt x="2854" y="447"/>
                    <a:pt x="2872" y="435"/>
                    <a:pt x="2891" y="422"/>
                  </a:cubicBezTo>
                  <a:cubicBezTo>
                    <a:pt x="2909" y="409"/>
                    <a:pt x="2927" y="397"/>
                    <a:pt x="2945" y="385"/>
                  </a:cubicBezTo>
                  <a:cubicBezTo>
                    <a:pt x="3167" y="233"/>
                    <a:pt x="3382" y="104"/>
                    <a:pt x="3585" y="0"/>
                  </a:cubicBezTo>
                  <a:cubicBezTo>
                    <a:pt x="3412" y="31"/>
                    <a:pt x="3240" y="72"/>
                    <a:pt x="3071" y="123"/>
                  </a:cubicBezTo>
                  <a:cubicBezTo>
                    <a:pt x="3004" y="158"/>
                    <a:pt x="2935" y="196"/>
                    <a:pt x="2863" y="239"/>
                  </a:cubicBezTo>
                  <a:cubicBezTo>
                    <a:pt x="2845" y="249"/>
                    <a:pt x="2827" y="261"/>
                    <a:pt x="2809" y="272"/>
                  </a:cubicBezTo>
                  <a:cubicBezTo>
                    <a:pt x="2790" y="284"/>
                    <a:pt x="2771" y="294"/>
                    <a:pt x="2752" y="307"/>
                  </a:cubicBezTo>
                  <a:cubicBezTo>
                    <a:pt x="2343" y="565"/>
                    <a:pt x="1875" y="939"/>
                    <a:pt x="1420" y="1396"/>
                  </a:cubicBezTo>
                  <a:cubicBezTo>
                    <a:pt x="963" y="1851"/>
                    <a:pt x="589" y="2319"/>
                    <a:pt x="331" y="2728"/>
                  </a:cubicBezTo>
                  <a:cubicBezTo>
                    <a:pt x="318" y="2747"/>
                    <a:pt x="308" y="2766"/>
                    <a:pt x="296" y="2785"/>
                  </a:cubicBezTo>
                  <a:cubicBezTo>
                    <a:pt x="285" y="2803"/>
                    <a:pt x="273" y="2821"/>
                    <a:pt x="263" y="2839"/>
                  </a:cubicBezTo>
                  <a:cubicBezTo>
                    <a:pt x="205" y="2935"/>
                    <a:pt x="156" y="3027"/>
                    <a:pt x="113" y="3114"/>
                  </a:cubicBezTo>
                  <a:cubicBezTo>
                    <a:pt x="65" y="3277"/>
                    <a:pt x="28" y="3443"/>
                    <a:pt x="0" y="3609"/>
                  </a:cubicBezTo>
                  <a:cubicBezTo>
                    <a:pt x="107" y="3392"/>
                    <a:pt x="245" y="3161"/>
                    <a:pt x="408" y="2921"/>
                  </a:cubicBezTo>
                  <a:cubicBezTo>
                    <a:pt x="421" y="2903"/>
                    <a:pt x="433" y="2885"/>
                    <a:pt x="446" y="28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5" name="Freeform 7">
              <a:extLst>
                <a:ext uri="{FF2B5EF4-FFF2-40B4-BE49-F238E27FC236}">
                  <a16:creationId xmlns:a16="http://schemas.microsoft.com/office/drawing/2014/main" id="{1044E1AF-5D57-4C57-A718-661729CA160C}"/>
                </a:ext>
              </a:extLst>
            </p:cNvPr>
            <p:cNvSpPr>
              <a:spLocks/>
            </p:cNvSpPr>
            <p:nvPr/>
          </p:nvSpPr>
          <p:spPr bwMode="auto">
            <a:xfrm>
              <a:off x="3589405" y="387640"/>
              <a:ext cx="3051498" cy="3077416"/>
            </a:xfrm>
            <a:custGeom>
              <a:avLst/>
              <a:gdLst>
                <a:gd name="T0" fmla="*/ 267 w 4592"/>
                <a:gd name="T1" fmla="*/ 4024 h 4629"/>
                <a:gd name="T2" fmla="*/ 1026 w 4592"/>
                <a:gd name="T3" fmla="*/ 2858 h 4629"/>
                <a:gd name="T4" fmla="*/ 1121 w 4592"/>
                <a:gd name="T5" fmla="*/ 2738 h 4629"/>
                <a:gd name="T6" fmla="*/ 1236 w 4592"/>
                <a:gd name="T7" fmla="*/ 2597 h 4629"/>
                <a:gd name="T8" fmla="*/ 1896 w 4592"/>
                <a:gd name="T9" fmla="*/ 1875 h 4629"/>
                <a:gd name="T10" fmla="*/ 2618 w 4592"/>
                <a:gd name="T11" fmla="*/ 1215 h 4629"/>
                <a:gd name="T12" fmla="*/ 2759 w 4592"/>
                <a:gd name="T13" fmla="*/ 1101 h 4629"/>
                <a:gd name="T14" fmla="*/ 2878 w 4592"/>
                <a:gd name="T15" fmla="*/ 1006 h 4629"/>
                <a:gd name="T16" fmla="*/ 4045 w 4592"/>
                <a:gd name="T17" fmla="*/ 246 h 4629"/>
                <a:gd name="T18" fmla="*/ 4104 w 4592"/>
                <a:gd name="T19" fmla="*/ 217 h 4629"/>
                <a:gd name="T20" fmla="*/ 4159 w 4592"/>
                <a:gd name="T21" fmla="*/ 189 h 4629"/>
                <a:gd name="T22" fmla="*/ 4592 w 4592"/>
                <a:gd name="T23" fmla="*/ 6 h 4629"/>
                <a:gd name="T24" fmla="*/ 4098 w 4592"/>
                <a:gd name="T25" fmla="*/ 16 h 4629"/>
                <a:gd name="T26" fmla="*/ 4059 w 4592"/>
                <a:gd name="T27" fmla="*/ 19 h 4629"/>
                <a:gd name="T28" fmla="*/ 4034 w 4592"/>
                <a:gd name="T29" fmla="*/ 29 h 4629"/>
                <a:gd name="T30" fmla="*/ 3987 w 4592"/>
                <a:gd name="T31" fmla="*/ 49 h 4629"/>
                <a:gd name="T32" fmla="*/ 3976 w 4592"/>
                <a:gd name="T33" fmla="*/ 53 h 4629"/>
                <a:gd name="T34" fmla="*/ 3018 w 4592"/>
                <a:gd name="T35" fmla="*/ 598 h 4629"/>
                <a:gd name="T36" fmla="*/ 2950 w 4592"/>
                <a:gd name="T37" fmla="*/ 644 h 4629"/>
                <a:gd name="T38" fmla="*/ 2877 w 4592"/>
                <a:gd name="T39" fmla="*/ 698 h 4629"/>
                <a:gd name="T40" fmla="*/ 1717 w 4592"/>
                <a:gd name="T41" fmla="*/ 1696 h 4629"/>
                <a:gd name="T42" fmla="*/ 718 w 4592"/>
                <a:gd name="T43" fmla="*/ 2856 h 4629"/>
                <a:gd name="T44" fmla="*/ 665 w 4592"/>
                <a:gd name="T45" fmla="*/ 2929 h 4629"/>
                <a:gd name="T46" fmla="*/ 618 w 4592"/>
                <a:gd name="T47" fmla="*/ 2997 h 4629"/>
                <a:gd name="T48" fmla="*/ 74 w 4592"/>
                <a:gd name="T49" fmla="*/ 3955 h 4629"/>
                <a:gd name="T50" fmla="*/ 50 w 4592"/>
                <a:gd name="T51" fmla="*/ 4013 h 4629"/>
                <a:gd name="T52" fmla="*/ 28 w 4592"/>
                <a:gd name="T53" fmla="*/ 4070 h 4629"/>
                <a:gd name="T54" fmla="*/ 17 w 4592"/>
                <a:gd name="T55" fmla="*/ 4101 h 4629"/>
                <a:gd name="T56" fmla="*/ 8 w 4592"/>
                <a:gd name="T57" fmla="*/ 4629 h 4629"/>
                <a:gd name="T58" fmla="*/ 210 w 4592"/>
                <a:gd name="T59" fmla="*/ 4138 h 4629"/>
                <a:gd name="T60" fmla="*/ 238 w 4592"/>
                <a:gd name="T61" fmla="*/ 4083 h 4629"/>
                <a:gd name="T62" fmla="*/ 267 w 4592"/>
                <a:gd name="T63" fmla="*/ 4024 h 4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92" h="4629">
                  <a:moveTo>
                    <a:pt x="267" y="4024"/>
                  </a:moveTo>
                  <a:cubicBezTo>
                    <a:pt x="457" y="3655"/>
                    <a:pt x="713" y="3259"/>
                    <a:pt x="1026" y="2858"/>
                  </a:cubicBezTo>
                  <a:cubicBezTo>
                    <a:pt x="1057" y="2818"/>
                    <a:pt x="1089" y="2778"/>
                    <a:pt x="1121" y="2738"/>
                  </a:cubicBezTo>
                  <a:cubicBezTo>
                    <a:pt x="1159" y="2691"/>
                    <a:pt x="1197" y="2644"/>
                    <a:pt x="1236" y="2597"/>
                  </a:cubicBezTo>
                  <a:cubicBezTo>
                    <a:pt x="1437" y="2356"/>
                    <a:pt x="1658" y="2114"/>
                    <a:pt x="1896" y="1875"/>
                  </a:cubicBezTo>
                  <a:cubicBezTo>
                    <a:pt x="2134" y="1637"/>
                    <a:pt x="2376" y="1417"/>
                    <a:pt x="2618" y="1215"/>
                  </a:cubicBezTo>
                  <a:cubicBezTo>
                    <a:pt x="2665" y="1176"/>
                    <a:pt x="2712" y="1138"/>
                    <a:pt x="2759" y="1101"/>
                  </a:cubicBezTo>
                  <a:cubicBezTo>
                    <a:pt x="2799" y="1068"/>
                    <a:pt x="2839" y="1037"/>
                    <a:pt x="2878" y="1006"/>
                  </a:cubicBezTo>
                  <a:cubicBezTo>
                    <a:pt x="3280" y="693"/>
                    <a:pt x="3675" y="437"/>
                    <a:pt x="4045" y="246"/>
                  </a:cubicBezTo>
                  <a:cubicBezTo>
                    <a:pt x="4065" y="236"/>
                    <a:pt x="4084" y="226"/>
                    <a:pt x="4104" y="217"/>
                  </a:cubicBezTo>
                  <a:cubicBezTo>
                    <a:pt x="4122" y="208"/>
                    <a:pt x="4141" y="198"/>
                    <a:pt x="4159" y="189"/>
                  </a:cubicBezTo>
                  <a:cubicBezTo>
                    <a:pt x="4309" y="116"/>
                    <a:pt x="4453" y="55"/>
                    <a:pt x="4592" y="6"/>
                  </a:cubicBezTo>
                  <a:cubicBezTo>
                    <a:pt x="4427" y="0"/>
                    <a:pt x="4262" y="3"/>
                    <a:pt x="4098" y="16"/>
                  </a:cubicBezTo>
                  <a:cubicBezTo>
                    <a:pt x="4085" y="17"/>
                    <a:pt x="4072" y="18"/>
                    <a:pt x="4059" y="19"/>
                  </a:cubicBezTo>
                  <a:cubicBezTo>
                    <a:pt x="4051" y="22"/>
                    <a:pt x="4043" y="26"/>
                    <a:pt x="4034" y="29"/>
                  </a:cubicBezTo>
                  <a:cubicBezTo>
                    <a:pt x="4019" y="35"/>
                    <a:pt x="4003" y="42"/>
                    <a:pt x="3987" y="49"/>
                  </a:cubicBezTo>
                  <a:cubicBezTo>
                    <a:pt x="3983" y="50"/>
                    <a:pt x="3980" y="51"/>
                    <a:pt x="3976" y="53"/>
                  </a:cubicBezTo>
                  <a:cubicBezTo>
                    <a:pt x="3689" y="174"/>
                    <a:pt x="3362" y="358"/>
                    <a:pt x="3018" y="598"/>
                  </a:cubicBezTo>
                  <a:cubicBezTo>
                    <a:pt x="2995" y="613"/>
                    <a:pt x="2973" y="628"/>
                    <a:pt x="2950" y="644"/>
                  </a:cubicBezTo>
                  <a:cubicBezTo>
                    <a:pt x="2926" y="661"/>
                    <a:pt x="2902" y="680"/>
                    <a:pt x="2877" y="698"/>
                  </a:cubicBezTo>
                  <a:cubicBezTo>
                    <a:pt x="2499" y="973"/>
                    <a:pt x="2103" y="1309"/>
                    <a:pt x="1717" y="1696"/>
                  </a:cubicBezTo>
                  <a:cubicBezTo>
                    <a:pt x="1330" y="2082"/>
                    <a:pt x="994" y="2478"/>
                    <a:pt x="718" y="2856"/>
                  </a:cubicBezTo>
                  <a:cubicBezTo>
                    <a:pt x="701" y="2881"/>
                    <a:pt x="682" y="2905"/>
                    <a:pt x="665" y="2929"/>
                  </a:cubicBezTo>
                  <a:cubicBezTo>
                    <a:pt x="649" y="2952"/>
                    <a:pt x="634" y="2974"/>
                    <a:pt x="618" y="2997"/>
                  </a:cubicBezTo>
                  <a:cubicBezTo>
                    <a:pt x="379" y="3341"/>
                    <a:pt x="195" y="3668"/>
                    <a:pt x="74" y="3955"/>
                  </a:cubicBezTo>
                  <a:cubicBezTo>
                    <a:pt x="66" y="3975"/>
                    <a:pt x="57" y="3994"/>
                    <a:pt x="50" y="4013"/>
                  </a:cubicBezTo>
                  <a:cubicBezTo>
                    <a:pt x="42" y="4032"/>
                    <a:pt x="35" y="4051"/>
                    <a:pt x="28" y="4070"/>
                  </a:cubicBezTo>
                  <a:cubicBezTo>
                    <a:pt x="24" y="4080"/>
                    <a:pt x="21" y="4090"/>
                    <a:pt x="17" y="4101"/>
                  </a:cubicBezTo>
                  <a:cubicBezTo>
                    <a:pt x="4" y="4276"/>
                    <a:pt x="0" y="4452"/>
                    <a:pt x="8" y="4629"/>
                  </a:cubicBezTo>
                  <a:cubicBezTo>
                    <a:pt x="60" y="4472"/>
                    <a:pt x="127" y="4309"/>
                    <a:pt x="210" y="4138"/>
                  </a:cubicBezTo>
                  <a:cubicBezTo>
                    <a:pt x="219" y="4120"/>
                    <a:pt x="228" y="4101"/>
                    <a:pt x="238" y="4083"/>
                  </a:cubicBezTo>
                  <a:cubicBezTo>
                    <a:pt x="247" y="4063"/>
                    <a:pt x="257" y="4044"/>
                    <a:pt x="267" y="40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6" name="Freeform 8">
              <a:extLst>
                <a:ext uri="{FF2B5EF4-FFF2-40B4-BE49-F238E27FC236}">
                  <a16:creationId xmlns:a16="http://schemas.microsoft.com/office/drawing/2014/main" id="{3377C1A4-0564-4448-BF92-C18ABDBCE824}"/>
                </a:ext>
              </a:extLst>
            </p:cNvPr>
            <p:cNvSpPr>
              <a:spLocks/>
            </p:cNvSpPr>
            <p:nvPr/>
          </p:nvSpPr>
          <p:spPr bwMode="auto">
            <a:xfrm>
              <a:off x="3736728" y="524050"/>
              <a:ext cx="4067755" cy="4096401"/>
            </a:xfrm>
            <a:custGeom>
              <a:avLst/>
              <a:gdLst>
                <a:gd name="T0" fmla="*/ 711 w 6120"/>
                <a:gd name="T1" fmla="*/ 4802 h 6162"/>
                <a:gd name="T2" fmla="*/ 755 w 6120"/>
                <a:gd name="T3" fmla="*/ 4721 h 6162"/>
                <a:gd name="T4" fmla="*/ 2492 w 6120"/>
                <a:gd name="T5" fmla="*/ 2487 h 6162"/>
                <a:gd name="T6" fmla="*/ 4726 w 6120"/>
                <a:gd name="T7" fmla="*/ 750 h 6162"/>
                <a:gd name="T8" fmla="*/ 4807 w 6120"/>
                <a:gd name="T9" fmla="*/ 706 h 6162"/>
                <a:gd name="T10" fmla="*/ 4883 w 6120"/>
                <a:gd name="T11" fmla="*/ 666 h 6162"/>
                <a:gd name="T12" fmla="*/ 5747 w 6120"/>
                <a:gd name="T13" fmla="*/ 308 h 6162"/>
                <a:gd name="T14" fmla="*/ 5804 w 6120"/>
                <a:gd name="T15" fmla="*/ 292 h 6162"/>
                <a:gd name="T16" fmla="*/ 5862 w 6120"/>
                <a:gd name="T17" fmla="*/ 276 h 6162"/>
                <a:gd name="T18" fmla="*/ 6120 w 6120"/>
                <a:gd name="T19" fmla="*/ 226 h 6162"/>
                <a:gd name="T20" fmla="*/ 5817 w 6120"/>
                <a:gd name="T21" fmla="*/ 96 h 6162"/>
                <a:gd name="T22" fmla="*/ 5740 w 6120"/>
                <a:gd name="T23" fmla="*/ 67 h 6162"/>
                <a:gd name="T24" fmla="*/ 5659 w 6120"/>
                <a:gd name="T25" fmla="*/ 37 h 6162"/>
                <a:gd name="T26" fmla="*/ 5541 w 6120"/>
                <a:gd name="T27" fmla="*/ 0 h 6162"/>
                <a:gd name="T28" fmla="*/ 4988 w 6120"/>
                <a:gd name="T29" fmla="*/ 131 h 6162"/>
                <a:gd name="T30" fmla="*/ 4928 w 6120"/>
                <a:gd name="T31" fmla="*/ 153 h 6162"/>
                <a:gd name="T32" fmla="*/ 4868 w 6120"/>
                <a:gd name="T33" fmla="*/ 175 h 6162"/>
                <a:gd name="T34" fmla="*/ 3700 w 6120"/>
                <a:gd name="T35" fmla="*/ 791 h 6162"/>
                <a:gd name="T36" fmla="*/ 3593 w 6120"/>
                <a:gd name="T37" fmla="*/ 862 h 6162"/>
                <a:gd name="T38" fmla="*/ 3473 w 6120"/>
                <a:gd name="T39" fmla="*/ 946 h 6162"/>
                <a:gd name="T40" fmla="*/ 2108 w 6120"/>
                <a:gd name="T41" fmla="*/ 2103 h 6162"/>
                <a:gd name="T42" fmla="*/ 951 w 6120"/>
                <a:gd name="T43" fmla="*/ 3469 h 6162"/>
                <a:gd name="T44" fmla="*/ 866 w 6120"/>
                <a:gd name="T45" fmla="*/ 3588 h 6162"/>
                <a:gd name="T46" fmla="*/ 796 w 6120"/>
                <a:gd name="T47" fmla="*/ 3695 h 6162"/>
                <a:gd name="T48" fmla="*/ 180 w 6120"/>
                <a:gd name="T49" fmla="*/ 4863 h 6162"/>
                <a:gd name="T50" fmla="*/ 157 w 6120"/>
                <a:gd name="T51" fmla="*/ 4924 h 6162"/>
                <a:gd name="T52" fmla="*/ 136 w 6120"/>
                <a:gd name="T53" fmla="*/ 4983 h 6162"/>
                <a:gd name="T54" fmla="*/ 0 w 6120"/>
                <a:gd name="T55" fmla="*/ 5601 h 6162"/>
                <a:gd name="T56" fmla="*/ 9 w 6120"/>
                <a:gd name="T57" fmla="*/ 5631 h 6162"/>
                <a:gd name="T58" fmla="*/ 39 w 6120"/>
                <a:gd name="T59" fmla="*/ 5719 h 6162"/>
                <a:gd name="T60" fmla="*/ 69 w 6120"/>
                <a:gd name="T61" fmla="*/ 5799 h 6162"/>
                <a:gd name="T62" fmla="*/ 225 w 6120"/>
                <a:gd name="T63" fmla="*/ 6162 h 6162"/>
                <a:gd name="T64" fmla="*/ 282 w 6120"/>
                <a:gd name="T65" fmla="*/ 5857 h 6162"/>
                <a:gd name="T66" fmla="*/ 297 w 6120"/>
                <a:gd name="T67" fmla="*/ 5799 h 6162"/>
                <a:gd name="T68" fmla="*/ 313 w 6120"/>
                <a:gd name="T69" fmla="*/ 5742 h 6162"/>
                <a:gd name="T70" fmla="*/ 671 w 6120"/>
                <a:gd name="T71" fmla="*/ 4877 h 6162"/>
                <a:gd name="T72" fmla="*/ 711 w 6120"/>
                <a:gd name="T73" fmla="*/ 4802 h 6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20" h="6162">
                  <a:moveTo>
                    <a:pt x="711" y="4802"/>
                  </a:moveTo>
                  <a:cubicBezTo>
                    <a:pt x="726" y="4775"/>
                    <a:pt x="740" y="4748"/>
                    <a:pt x="755" y="4721"/>
                  </a:cubicBezTo>
                  <a:cubicBezTo>
                    <a:pt x="1151" y="4012"/>
                    <a:pt x="1746" y="3234"/>
                    <a:pt x="2492" y="2487"/>
                  </a:cubicBezTo>
                  <a:cubicBezTo>
                    <a:pt x="3239" y="1741"/>
                    <a:pt x="4017" y="1146"/>
                    <a:pt x="4726" y="750"/>
                  </a:cubicBezTo>
                  <a:cubicBezTo>
                    <a:pt x="4753" y="735"/>
                    <a:pt x="4780" y="721"/>
                    <a:pt x="4807" y="706"/>
                  </a:cubicBezTo>
                  <a:cubicBezTo>
                    <a:pt x="4832" y="693"/>
                    <a:pt x="4857" y="679"/>
                    <a:pt x="4883" y="666"/>
                  </a:cubicBezTo>
                  <a:cubicBezTo>
                    <a:pt x="5189" y="506"/>
                    <a:pt x="5480" y="385"/>
                    <a:pt x="5747" y="308"/>
                  </a:cubicBezTo>
                  <a:cubicBezTo>
                    <a:pt x="5766" y="302"/>
                    <a:pt x="5785" y="297"/>
                    <a:pt x="5804" y="292"/>
                  </a:cubicBezTo>
                  <a:cubicBezTo>
                    <a:pt x="5824" y="286"/>
                    <a:pt x="5843" y="281"/>
                    <a:pt x="5862" y="276"/>
                  </a:cubicBezTo>
                  <a:cubicBezTo>
                    <a:pt x="5951" y="254"/>
                    <a:pt x="6037" y="238"/>
                    <a:pt x="6120" y="226"/>
                  </a:cubicBezTo>
                  <a:cubicBezTo>
                    <a:pt x="6020" y="179"/>
                    <a:pt x="5919" y="136"/>
                    <a:pt x="5817" y="96"/>
                  </a:cubicBezTo>
                  <a:cubicBezTo>
                    <a:pt x="5791" y="86"/>
                    <a:pt x="5766" y="76"/>
                    <a:pt x="5740" y="67"/>
                  </a:cubicBezTo>
                  <a:cubicBezTo>
                    <a:pt x="5713" y="57"/>
                    <a:pt x="5686" y="47"/>
                    <a:pt x="5659" y="37"/>
                  </a:cubicBezTo>
                  <a:cubicBezTo>
                    <a:pt x="5620" y="24"/>
                    <a:pt x="5580" y="12"/>
                    <a:pt x="5541" y="0"/>
                  </a:cubicBezTo>
                  <a:cubicBezTo>
                    <a:pt x="5373" y="19"/>
                    <a:pt x="5187" y="62"/>
                    <a:pt x="4988" y="131"/>
                  </a:cubicBezTo>
                  <a:cubicBezTo>
                    <a:pt x="4969" y="137"/>
                    <a:pt x="4948" y="145"/>
                    <a:pt x="4928" y="153"/>
                  </a:cubicBezTo>
                  <a:cubicBezTo>
                    <a:pt x="4909" y="160"/>
                    <a:pt x="4888" y="168"/>
                    <a:pt x="4868" y="175"/>
                  </a:cubicBezTo>
                  <a:cubicBezTo>
                    <a:pt x="4509" y="311"/>
                    <a:pt x="4113" y="520"/>
                    <a:pt x="3700" y="791"/>
                  </a:cubicBezTo>
                  <a:cubicBezTo>
                    <a:pt x="3665" y="815"/>
                    <a:pt x="3629" y="837"/>
                    <a:pt x="3593" y="862"/>
                  </a:cubicBezTo>
                  <a:cubicBezTo>
                    <a:pt x="3554" y="889"/>
                    <a:pt x="3513" y="918"/>
                    <a:pt x="3473" y="946"/>
                  </a:cubicBezTo>
                  <a:cubicBezTo>
                    <a:pt x="3022" y="1264"/>
                    <a:pt x="2557" y="1653"/>
                    <a:pt x="2108" y="2103"/>
                  </a:cubicBezTo>
                  <a:cubicBezTo>
                    <a:pt x="1657" y="2553"/>
                    <a:pt x="1269" y="3017"/>
                    <a:pt x="951" y="3469"/>
                  </a:cubicBezTo>
                  <a:cubicBezTo>
                    <a:pt x="922" y="3509"/>
                    <a:pt x="893" y="3549"/>
                    <a:pt x="866" y="3588"/>
                  </a:cubicBezTo>
                  <a:cubicBezTo>
                    <a:pt x="842" y="3624"/>
                    <a:pt x="819" y="3660"/>
                    <a:pt x="796" y="3695"/>
                  </a:cubicBezTo>
                  <a:cubicBezTo>
                    <a:pt x="525" y="4108"/>
                    <a:pt x="316" y="4504"/>
                    <a:pt x="180" y="4863"/>
                  </a:cubicBezTo>
                  <a:cubicBezTo>
                    <a:pt x="173" y="4883"/>
                    <a:pt x="165" y="4904"/>
                    <a:pt x="157" y="4924"/>
                  </a:cubicBezTo>
                  <a:cubicBezTo>
                    <a:pt x="150" y="4943"/>
                    <a:pt x="142" y="4964"/>
                    <a:pt x="136" y="4983"/>
                  </a:cubicBezTo>
                  <a:cubicBezTo>
                    <a:pt x="58" y="5209"/>
                    <a:pt x="13" y="5416"/>
                    <a:pt x="0" y="5601"/>
                  </a:cubicBezTo>
                  <a:cubicBezTo>
                    <a:pt x="3" y="5611"/>
                    <a:pt x="6" y="5621"/>
                    <a:pt x="9" y="5631"/>
                  </a:cubicBezTo>
                  <a:cubicBezTo>
                    <a:pt x="19" y="5660"/>
                    <a:pt x="29" y="5690"/>
                    <a:pt x="39" y="5719"/>
                  </a:cubicBezTo>
                  <a:cubicBezTo>
                    <a:pt x="49" y="5746"/>
                    <a:pt x="59" y="5772"/>
                    <a:pt x="69" y="5799"/>
                  </a:cubicBezTo>
                  <a:cubicBezTo>
                    <a:pt x="116" y="5922"/>
                    <a:pt x="168" y="6043"/>
                    <a:pt x="225" y="6162"/>
                  </a:cubicBezTo>
                  <a:cubicBezTo>
                    <a:pt x="236" y="6065"/>
                    <a:pt x="255" y="5963"/>
                    <a:pt x="282" y="5857"/>
                  </a:cubicBezTo>
                  <a:cubicBezTo>
                    <a:pt x="286" y="5838"/>
                    <a:pt x="291" y="5819"/>
                    <a:pt x="297" y="5799"/>
                  </a:cubicBezTo>
                  <a:cubicBezTo>
                    <a:pt x="302" y="5780"/>
                    <a:pt x="307" y="5761"/>
                    <a:pt x="313" y="5742"/>
                  </a:cubicBezTo>
                  <a:cubicBezTo>
                    <a:pt x="390" y="5475"/>
                    <a:pt x="511" y="5184"/>
                    <a:pt x="671" y="4877"/>
                  </a:cubicBezTo>
                  <a:cubicBezTo>
                    <a:pt x="684" y="4852"/>
                    <a:pt x="698" y="4827"/>
                    <a:pt x="711" y="48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7" name="Freeform 9">
              <a:extLst>
                <a:ext uri="{FF2B5EF4-FFF2-40B4-BE49-F238E27FC236}">
                  <a16:creationId xmlns:a16="http://schemas.microsoft.com/office/drawing/2014/main" id="{6EC9FAE3-1492-416A-BCFC-66F77187622F}"/>
                </a:ext>
              </a:extLst>
            </p:cNvPr>
            <p:cNvSpPr>
              <a:spLocks/>
            </p:cNvSpPr>
            <p:nvPr/>
          </p:nvSpPr>
          <p:spPr bwMode="auto">
            <a:xfrm>
              <a:off x="4160964" y="945558"/>
              <a:ext cx="4516544" cy="4545190"/>
            </a:xfrm>
            <a:custGeom>
              <a:avLst/>
              <a:gdLst>
                <a:gd name="T0" fmla="*/ 6710 w 6796"/>
                <a:gd name="T1" fmla="*/ 461 h 6838"/>
                <a:gd name="T2" fmla="*/ 6619 w 6796"/>
                <a:gd name="T3" fmla="*/ 375 h 6838"/>
                <a:gd name="T4" fmla="*/ 6553 w 6796"/>
                <a:gd name="T5" fmla="*/ 312 h 6838"/>
                <a:gd name="T6" fmla="*/ 6484 w 6796"/>
                <a:gd name="T7" fmla="*/ 252 h 6838"/>
                <a:gd name="T8" fmla="*/ 6170 w 6796"/>
                <a:gd name="T9" fmla="*/ 1 h 6838"/>
                <a:gd name="T10" fmla="*/ 6125 w 6796"/>
                <a:gd name="T11" fmla="*/ 0 h 6838"/>
                <a:gd name="T12" fmla="*/ 5991 w 6796"/>
                <a:gd name="T13" fmla="*/ 6 h 6838"/>
                <a:gd name="T14" fmla="*/ 5933 w 6796"/>
                <a:gd name="T15" fmla="*/ 11 h 6838"/>
                <a:gd name="T16" fmla="*/ 5874 w 6796"/>
                <a:gd name="T17" fmla="*/ 18 h 6838"/>
                <a:gd name="T18" fmla="*/ 5184 w 6796"/>
                <a:gd name="T19" fmla="*/ 205 h 6838"/>
                <a:gd name="T20" fmla="*/ 5119 w 6796"/>
                <a:gd name="T21" fmla="*/ 231 h 6838"/>
                <a:gd name="T22" fmla="*/ 5050 w 6796"/>
                <a:gd name="T23" fmla="*/ 259 h 6838"/>
                <a:gd name="T24" fmla="*/ 3758 w 6796"/>
                <a:gd name="T25" fmla="*/ 987 h 6838"/>
                <a:gd name="T26" fmla="*/ 3625 w 6796"/>
                <a:gd name="T27" fmla="*/ 1081 h 6838"/>
                <a:gd name="T28" fmla="*/ 3479 w 6796"/>
                <a:gd name="T29" fmla="*/ 1189 h 6838"/>
                <a:gd name="T30" fmla="*/ 2254 w 6796"/>
                <a:gd name="T31" fmla="*/ 2254 h 6838"/>
                <a:gd name="T32" fmla="*/ 1188 w 6796"/>
                <a:gd name="T33" fmla="*/ 3479 h 6838"/>
                <a:gd name="T34" fmla="*/ 1081 w 6796"/>
                <a:gd name="T35" fmla="*/ 3626 h 6838"/>
                <a:gd name="T36" fmla="*/ 987 w 6796"/>
                <a:gd name="T37" fmla="*/ 3758 h 6838"/>
                <a:gd name="T38" fmla="*/ 259 w 6796"/>
                <a:gd name="T39" fmla="*/ 5050 h 6838"/>
                <a:gd name="T40" fmla="*/ 231 w 6796"/>
                <a:gd name="T41" fmla="*/ 5119 h 6838"/>
                <a:gd name="T42" fmla="*/ 205 w 6796"/>
                <a:gd name="T43" fmla="*/ 5184 h 6838"/>
                <a:gd name="T44" fmla="*/ 18 w 6796"/>
                <a:gd name="T45" fmla="*/ 5874 h 6838"/>
                <a:gd name="T46" fmla="*/ 11 w 6796"/>
                <a:gd name="T47" fmla="*/ 5933 h 6838"/>
                <a:gd name="T48" fmla="*/ 6 w 6796"/>
                <a:gd name="T49" fmla="*/ 5991 h 6838"/>
                <a:gd name="T50" fmla="*/ 0 w 6796"/>
                <a:gd name="T51" fmla="*/ 6125 h 6838"/>
                <a:gd name="T52" fmla="*/ 3 w 6796"/>
                <a:gd name="T53" fmla="*/ 6220 h 6838"/>
                <a:gd name="T54" fmla="*/ 208 w 6796"/>
                <a:gd name="T55" fmla="*/ 6475 h 6838"/>
                <a:gd name="T56" fmla="*/ 270 w 6796"/>
                <a:gd name="T57" fmla="*/ 6547 h 6838"/>
                <a:gd name="T58" fmla="*/ 332 w 6796"/>
                <a:gd name="T59" fmla="*/ 6615 h 6838"/>
                <a:gd name="T60" fmla="*/ 442 w 6796"/>
                <a:gd name="T61" fmla="*/ 6729 h 6838"/>
                <a:gd name="T62" fmla="*/ 556 w 6796"/>
                <a:gd name="T63" fmla="*/ 6838 h 6838"/>
                <a:gd name="T64" fmla="*/ 548 w 6796"/>
                <a:gd name="T65" fmla="*/ 6702 h 6838"/>
                <a:gd name="T66" fmla="*/ 551 w 6796"/>
                <a:gd name="T67" fmla="*/ 6619 h 6838"/>
                <a:gd name="T68" fmla="*/ 556 w 6796"/>
                <a:gd name="T69" fmla="*/ 6560 h 6838"/>
                <a:gd name="T70" fmla="*/ 561 w 6796"/>
                <a:gd name="T71" fmla="*/ 6501 h 6838"/>
                <a:gd name="T72" fmla="*/ 700 w 6796"/>
                <a:gd name="T73" fmla="*/ 5918 h 6838"/>
                <a:gd name="T74" fmla="*/ 724 w 6796"/>
                <a:gd name="T75" fmla="*/ 5852 h 6838"/>
                <a:gd name="T76" fmla="*/ 750 w 6796"/>
                <a:gd name="T77" fmla="*/ 5782 h 6838"/>
                <a:gd name="T78" fmla="*/ 1285 w 6796"/>
                <a:gd name="T79" fmla="*/ 4735 h 6838"/>
                <a:gd name="T80" fmla="*/ 1353 w 6796"/>
                <a:gd name="T81" fmla="*/ 4628 h 6838"/>
                <a:gd name="T82" fmla="*/ 1430 w 6796"/>
                <a:gd name="T83" fmla="*/ 4511 h 6838"/>
                <a:gd name="T84" fmla="*/ 2828 w 6796"/>
                <a:gd name="T85" fmla="*/ 2828 h 6838"/>
                <a:gd name="T86" fmla="*/ 4511 w 6796"/>
                <a:gd name="T87" fmla="*/ 1430 h 6838"/>
                <a:gd name="T88" fmla="*/ 4627 w 6796"/>
                <a:gd name="T89" fmla="*/ 1354 h 6838"/>
                <a:gd name="T90" fmla="*/ 4735 w 6796"/>
                <a:gd name="T91" fmla="*/ 1285 h 6838"/>
                <a:gd name="T92" fmla="*/ 5781 w 6796"/>
                <a:gd name="T93" fmla="*/ 750 h 6838"/>
                <a:gd name="T94" fmla="*/ 5851 w 6796"/>
                <a:gd name="T95" fmla="*/ 724 h 6838"/>
                <a:gd name="T96" fmla="*/ 5918 w 6796"/>
                <a:gd name="T97" fmla="*/ 700 h 6838"/>
                <a:gd name="T98" fmla="*/ 6501 w 6796"/>
                <a:gd name="T99" fmla="*/ 561 h 6838"/>
                <a:gd name="T100" fmla="*/ 6560 w 6796"/>
                <a:gd name="T101" fmla="*/ 556 h 6838"/>
                <a:gd name="T102" fmla="*/ 6620 w 6796"/>
                <a:gd name="T103" fmla="*/ 551 h 6838"/>
                <a:gd name="T104" fmla="*/ 6702 w 6796"/>
                <a:gd name="T105" fmla="*/ 548 h 6838"/>
                <a:gd name="T106" fmla="*/ 6796 w 6796"/>
                <a:gd name="T107" fmla="*/ 552 h 6838"/>
                <a:gd name="T108" fmla="*/ 6710 w 6796"/>
                <a:gd name="T109" fmla="*/ 461 h 6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796" h="6838">
                  <a:moveTo>
                    <a:pt x="6710" y="461"/>
                  </a:moveTo>
                  <a:cubicBezTo>
                    <a:pt x="6680" y="431"/>
                    <a:pt x="6649" y="403"/>
                    <a:pt x="6619" y="375"/>
                  </a:cubicBezTo>
                  <a:cubicBezTo>
                    <a:pt x="6597" y="354"/>
                    <a:pt x="6575" y="332"/>
                    <a:pt x="6553" y="312"/>
                  </a:cubicBezTo>
                  <a:cubicBezTo>
                    <a:pt x="6530" y="291"/>
                    <a:pt x="6507" y="272"/>
                    <a:pt x="6484" y="252"/>
                  </a:cubicBezTo>
                  <a:cubicBezTo>
                    <a:pt x="6382" y="163"/>
                    <a:pt x="6278" y="79"/>
                    <a:pt x="6170" y="1"/>
                  </a:cubicBezTo>
                  <a:cubicBezTo>
                    <a:pt x="6155" y="1"/>
                    <a:pt x="6140" y="0"/>
                    <a:pt x="6125" y="0"/>
                  </a:cubicBezTo>
                  <a:cubicBezTo>
                    <a:pt x="6082" y="0"/>
                    <a:pt x="6037" y="2"/>
                    <a:pt x="5991" y="6"/>
                  </a:cubicBezTo>
                  <a:cubicBezTo>
                    <a:pt x="5972" y="7"/>
                    <a:pt x="5953" y="9"/>
                    <a:pt x="5933" y="11"/>
                  </a:cubicBezTo>
                  <a:cubicBezTo>
                    <a:pt x="5914" y="13"/>
                    <a:pt x="5894" y="15"/>
                    <a:pt x="5874" y="18"/>
                  </a:cubicBezTo>
                  <a:cubicBezTo>
                    <a:pt x="5664" y="47"/>
                    <a:pt x="5432" y="110"/>
                    <a:pt x="5184" y="205"/>
                  </a:cubicBezTo>
                  <a:cubicBezTo>
                    <a:pt x="5162" y="214"/>
                    <a:pt x="5141" y="222"/>
                    <a:pt x="5119" y="231"/>
                  </a:cubicBezTo>
                  <a:cubicBezTo>
                    <a:pt x="5096" y="240"/>
                    <a:pt x="5073" y="249"/>
                    <a:pt x="5050" y="259"/>
                  </a:cubicBezTo>
                  <a:cubicBezTo>
                    <a:pt x="4649" y="427"/>
                    <a:pt x="4210" y="673"/>
                    <a:pt x="3758" y="987"/>
                  </a:cubicBezTo>
                  <a:cubicBezTo>
                    <a:pt x="3714" y="1018"/>
                    <a:pt x="3670" y="1049"/>
                    <a:pt x="3625" y="1081"/>
                  </a:cubicBezTo>
                  <a:cubicBezTo>
                    <a:pt x="3576" y="1116"/>
                    <a:pt x="3528" y="1152"/>
                    <a:pt x="3479" y="1189"/>
                  </a:cubicBezTo>
                  <a:cubicBezTo>
                    <a:pt x="3071" y="1494"/>
                    <a:pt x="2657" y="1851"/>
                    <a:pt x="2254" y="2254"/>
                  </a:cubicBezTo>
                  <a:cubicBezTo>
                    <a:pt x="1851" y="2657"/>
                    <a:pt x="1494" y="3071"/>
                    <a:pt x="1188" y="3479"/>
                  </a:cubicBezTo>
                  <a:cubicBezTo>
                    <a:pt x="1151" y="3528"/>
                    <a:pt x="1116" y="3577"/>
                    <a:pt x="1081" y="3626"/>
                  </a:cubicBezTo>
                  <a:cubicBezTo>
                    <a:pt x="1049" y="3670"/>
                    <a:pt x="1017" y="3714"/>
                    <a:pt x="987" y="3758"/>
                  </a:cubicBezTo>
                  <a:cubicBezTo>
                    <a:pt x="673" y="4210"/>
                    <a:pt x="427" y="4649"/>
                    <a:pt x="259" y="5050"/>
                  </a:cubicBezTo>
                  <a:cubicBezTo>
                    <a:pt x="249" y="5073"/>
                    <a:pt x="240" y="5096"/>
                    <a:pt x="231" y="5119"/>
                  </a:cubicBezTo>
                  <a:cubicBezTo>
                    <a:pt x="222" y="5141"/>
                    <a:pt x="214" y="5162"/>
                    <a:pt x="205" y="5184"/>
                  </a:cubicBezTo>
                  <a:cubicBezTo>
                    <a:pt x="110" y="5432"/>
                    <a:pt x="47" y="5665"/>
                    <a:pt x="18" y="5874"/>
                  </a:cubicBezTo>
                  <a:cubicBezTo>
                    <a:pt x="15" y="5894"/>
                    <a:pt x="13" y="5914"/>
                    <a:pt x="11" y="5933"/>
                  </a:cubicBezTo>
                  <a:cubicBezTo>
                    <a:pt x="8" y="5953"/>
                    <a:pt x="7" y="5972"/>
                    <a:pt x="6" y="5991"/>
                  </a:cubicBezTo>
                  <a:cubicBezTo>
                    <a:pt x="2" y="6037"/>
                    <a:pt x="0" y="6082"/>
                    <a:pt x="0" y="6125"/>
                  </a:cubicBezTo>
                  <a:cubicBezTo>
                    <a:pt x="0" y="6157"/>
                    <a:pt x="1" y="6189"/>
                    <a:pt x="3" y="6220"/>
                  </a:cubicBezTo>
                  <a:cubicBezTo>
                    <a:pt x="67" y="6307"/>
                    <a:pt x="136" y="6392"/>
                    <a:pt x="208" y="6475"/>
                  </a:cubicBezTo>
                  <a:cubicBezTo>
                    <a:pt x="228" y="6499"/>
                    <a:pt x="249" y="6524"/>
                    <a:pt x="270" y="6547"/>
                  </a:cubicBezTo>
                  <a:cubicBezTo>
                    <a:pt x="290" y="6570"/>
                    <a:pt x="312" y="6592"/>
                    <a:pt x="332" y="6615"/>
                  </a:cubicBezTo>
                  <a:cubicBezTo>
                    <a:pt x="368" y="6653"/>
                    <a:pt x="404" y="6692"/>
                    <a:pt x="442" y="6729"/>
                  </a:cubicBezTo>
                  <a:cubicBezTo>
                    <a:pt x="479" y="6767"/>
                    <a:pt x="517" y="6802"/>
                    <a:pt x="556" y="6838"/>
                  </a:cubicBezTo>
                  <a:cubicBezTo>
                    <a:pt x="551" y="6794"/>
                    <a:pt x="548" y="6749"/>
                    <a:pt x="548" y="6702"/>
                  </a:cubicBezTo>
                  <a:cubicBezTo>
                    <a:pt x="548" y="6675"/>
                    <a:pt x="550" y="6647"/>
                    <a:pt x="551" y="6619"/>
                  </a:cubicBezTo>
                  <a:cubicBezTo>
                    <a:pt x="552" y="6600"/>
                    <a:pt x="554" y="6580"/>
                    <a:pt x="556" y="6560"/>
                  </a:cubicBezTo>
                  <a:cubicBezTo>
                    <a:pt x="557" y="6541"/>
                    <a:pt x="559" y="6521"/>
                    <a:pt x="561" y="6501"/>
                  </a:cubicBezTo>
                  <a:cubicBezTo>
                    <a:pt x="582" y="6322"/>
                    <a:pt x="629" y="6126"/>
                    <a:pt x="700" y="5918"/>
                  </a:cubicBezTo>
                  <a:cubicBezTo>
                    <a:pt x="708" y="5896"/>
                    <a:pt x="716" y="5874"/>
                    <a:pt x="724" y="5852"/>
                  </a:cubicBezTo>
                  <a:cubicBezTo>
                    <a:pt x="733" y="5828"/>
                    <a:pt x="741" y="5805"/>
                    <a:pt x="750" y="5782"/>
                  </a:cubicBezTo>
                  <a:cubicBezTo>
                    <a:pt x="875" y="5455"/>
                    <a:pt x="1056" y="5102"/>
                    <a:pt x="1285" y="4735"/>
                  </a:cubicBezTo>
                  <a:cubicBezTo>
                    <a:pt x="1308" y="4699"/>
                    <a:pt x="1330" y="4664"/>
                    <a:pt x="1353" y="4628"/>
                  </a:cubicBezTo>
                  <a:cubicBezTo>
                    <a:pt x="1378" y="4589"/>
                    <a:pt x="1404" y="4550"/>
                    <a:pt x="1430" y="4511"/>
                  </a:cubicBezTo>
                  <a:cubicBezTo>
                    <a:pt x="1799" y="3961"/>
                    <a:pt x="2271" y="3385"/>
                    <a:pt x="2828" y="2828"/>
                  </a:cubicBezTo>
                  <a:cubicBezTo>
                    <a:pt x="3385" y="2271"/>
                    <a:pt x="3960" y="1799"/>
                    <a:pt x="4511" y="1430"/>
                  </a:cubicBezTo>
                  <a:cubicBezTo>
                    <a:pt x="4550" y="1404"/>
                    <a:pt x="4589" y="1379"/>
                    <a:pt x="4627" y="1354"/>
                  </a:cubicBezTo>
                  <a:cubicBezTo>
                    <a:pt x="4663" y="1330"/>
                    <a:pt x="4699" y="1308"/>
                    <a:pt x="4735" y="1285"/>
                  </a:cubicBezTo>
                  <a:cubicBezTo>
                    <a:pt x="5102" y="1056"/>
                    <a:pt x="5455" y="875"/>
                    <a:pt x="5781" y="750"/>
                  </a:cubicBezTo>
                  <a:cubicBezTo>
                    <a:pt x="5805" y="741"/>
                    <a:pt x="5828" y="733"/>
                    <a:pt x="5851" y="724"/>
                  </a:cubicBezTo>
                  <a:cubicBezTo>
                    <a:pt x="5874" y="716"/>
                    <a:pt x="5896" y="708"/>
                    <a:pt x="5918" y="700"/>
                  </a:cubicBezTo>
                  <a:cubicBezTo>
                    <a:pt x="6126" y="629"/>
                    <a:pt x="6322" y="582"/>
                    <a:pt x="6501" y="561"/>
                  </a:cubicBezTo>
                  <a:cubicBezTo>
                    <a:pt x="6521" y="559"/>
                    <a:pt x="6541" y="557"/>
                    <a:pt x="6560" y="556"/>
                  </a:cubicBezTo>
                  <a:cubicBezTo>
                    <a:pt x="6580" y="554"/>
                    <a:pt x="6600" y="552"/>
                    <a:pt x="6620" y="551"/>
                  </a:cubicBezTo>
                  <a:cubicBezTo>
                    <a:pt x="6647" y="550"/>
                    <a:pt x="6675" y="549"/>
                    <a:pt x="6702" y="548"/>
                  </a:cubicBezTo>
                  <a:cubicBezTo>
                    <a:pt x="6734" y="548"/>
                    <a:pt x="6765" y="550"/>
                    <a:pt x="6796" y="552"/>
                  </a:cubicBezTo>
                  <a:cubicBezTo>
                    <a:pt x="6767" y="521"/>
                    <a:pt x="6739" y="491"/>
                    <a:pt x="6710" y="4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8" name="Freeform 10">
              <a:extLst>
                <a:ext uri="{FF2B5EF4-FFF2-40B4-BE49-F238E27FC236}">
                  <a16:creationId xmlns:a16="http://schemas.microsoft.com/office/drawing/2014/main" id="{54CE5925-9480-4C02-A7F9-3B31E37C904C}"/>
                </a:ext>
              </a:extLst>
            </p:cNvPr>
            <p:cNvSpPr>
              <a:spLocks/>
            </p:cNvSpPr>
            <p:nvPr/>
          </p:nvSpPr>
          <p:spPr bwMode="auto">
            <a:xfrm>
              <a:off x="3956348" y="740943"/>
              <a:ext cx="4194616" cy="4225990"/>
            </a:xfrm>
            <a:custGeom>
              <a:avLst/>
              <a:gdLst>
                <a:gd name="T0" fmla="*/ 1126 w 6312"/>
                <a:gd name="T1" fmla="*/ 4101 h 6355"/>
                <a:gd name="T2" fmla="*/ 1212 w 6312"/>
                <a:gd name="T3" fmla="*/ 3976 h 6355"/>
                <a:gd name="T4" fmla="*/ 2479 w 6312"/>
                <a:gd name="T5" fmla="*/ 2477 h 6355"/>
                <a:gd name="T6" fmla="*/ 3978 w 6312"/>
                <a:gd name="T7" fmla="*/ 1210 h 6355"/>
                <a:gd name="T8" fmla="*/ 4103 w 6312"/>
                <a:gd name="T9" fmla="*/ 1124 h 6355"/>
                <a:gd name="T10" fmla="*/ 4216 w 6312"/>
                <a:gd name="T11" fmla="*/ 1049 h 6355"/>
                <a:gd name="T12" fmla="*/ 5392 w 6312"/>
                <a:gd name="T13" fmla="*/ 423 h 6355"/>
                <a:gd name="T14" fmla="*/ 5456 w 6312"/>
                <a:gd name="T15" fmla="*/ 399 h 6355"/>
                <a:gd name="T16" fmla="*/ 5518 w 6312"/>
                <a:gd name="T17" fmla="*/ 376 h 6355"/>
                <a:gd name="T18" fmla="*/ 6164 w 6312"/>
                <a:gd name="T19" fmla="*/ 208 h 6355"/>
                <a:gd name="T20" fmla="*/ 6222 w 6312"/>
                <a:gd name="T21" fmla="*/ 201 h 6355"/>
                <a:gd name="T22" fmla="*/ 6281 w 6312"/>
                <a:gd name="T23" fmla="*/ 195 h 6355"/>
                <a:gd name="T24" fmla="*/ 6312 w 6312"/>
                <a:gd name="T25" fmla="*/ 193 h 6355"/>
                <a:gd name="T26" fmla="*/ 6276 w 6312"/>
                <a:gd name="T27" fmla="*/ 170 h 6355"/>
                <a:gd name="T28" fmla="*/ 6203 w 6312"/>
                <a:gd name="T29" fmla="*/ 124 h 6355"/>
                <a:gd name="T30" fmla="*/ 6122 w 6312"/>
                <a:gd name="T31" fmla="*/ 74 h 6355"/>
                <a:gd name="T32" fmla="*/ 5988 w 6312"/>
                <a:gd name="T33" fmla="*/ 0 h 6355"/>
                <a:gd name="T34" fmla="*/ 5542 w 6312"/>
                <a:gd name="T35" fmla="*/ 68 h 6355"/>
                <a:gd name="T36" fmla="*/ 5484 w 6312"/>
                <a:gd name="T37" fmla="*/ 83 h 6355"/>
                <a:gd name="T38" fmla="*/ 5425 w 6312"/>
                <a:gd name="T39" fmla="*/ 101 h 6355"/>
                <a:gd name="T40" fmla="*/ 4488 w 6312"/>
                <a:gd name="T41" fmla="*/ 508 h 6355"/>
                <a:gd name="T42" fmla="*/ 4405 w 6312"/>
                <a:gd name="T43" fmla="*/ 555 h 6355"/>
                <a:gd name="T44" fmla="*/ 4316 w 6312"/>
                <a:gd name="T45" fmla="*/ 606 h 6355"/>
                <a:gd name="T46" fmla="*/ 2245 w 6312"/>
                <a:gd name="T47" fmla="*/ 2243 h 6355"/>
                <a:gd name="T48" fmla="*/ 608 w 6312"/>
                <a:gd name="T49" fmla="*/ 4314 h 6355"/>
                <a:gd name="T50" fmla="*/ 557 w 6312"/>
                <a:gd name="T51" fmla="*/ 4404 h 6355"/>
                <a:gd name="T52" fmla="*/ 510 w 6312"/>
                <a:gd name="T53" fmla="*/ 4486 h 6355"/>
                <a:gd name="T54" fmla="*/ 103 w 6312"/>
                <a:gd name="T55" fmla="*/ 5423 h 6355"/>
                <a:gd name="T56" fmla="*/ 85 w 6312"/>
                <a:gd name="T57" fmla="*/ 5482 h 6355"/>
                <a:gd name="T58" fmla="*/ 70 w 6312"/>
                <a:gd name="T59" fmla="*/ 5540 h 6355"/>
                <a:gd name="T60" fmla="*/ 1 w 6312"/>
                <a:gd name="T61" fmla="*/ 6034 h 6355"/>
                <a:gd name="T62" fmla="*/ 1 w 6312"/>
                <a:gd name="T63" fmla="*/ 6039 h 6355"/>
                <a:gd name="T64" fmla="*/ 36 w 6312"/>
                <a:gd name="T65" fmla="*/ 6102 h 6355"/>
                <a:gd name="T66" fmla="*/ 85 w 6312"/>
                <a:gd name="T67" fmla="*/ 6186 h 6355"/>
                <a:gd name="T68" fmla="*/ 134 w 6312"/>
                <a:gd name="T69" fmla="*/ 6264 h 6355"/>
                <a:gd name="T70" fmla="*/ 192 w 6312"/>
                <a:gd name="T71" fmla="*/ 6355 h 6355"/>
                <a:gd name="T72" fmla="*/ 197 w 6312"/>
                <a:gd name="T73" fmla="*/ 6279 h 6355"/>
                <a:gd name="T74" fmla="*/ 203 w 6312"/>
                <a:gd name="T75" fmla="*/ 6220 h 6355"/>
                <a:gd name="T76" fmla="*/ 210 w 6312"/>
                <a:gd name="T77" fmla="*/ 6162 h 6355"/>
                <a:gd name="T78" fmla="*/ 378 w 6312"/>
                <a:gd name="T79" fmla="*/ 5516 h 6355"/>
                <a:gd name="T80" fmla="*/ 400 w 6312"/>
                <a:gd name="T81" fmla="*/ 5454 h 6355"/>
                <a:gd name="T82" fmla="*/ 425 w 6312"/>
                <a:gd name="T83" fmla="*/ 5390 h 6355"/>
                <a:gd name="T84" fmla="*/ 1050 w 6312"/>
                <a:gd name="T85" fmla="*/ 4214 h 6355"/>
                <a:gd name="T86" fmla="*/ 1126 w 6312"/>
                <a:gd name="T87" fmla="*/ 4101 h 6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2" h="6355">
                  <a:moveTo>
                    <a:pt x="1126" y="4101"/>
                  </a:moveTo>
                  <a:cubicBezTo>
                    <a:pt x="1154" y="4060"/>
                    <a:pt x="1183" y="4018"/>
                    <a:pt x="1212" y="3976"/>
                  </a:cubicBezTo>
                  <a:cubicBezTo>
                    <a:pt x="1559" y="3480"/>
                    <a:pt x="1986" y="2971"/>
                    <a:pt x="2479" y="2477"/>
                  </a:cubicBezTo>
                  <a:cubicBezTo>
                    <a:pt x="2973" y="1984"/>
                    <a:pt x="3482" y="1557"/>
                    <a:pt x="3978" y="1210"/>
                  </a:cubicBezTo>
                  <a:cubicBezTo>
                    <a:pt x="4020" y="1181"/>
                    <a:pt x="4061" y="1152"/>
                    <a:pt x="4103" y="1124"/>
                  </a:cubicBezTo>
                  <a:cubicBezTo>
                    <a:pt x="4141" y="1098"/>
                    <a:pt x="4179" y="1073"/>
                    <a:pt x="4216" y="1049"/>
                  </a:cubicBezTo>
                  <a:cubicBezTo>
                    <a:pt x="4626" y="780"/>
                    <a:pt x="5024" y="569"/>
                    <a:pt x="5392" y="423"/>
                  </a:cubicBezTo>
                  <a:cubicBezTo>
                    <a:pt x="5414" y="415"/>
                    <a:pt x="5435" y="407"/>
                    <a:pt x="5456" y="399"/>
                  </a:cubicBezTo>
                  <a:cubicBezTo>
                    <a:pt x="5477" y="391"/>
                    <a:pt x="5498" y="383"/>
                    <a:pt x="5518" y="376"/>
                  </a:cubicBezTo>
                  <a:cubicBezTo>
                    <a:pt x="5747" y="293"/>
                    <a:pt x="5964" y="236"/>
                    <a:pt x="6164" y="208"/>
                  </a:cubicBezTo>
                  <a:cubicBezTo>
                    <a:pt x="6183" y="206"/>
                    <a:pt x="6203" y="203"/>
                    <a:pt x="6222" y="201"/>
                  </a:cubicBezTo>
                  <a:cubicBezTo>
                    <a:pt x="6242" y="199"/>
                    <a:pt x="6262" y="197"/>
                    <a:pt x="6281" y="195"/>
                  </a:cubicBezTo>
                  <a:cubicBezTo>
                    <a:pt x="6292" y="194"/>
                    <a:pt x="6302" y="193"/>
                    <a:pt x="6312" y="193"/>
                  </a:cubicBezTo>
                  <a:cubicBezTo>
                    <a:pt x="6300" y="185"/>
                    <a:pt x="6288" y="178"/>
                    <a:pt x="6276" y="170"/>
                  </a:cubicBezTo>
                  <a:cubicBezTo>
                    <a:pt x="6252" y="155"/>
                    <a:pt x="6228" y="139"/>
                    <a:pt x="6203" y="124"/>
                  </a:cubicBezTo>
                  <a:cubicBezTo>
                    <a:pt x="6176" y="108"/>
                    <a:pt x="6149" y="90"/>
                    <a:pt x="6122" y="74"/>
                  </a:cubicBezTo>
                  <a:cubicBezTo>
                    <a:pt x="6077" y="49"/>
                    <a:pt x="6032" y="24"/>
                    <a:pt x="5988" y="0"/>
                  </a:cubicBezTo>
                  <a:cubicBezTo>
                    <a:pt x="5852" y="4"/>
                    <a:pt x="5703" y="27"/>
                    <a:pt x="5542" y="68"/>
                  </a:cubicBezTo>
                  <a:cubicBezTo>
                    <a:pt x="5523" y="73"/>
                    <a:pt x="5503" y="78"/>
                    <a:pt x="5484" y="83"/>
                  </a:cubicBezTo>
                  <a:cubicBezTo>
                    <a:pt x="5464" y="89"/>
                    <a:pt x="5445" y="95"/>
                    <a:pt x="5425" y="101"/>
                  </a:cubicBezTo>
                  <a:cubicBezTo>
                    <a:pt x="5140" y="186"/>
                    <a:pt x="4823" y="324"/>
                    <a:pt x="4488" y="508"/>
                  </a:cubicBezTo>
                  <a:cubicBezTo>
                    <a:pt x="4461" y="523"/>
                    <a:pt x="4433" y="539"/>
                    <a:pt x="4405" y="555"/>
                  </a:cubicBezTo>
                  <a:cubicBezTo>
                    <a:pt x="4376" y="572"/>
                    <a:pt x="4346" y="588"/>
                    <a:pt x="4316" y="606"/>
                  </a:cubicBezTo>
                  <a:cubicBezTo>
                    <a:pt x="3656" y="993"/>
                    <a:pt x="2935" y="1552"/>
                    <a:pt x="2245" y="2243"/>
                  </a:cubicBezTo>
                  <a:cubicBezTo>
                    <a:pt x="1554" y="2933"/>
                    <a:pt x="995" y="3654"/>
                    <a:pt x="608" y="4314"/>
                  </a:cubicBezTo>
                  <a:cubicBezTo>
                    <a:pt x="590" y="4344"/>
                    <a:pt x="573" y="4374"/>
                    <a:pt x="557" y="4404"/>
                  </a:cubicBezTo>
                  <a:cubicBezTo>
                    <a:pt x="541" y="4431"/>
                    <a:pt x="525" y="4459"/>
                    <a:pt x="510" y="4486"/>
                  </a:cubicBezTo>
                  <a:cubicBezTo>
                    <a:pt x="326" y="4822"/>
                    <a:pt x="188" y="5138"/>
                    <a:pt x="103" y="5423"/>
                  </a:cubicBezTo>
                  <a:cubicBezTo>
                    <a:pt x="97" y="5443"/>
                    <a:pt x="91" y="5462"/>
                    <a:pt x="85" y="5482"/>
                  </a:cubicBezTo>
                  <a:cubicBezTo>
                    <a:pt x="80" y="5501"/>
                    <a:pt x="75" y="5521"/>
                    <a:pt x="70" y="5540"/>
                  </a:cubicBezTo>
                  <a:cubicBezTo>
                    <a:pt x="24" y="5720"/>
                    <a:pt x="0" y="5886"/>
                    <a:pt x="1" y="6034"/>
                  </a:cubicBezTo>
                  <a:cubicBezTo>
                    <a:pt x="1" y="6035"/>
                    <a:pt x="1" y="6037"/>
                    <a:pt x="1" y="6039"/>
                  </a:cubicBezTo>
                  <a:cubicBezTo>
                    <a:pt x="12" y="6060"/>
                    <a:pt x="24" y="6081"/>
                    <a:pt x="36" y="6102"/>
                  </a:cubicBezTo>
                  <a:cubicBezTo>
                    <a:pt x="52" y="6130"/>
                    <a:pt x="68" y="6158"/>
                    <a:pt x="85" y="6186"/>
                  </a:cubicBezTo>
                  <a:cubicBezTo>
                    <a:pt x="101" y="6212"/>
                    <a:pt x="117" y="6238"/>
                    <a:pt x="134" y="6264"/>
                  </a:cubicBezTo>
                  <a:cubicBezTo>
                    <a:pt x="153" y="6294"/>
                    <a:pt x="172" y="6325"/>
                    <a:pt x="192" y="6355"/>
                  </a:cubicBezTo>
                  <a:cubicBezTo>
                    <a:pt x="193" y="6330"/>
                    <a:pt x="195" y="6305"/>
                    <a:pt x="197" y="6279"/>
                  </a:cubicBezTo>
                  <a:cubicBezTo>
                    <a:pt x="199" y="6260"/>
                    <a:pt x="201" y="6240"/>
                    <a:pt x="203" y="6220"/>
                  </a:cubicBezTo>
                  <a:cubicBezTo>
                    <a:pt x="205" y="6201"/>
                    <a:pt x="208" y="6181"/>
                    <a:pt x="210" y="6162"/>
                  </a:cubicBezTo>
                  <a:cubicBezTo>
                    <a:pt x="238" y="5962"/>
                    <a:pt x="295" y="5745"/>
                    <a:pt x="378" y="5516"/>
                  </a:cubicBezTo>
                  <a:cubicBezTo>
                    <a:pt x="385" y="5496"/>
                    <a:pt x="392" y="5475"/>
                    <a:pt x="400" y="5454"/>
                  </a:cubicBezTo>
                  <a:cubicBezTo>
                    <a:pt x="408" y="5433"/>
                    <a:pt x="417" y="5412"/>
                    <a:pt x="425" y="5390"/>
                  </a:cubicBezTo>
                  <a:cubicBezTo>
                    <a:pt x="571" y="5022"/>
                    <a:pt x="782" y="4624"/>
                    <a:pt x="1050" y="4214"/>
                  </a:cubicBezTo>
                  <a:cubicBezTo>
                    <a:pt x="1075" y="4177"/>
                    <a:pt x="1100" y="4139"/>
                    <a:pt x="1126" y="410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9" name="Freeform 11">
              <a:extLst>
                <a:ext uri="{FF2B5EF4-FFF2-40B4-BE49-F238E27FC236}">
                  <a16:creationId xmlns:a16="http://schemas.microsoft.com/office/drawing/2014/main" id="{9BF6A145-B04A-4D96-B42A-F9F9564194A0}"/>
                </a:ext>
              </a:extLst>
            </p:cNvPr>
            <p:cNvSpPr>
              <a:spLocks/>
            </p:cNvSpPr>
            <p:nvPr/>
          </p:nvSpPr>
          <p:spPr bwMode="auto">
            <a:xfrm>
              <a:off x="4604297" y="1387527"/>
              <a:ext cx="4412873" cy="4441519"/>
            </a:xfrm>
            <a:custGeom>
              <a:avLst/>
              <a:gdLst>
                <a:gd name="T0" fmla="*/ 4682 w 6640"/>
                <a:gd name="T1" fmla="*/ 1069 h 6679"/>
                <a:gd name="T2" fmla="*/ 4782 w 6640"/>
                <a:gd name="T3" fmla="*/ 1013 h 6679"/>
                <a:gd name="T4" fmla="*/ 4876 w 6640"/>
                <a:gd name="T5" fmla="*/ 962 h 6679"/>
                <a:gd name="T6" fmla="*/ 5665 w 6640"/>
                <a:gd name="T7" fmla="*/ 626 h 6679"/>
                <a:gd name="T8" fmla="*/ 5735 w 6640"/>
                <a:gd name="T9" fmla="*/ 605 h 6679"/>
                <a:gd name="T10" fmla="*/ 5804 w 6640"/>
                <a:gd name="T11" fmla="*/ 586 h 6679"/>
                <a:gd name="T12" fmla="*/ 6300 w 6640"/>
                <a:gd name="T13" fmla="*/ 507 h 6679"/>
                <a:gd name="T14" fmla="*/ 6355 w 6640"/>
                <a:gd name="T15" fmla="*/ 505 h 6679"/>
                <a:gd name="T16" fmla="*/ 6360 w 6640"/>
                <a:gd name="T17" fmla="*/ 505 h 6679"/>
                <a:gd name="T18" fmla="*/ 6419 w 6640"/>
                <a:gd name="T19" fmla="*/ 507 h 6679"/>
                <a:gd name="T20" fmla="*/ 6640 w 6640"/>
                <a:gd name="T21" fmla="*/ 536 h 6679"/>
                <a:gd name="T22" fmla="*/ 6443 w 6640"/>
                <a:gd name="T23" fmla="*/ 254 h 6679"/>
                <a:gd name="T24" fmla="*/ 6385 w 6640"/>
                <a:gd name="T25" fmla="*/ 179 h 6679"/>
                <a:gd name="T26" fmla="*/ 6323 w 6640"/>
                <a:gd name="T27" fmla="*/ 102 h 6679"/>
                <a:gd name="T28" fmla="*/ 6253 w 6640"/>
                <a:gd name="T29" fmla="*/ 21 h 6679"/>
                <a:gd name="T30" fmla="*/ 6036 w 6640"/>
                <a:gd name="T31" fmla="*/ 1 h 6679"/>
                <a:gd name="T32" fmla="*/ 5943 w 6640"/>
                <a:gd name="T33" fmla="*/ 3 h 6679"/>
                <a:gd name="T34" fmla="*/ 5884 w 6640"/>
                <a:gd name="T35" fmla="*/ 8 h 6679"/>
                <a:gd name="T36" fmla="*/ 5824 w 6640"/>
                <a:gd name="T37" fmla="*/ 15 h 6679"/>
                <a:gd name="T38" fmla="*/ 5212 w 6640"/>
                <a:gd name="T39" fmla="*/ 174 h 6679"/>
                <a:gd name="T40" fmla="*/ 5142 w 6640"/>
                <a:gd name="T41" fmla="*/ 200 h 6679"/>
                <a:gd name="T42" fmla="*/ 5070 w 6640"/>
                <a:gd name="T43" fmla="*/ 229 h 6679"/>
                <a:gd name="T44" fmla="*/ 3933 w 6640"/>
                <a:gd name="T45" fmla="*/ 848 h 6679"/>
                <a:gd name="T46" fmla="*/ 3812 w 6640"/>
                <a:gd name="T47" fmla="*/ 929 h 6679"/>
                <a:gd name="T48" fmla="*/ 3679 w 6640"/>
                <a:gd name="T49" fmla="*/ 1023 h 6679"/>
                <a:gd name="T50" fmla="*/ 2245 w 6640"/>
                <a:gd name="T51" fmla="*/ 2245 h 6679"/>
                <a:gd name="T52" fmla="*/ 1023 w 6640"/>
                <a:gd name="T53" fmla="*/ 3679 h 6679"/>
                <a:gd name="T54" fmla="*/ 929 w 6640"/>
                <a:gd name="T55" fmla="*/ 3812 h 6679"/>
                <a:gd name="T56" fmla="*/ 848 w 6640"/>
                <a:gd name="T57" fmla="*/ 3933 h 6679"/>
                <a:gd name="T58" fmla="*/ 229 w 6640"/>
                <a:gd name="T59" fmla="*/ 5070 h 6679"/>
                <a:gd name="T60" fmla="*/ 200 w 6640"/>
                <a:gd name="T61" fmla="*/ 5142 h 6679"/>
                <a:gd name="T62" fmla="*/ 174 w 6640"/>
                <a:gd name="T63" fmla="*/ 5212 h 6679"/>
                <a:gd name="T64" fmla="*/ 15 w 6640"/>
                <a:gd name="T65" fmla="*/ 5824 h 6679"/>
                <a:gd name="T66" fmla="*/ 8 w 6640"/>
                <a:gd name="T67" fmla="*/ 5884 h 6679"/>
                <a:gd name="T68" fmla="*/ 3 w 6640"/>
                <a:gd name="T69" fmla="*/ 5943 h 6679"/>
                <a:gd name="T70" fmla="*/ 1 w 6640"/>
                <a:gd name="T71" fmla="*/ 6036 h 6679"/>
                <a:gd name="T72" fmla="*/ 30 w 6640"/>
                <a:gd name="T73" fmla="*/ 6297 h 6679"/>
                <a:gd name="T74" fmla="*/ 54 w 6640"/>
                <a:gd name="T75" fmla="*/ 6318 h 6679"/>
                <a:gd name="T76" fmla="*/ 132 w 6640"/>
                <a:gd name="T77" fmla="*/ 6383 h 6679"/>
                <a:gd name="T78" fmla="*/ 211 w 6640"/>
                <a:gd name="T79" fmla="*/ 6444 h 6679"/>
                <a:gd name="T80" fmla="*/ 547 w 6640"/>
                <a:gd name="T81" fmla="*/ 6679 h 6679"/>
                <a:gd name="T82" fmla="*/ 507 w 6640"/>
                <a:gd name="T83" fmla="*/ 6419 h 6679"/>
                <a:gd name="T84" fmla="*/ 505 w 6640"/>
                <a:gd name="T85" fmla="*/ 6360 h 6679"/>
                <a:gd name="T86" fmla="*/ 505 w 6640"/>
                <a:gd name="T87" fmla="*/ 6356 h 6679"/>
                <a:gd name="T88" fmla="*/ 507 w 6640"/>
                <a:gd name="T89" fmla="*/ 6300 h 6679"/>
                <a:gd name="T90" fmla="*/ 586 w 6640"/>
                <a:gd name="T91" fmla="*/ 5804 h 6679"/>
                <a:gd name="T92" fmla="*/ 605 w 6640"/>
                <a:gd name="T93" fmla="*/ 5735 h 6679"/>
                <a:gd name="T94" fmla="*/ 626 w 6640"/>
                <a:gd name="T95" fmla="*/ 5665 h 6679"/>
                <a:gd name="T96" fmla="*/ 962 w 6640"/>
                <a:gd name="T97" fmla="*/ 4876 h 6679"/>
                <a:gd name="T98" fmla="*/ 1013 w 6640"/>
                <a:gd name="T99" fmla="*/ 4781 h 6679"/>
                <a:gd name="T100" fmla="*/ 1069 w 6640"/>
                <a:gd name="T101" fmla="*/ 4682 h 6679"/>
                <a:gd name="T102" fmla="*/ 2654 w 6640"/>
                <a:gd name="T103" fmla="*/ 2654 h 6679"/>
                <a:gd name="T104" fmla="*/ 4682 w 6640"/>
                <a:gd name="T105" fmla="*/ 1069 h 6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640" h="6679">
                  <a:moveTo>
                    <a:pt x="4682" y="1069"/>
                  </a:moveTo>
                  <a:cubicBezTo>
                    <a:pt x="4715" y="1050"/>
                    <a:pt x="4748" y="1031"/>
                    <a:pt x="4782" y="1013"/>
                  </a:cubicBezTo>
                  <a:cubicBezTo>
                    <a:pt x="4813" y="996"/>
                    <a:pt x="4845" y="979"/>
                    <a:pt x="4876" y="962"/>
                  </a:cubicBezTo>
                  <a:cubicBezTo>
                    <a:pt x="5153" y="816"/>
                    <a:pt x="5418" y="703"/>
                    <a:pt x="5665" y="626"/>
                  </a:cubicBezTo>
                  <a:cubicBezTo>
                    <a:pt x="5688" y="619"/>
                    <a:pt x="5712" y="612"/>
                    <a:pt x="5735" y="605"/>
                  </a:cubicBezTo>
                  <a:cubicBezTo>
                    <a:pt x="5758" y="599"/>
                    <a:pt x="5781" y="592"/>
                    <a:pt x="5804" y="586"/>
                  </a:cubicBezTo>
                  <a:cubicBezTo>
                    <a:pt x="5981" y="539"/>
                    <a:pt x="6147" y="513"/>
                    <a:pt x="6300" y="507"/>
                  </a:cubicBezTo>
                  <a:cubicBezTo>
                    <a:pt x="6318" y="506"/>
                    <a:pt x="6337" y="505"/>
                    <a:pt x="6355" y="505"/>
                  </a:cubicBezTo>
                  <a:cubicBezTo>
                    <a:pt x="6357" y="505"/>
                    <a:pt x="6358" y="505"/>
                    <a:pt x="6360" y="505"/>
                  </a:cubicBezTo>
                  <a:cubicBezTo>
                    <a:pt x="6380" y="505"/>
                    <a:pt x="6399" y="506"/>
                    <a:pt x="6419" y="507"/>
                  </a:cubicBezTo>
                  <a:cubicBezTo>
                    <a:pt x="6496" y="511"/>
                    <a:pt x="6571" y="520"/>
                    <a:pt x="6640" y="536"/>
                  </a:cubicBezTo>
                  <a:cubicBezTo>
                    <a:pt x="6579" y="440"/>
                    <a:pt x="6513" y="346"/>
                    <a:pt x="6443" y="254"/>
                  </a:cubicBezTo>
                  <a:cubicBezTo>
                    <a:pt x="6424" y="229"/>
                    <a:pt x="6404" y="204"/>
                    <a:pt x="6385" y="179"/>
                  </a:cubicBezTo>
                  <a:cubicBezTo>
                    <a:pt x="6364" y="153"/>
                    <a:pt x="6344" y="128"/>
                    <a:pt x="6323" y="102"/>
                  </a:cubicBezTo>
                  <a:cubicBezTo>
                    <a:pt x="6300" y="75"/>
                    <a:pt x="6276" y="48"/>
                    <a:pt x="6253" y="21"/>
                  </a:cubicBezTo>
                  <a:cubicBezTo>
                    <a:pt x="6186" y="8"/>
                    <a:pt x="6114" y="1"/>
                    <a:pt x="6036" y="1"/>
                  </a:cubicBezTo>
                  <a:cubicBezTo>
                    <a:pt x="6006" y="0"/>
                    <a:pt x="5975" y="2"/>
                    <a:pt x="5943" y="3"/>
                  </a:cubicBezTo>
                  <a:cubicBezTo>
                    <a:pt x="5924" y="4"/>
                    <a:pt x="5904" y="6"/>
                    <a:pt x="5884" y="8"/>
                  </a:cubicBezTo>
                  <a:cubicBezTo>
                    <a:pt x="5864" y="10"/>
                    <a:pt x="5844" y="13"/>
                    <a:pt x="5824" y="15"/>
                  </a:cubicBezTo>
                  <a:cubicBezTo>
                    <a:pt x="5639" y="39"/>
                    <a:pt x="5433" y="93"/>
                    <a:pt x="5212" y="174"/>
                  </a:cubicBezTo>
                  <a:cubicBezTo>
                    <a:pt x="5189" y="183"/>
                    <a:pt x="5166" y="191"/>
                    <a:pt x="5142" y="200"/>
                  </a:cubicBezTo>
                  <a:cubicBezTo>
                    <a:pt x="5118" y="210"/>
                    <a:pt x="5094" y="219"/>
                    <a:pt x="5070" y="229"/>
                  </a:cubicBezTo>
                  <a:cubicBezTo>
                    <a:pt x="4719" y="373"/>
                    <a:pt x="4334" y="582"/>
                    <a:pt x="3933" y="848"/>
                  </a:cubicBezTo>
                  <a:cubicBezTo>
                    <a:pt x="3893" y="874"/>
                    <a:pt x="3852" y="902"/>
                    <a:pt x="3812" y="929"/>
                  </a:cubicBezTo>
                  <a:cubicBezTo>
                    <a:pt x="3767" y="960"/>
                    <a:pt x="3723" y="991"/>
                    <a:pt x="3679" y="1023"/>
                  </a:cubicBezTo>
                  <a:cubicBezTo>
                    <a:pt x="3206" y="1360"/>
                    <a:pt x="2718" y="1771"/>
                    <a:pt x="2245" y="2245"/>
                  </a:cubicBezTo>
                  <a:cubicBezTo>
                    <a:pt x="1771" y="2718"/>
                    <a:pt x="1360" y="3206"/>
                    <a:pt x="1023" y="3679"/>
                  </a:cubicBezTo>
                  <a:cubicBezTo>
                    <a:pt x="991" y="3723"/>
                    <a:pt x="960" y="3768"/>
                    <a:pt x="929" y="3812"/>
                  </a:cubicBezTo>
                  <a:cubicBezTo>
                    <a:pt x="902" y="3852"/>
                    <a:pt x="874" y="3893"/>
                    <a:pt x="848" y="3933"/>
                  </a:cubicBezTo>
                  <a:cubicBezTo>
                    <a:pt x="582" y="4334"/>
                    <a:pt x="373" y="4719"/>
                    <a:pt x="229" y="5070"/>
                  </a:cubicBezTo>
                  <a:cubicBezTo>
                    <a:pt x="219" y="5094"/>
                    <a:pt x="210" y="5118"/>
                    <a:pt x="200" y="5142"/>
                  </a:cubicBezTo>
                  <a:cubicBezTo>
                    <a:pt x="191" y="5166"/>
                    <a:pt x="183" y="5189"/>
                    <a:pt x="174" y="5212"/>
                  </a:cubicBezTo>
                  <a:cubicBezTo>
                    <a:pt x="93" y="5433"/>
                    <a:pt x="39" y="5639"/>
                    <a:pt x="15" y="5824"/>
                  </a:cubicBezTo>
                  <a:cubicBezTo>
                    <a:pt x="12" y="5844"/>
                    <a:pt x="10" y="5864"/>
                    <a:pt x="8" y="5884"/>
                  </a:cubicBezTo>
                  <a:cubicBezTo>
                    <a:pt x="6" y="5904"/>
                    <a:pt x="5" y="5924"/>
                    <a:pt x="3" y="5943"/>
                  </a:cubicBezTo>
                  <a:cubicBezTo>
                    <a:pt x="2" y="5975"/>
                    <a:pt x="0" y="6006"/>
                    <a:pt x="1" y="6036"/>
                  </a:cubicBezTo>
                  <a:cubicBezTo>
                    <a:pt x="1" y="6131"/>
                    <a:pt x="10" y="6218"/>
                    <a:pt x="30" y="6297"/>
                  </a:cubicBezTo>
                  <a:cubicBezTo>
                    <a:pt x="38" y="6304"/>
                    <a:pt x="46" y="6311"/>
                    <a:pt x="54" y="6318"/>
                  </a:cubicBezTo>
                  <a:cubicBezTo>
                    <a:pt x="80" y="6340"/>
                    <a:pt x="106" y="6362"/>
                    <a:pt x="132" y="6383"/>
                  </a:cubicBezTo>
                  <a:cubicBezTo>
                    <a:pt x="158" y="6404"/>
                    <a:pt x="184" y="6424"/>
                    <a:pt x="211" y="6444"/>
                  </a:cubicBezTo>
                  <a:cubicBezTo>
                    <a:pt x="320" y="6528"/>
                    <a:pt x="432" y="6606"/>
                    <a:pt x="547" y="6679"/>
                  </a:cubicBezTo>
                  <a:cubicBezTo>
                    <a:pt x="524" y="6598"/>
                    <a:pt x="511" y="6511"/>
                    <a:pt x="507" y="6419"/>
                  </a:cubicBezTo>
                  <a:cubicBezTo>
                    <a:pt x="506" y="6399"/>
                    <a:pt x="505" y="6380"/>
                    <a:pt x="505" y="6360"/>
                  </a:cubicBezTo>
                  <a:cubicBezTo>
                    <a:pt x="505" y="6358"/>
                    <a:pt x="505" y="6357"/>
                    <a:pt x="505" y="6356"/>
                  </a:cubicBezTo>
                  <a:cubicBezTo>
                    <a:pt x="505" y="6337"/>
                    <a:pt x="506" y="6318"/>
                    <a:pt x="507" y="6300"/>
                  </a:cubicBezTo>
                  <a:cubicBezTo>
                    <a:pt x="512" y="6147"/>
                    <a:pt x="539" y="5981"/>
                    <a:pt x="586" y="5804"/>
                  </a:cubicBezTo>
                  <a:cubicBezTo>
                    <a:pt x="592" y="5781"/>
                    <a:pt x="599" y="5758"/>
                    <a:pt x="605" y="5735"/>
                  </a:cubicBezTo>
                  <a:cubicBezTo>
                    <a:pt x="612" y="5712"/>
                    <a:pt x="619" y="5688"/>
                    <a:pt x="626" y="5665"/>
                  </a:cubicBezTo>
                  <a:cubicBezTo>
                    <a:pt x="703" y="5418"/>
                    <a:pt x="817" y="5153"/>
                    <a:pt x="962" y="4876"/>
                  </a:cubicBezTo>
                  <a:cubicBezTo>
                    <a:pt x="979" y="4845"/>
                    <a:pt x="996" y="4813"/>
                    <a:pt x="1013" y="4781"/>
                  </a:cubicBezTo>
                  <a:cubicBezTo>
                    <a:pt x="1031" y="4748"/>
                    <a:pt x="1050" y="4715"/>
                    <a:pt x="1069" y="4682"/>
                  </a:cubicBezTo>
                  <a:cubicBezTo>
                    <a:pt x="1441" y="4031"/>
                    <a:pt x="1982" y="3328"/>
                    <a:pt x="2654" y="2654"/>
                  </a:cubicBezTo>
                  <a:cubicBezTo>
                    <a:pt x="3328" y="1982"/>
                    <a:pt x="4031" y="1441"/>
                    <a:pt x="4682" y="10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0" name="Freeform 12">
              <a:extLst>
                <a:ext uri="{FF2B5EF4-FFF2-40B4-BE49-F238E27FC236}">
                  <a16:creationId xmlns:a16="http://schemas.microsoft.com/office/drawing/2014/main" id="{6967A9C6-FB4D-4270-BB09-0FBE5B7A6E5E}"/>
                </a:ext>
              </a:extLst>
            </p:cNvPr>
            <p:cNvSpPr>
              <a:spLocks/>
            </p:cNvSpPr>
            <p:nvPr/>
          </p:nvSpPr>
          <p:spPr bwMode="auto">
            <a:xfrm>
              <a:off x="5525067" y="2309661"/>
              <a:ext cx="3917703" cy="3936801"/>
            </a:xfrm>
            <a:custGeom>
              <a:avLst/>
              <a:gdLst>
                <a:gd name="T0" fmla="*/ 3424 w 5896"/>
                <a:gd name="T1" fmla="*/ 1876 h 5920"/>
                <a:gd name="T2" fmla="*/ 3633 w 5896"/>
                <a:gd name="T3" fmla="*/ 1712 h 5920"/>
                <a:gd name="T4" fmla="*/ 3808 w 5896"/>
                <a:gd name="T5" fmla="*/ 1582 h 5920"/>
                <a:gd name="T6" fmla="*/ 4916 w 5896"/>
                <a:gd name="T7" fmla="*/ 937 h 5920"/>
                <a:gd name="T8" fmla="*/ 5004 w 5896"/>
                <a:gd name="T9" fmla="*/ 901 h 5920"/>
                <a:gd name="T10" fmla="*/ 5086 w 5896"/>
                <a:gd name="T11" fmla="*/ 873 h 5920"/>
                <a:gd name="T12" fmla="*/ 5614 w 5896"/>
                <a:gd name="T13" fmla="*/ 767 h 5920"/>
                <a:gd name="T14" fmla="*/ 5621 w 5896"/>
                <a:gd name="T15" fmla="*/ 767 h 5920"/>
                <a:gd name="T16" fmla="*/ 5682 w 5896"/>
                <a:gd name="T17" fmla="*/ 770 h 5920"/>
                <a:gd name="T18" fmla="*/ 5742 w 5896"/>
                <a:gd name="T19" fmla="*/ 777 h 5920"/>
                <a:gd name="T20" fmla="*/ 5896 w 5896"/>
                <a:gd name="T21" fmla="*/ 821 h 5920"/>
                <a:gd name="T22" fmla="*/ 5826 w 5896"/>
                <a:gd name="T23" fmla="*/ 476 h 5920"/>
                <a:gd name="T24" fmla="*/ 5792 w 5896"/>
                <a:gd name="T25" fmla="*/ 349 h 5920"/>
                <a:gd name="T26" fmla="*/ 5752 w 5896"/>
                <a:gd name="T27" fmla="*/ 214 h 5920"/>
                <a:gd name="T28" fmla="*/ 5714 w 5896"/>
                <a:gd name="T29" fmla="*/ 97 h 5920"/>
                <a:gd name="T30" fmla="*/ 5444 w 5896"/>
                <a:gd name="T31" fmla="*/ 9 h 5920"/>
                <a:gd name="T32" fmla="*/ 5385 w 5896"/>
                <a:gd name="T33" fmla="*/ 3 h 5920"/>
                <a:gd name="T34" fmla="*/ 5324 w 5896"/>
                <a:gd name="T35" fmla="*/ 1 h 5920"/>
                <a:gd name="T36" fmla="*/ 5312 w 5896"/>
                <a:gd name="T37" fmla="*/ 0 h 5920"/>
                <a:gd name="T38" fmla="*/ 5307 w 5896"/>
                <a:gd name="T39" fmla="*/ 0 h 5920"/>
                <a:gd name="T40" fmla="*/ 4713 w 5896"/>
                <a:gd name="T41" fmla="*/ 112 h 5920"/>
                <a:gd name="T42" fmla="*/ 4636 w 5896"/>
                <a:gd name="T43" fmla="*/ 137 h 5920"/>
                <a:gd name="T44" fmla="*/ 4555 w 5896"/>
                <a:gd name="T45" fmla="*/ 168 h 5920"/>
                <a:gd name="T46" fmla="*/ 3688 w 5896"/>
                <a:gd name="T47" fmla="*/ 607 h 5920"/>
                <a:gd name="T48" fmla="*/ 3564 w 5896"/>
                <a:gd name="T49" fmla="*/ 684 h 5920"/>
                <a:gd name="T50" fmla="*/ 3430 w 5896"/>
                <a:gd name="T51" fmla="*/ 773 h 5920"/>
                <a:gd name="T52" fmla="*/ 1980 w 5896"/>
                <a:gd name="T53" fmla="*/ 1980 h 5920"/>
                <a:gd name="T54" fmla="*/ 774 w 5896"/>
                <a:gd name="T55" fmla="*/ 3429 h 5920"/>
                <a:gd name="T56" fmla="*/ 685 w 5896"/>
                <a:gd name="T57" fmla="*/ 3563 h 5920"/>
                <a:gd name="T58" fmla="*/ 607 w 5896"/>
                <a:gd name="T59" fmla="*/ 3688 h 5920"/>
                <a:gd name="T60" fmla="*/ 169 w 5896"/>
                <a:gd name="T61" fmla="*/ 4554 h 5920"/>
                <a:gd name="T62" fmla="*/ 137 w 5896"/>
                <a:gd name="T63" fmla="*/ 4635 h 5920"/>
                <a:gd name="T64" fmla="*/ 113 w 5896"/>
                <a:gd name="T65" fmla="*/ 4712 h 5920"/>
                <a:gd name="T66" fmla="*/ 1 w 5896"/>
                <a:gd name="T67" fmla="*/ 5311 h 5920"/>
                <a:gd name="T68" fmla="*/ 2 w 5896"/>
                <a:gd name="T69" fmla="*/ 5323 h 5920"/>
                <a:gd name="T70" fmla="*/ 4 w 5896"/>
                <a:gd name="T71" fmla="*/ 5384 h 5920"/>
                <a:gd name="T72" fmla="*/ 10 w 5896"/>
                <a:gd name="T73" fmla="*/ 5443 h 5920"/>
                <a:gd name="T74" fmla="*/ 121 w 5896"/>
                <a:gd name="T75" fmla="*/ 5747 h 5920"/>
                <a:gd name="T76" fmla="*/ 150 w 5896"/>
                <a:gd name="T77" fmla="*/ 5756 h 5920"/>
                <a:gd name="T78" fmla="*/ 291 w 5896"/>
                <a:gd name="T79" fmla="*/ 5800 h 5920"/>
                <a:gd name="T80" fmla="*/ 425 w 5896"/>
                <a:gd name="T81" fmla="*/ 5836 h 5920"/>
                <a:gd name="T82" fmla="*/ 835 w 5896"/>
                <a:gd name="T83" fmla="*/ 5920 h 5920"/>
                <a:gd name="T84" fmla="*/ 778 w 5896"/>
                <a:gd name="T85" fmla="*/ 5741 h 5920"/>
                <a:gd name="T86" fmla="*/ 771 w 5896"/>
                <a:gd name="T87" fmla="*/ 5681 h 5920"/>
                <a:gd name="T88" fmla="*/ 769 w 5896"/>
                <a:gd name="T89" fmla="*/ 5620 h 5920"/>
                <a:gd name="T90" fmla="*/ 768 w 5896"/>
                <a:gd name="T91" fmla="*/ 5612 h 5920"/>
                <a:gd name="T92" fmla="*/ 874 w 5896"/>
                <a:gd name="T93" fmla="*/ 5084 h 5920"/>
                <a:gd name="T94" fmla="*/ 903 w 5896"/>
                <a:gd name="T95" fmla="*/ 5002 h 5920"/>
                <a:gd name="T96" fmla="*/ 938 w 5896"/>
                <a:gd name="T97" fmla="*/ 4915 h 5920"/>
                <a:gd name="T98" fmla="*/ 1583 w 5896"/>
                <a:gd name="T99" fmla="*/ 3807 h 5920"/>
                <a:gd name="T100" fmla="*/ 1713 w 5896"/>
                <a:gd name="T101" fmla="*/ 3632 h 5920"/>
                <a:gd name="T102" fmla="*/ 1877 w 5896"/>
                <a:gd name="T103" fmla="*/ 3424 h 5920"/>
                <a:gd name="T104" fmla="*/ 2610 w 5896"/>
                <a:gd name="T105" fmla="*/ 2610 h 5920"/>
                <a:gd name="T106" fmla="*/ 3424 w 5896"/>
                <a:gd name="T107" fmla="*/ 1876 h 5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96" h="5920">
                  <a:moveTo>
                    <a:pt x="3424" y="1876"/>
                  </a:moveTo>
                  <a:cubicBezTo>
                    <a:pt x="3494" y="1819"/>
                    <a:pt x="3564" y="1765"/>
                    <a:pt x="3633" y="1712"/>
                  </a:cubicBezTo>
                  <a:cubicBezTo>
                    <a:pt x="3692" y="1667"/>
                    <a:pt x="3750" y="1624"/>
                    <a:pt x="3808" y="1582"/>
                  </a:cubicBezTo>
                  <a:cubicBezTo>
                    <a:pt x="4204" y="1295"/>
                    <a:pt x="4581" y="1076"/>
                    <a:pt x="4916" y="937"/>
                  </a:cubicBezTo>
                  <a:cubicBezTo>
                    <a:pt x="4945" y="925"/>
                    <a:pt x="4975" y="912"/>
                    <a:pt x="5004" y="901"/>
                  </a:cubicBezTo>
                  <a:cubicBezTo>
                    <a:pt x="5032" y="891"/>
                    <a:pt x="5058" y="882"/>
                    <a:pt x="5086" y="873"/>
                  </a:cubicBezTo>
                  <a:cubicBezTo>
                    <a:pt x="5281" y="806"/>
                    <a:pt x="5460" y="768"/>
                    <a:pt x="5614" y="767"/>
                  </a:cubicBezTo>
                  <a:cubicBezTo>
                    <a:pt x="5616" y="767"/>
                    <a:pt x="5618" y="767"/>
                    <a:pt x="5621" y="767"/>
                  </a:cubicBezTo>
                  <a:cubicBezTo>
                    <a:pt x="5642" y="768"/>
                    <a:pt x="5662" y="768"/>
                    <a:pt x="5682" y="770"/>
                  </a:cubicBezTo>
                  <a:cubicBezTo>
                    <a:pt x="5702" y="771"/>
                    <a:pt x="5722" y="774"/>
                    <a:pt x="5742" y="777"/>
                  </a:cubicBezTo>
                  <a:cubicBezTo>
                    <a:pt x="5797" y="785"/>
                    <a:pt x="5849" y="800"/>
                    <a:pt x="5896" y="821"/>
                  </a:cubicBezTo>
                  <a:cubicBezTo>
                    <a:pt x="5877" y="705"/>
                    <a:pt x="5854" y="590"/>
                    <a:pt x="5826" y="476"/>
                  </a:cubicBezTo>
                  <a:cubicBezTo>
                    <a:pt x="5816" y="433"/>
                    <a:pt x="5804" y="391"/>
                    <a:pt x="5792" y="349"/>
                  </a:cubicBezTo>
                  <a:cubicBezTo>
                    <a:pt x="5779" y="304"/>
                    <a:pt x="5766" y="259"/>
                    <a:pt x="5752" y="214"/>
                  </a:cubicBezTo>
                  <a:cubicBezTo>
                    <a:pt x="5740" y="175"/>
                    <a:pt x="5728" y="136"/>
                    <a:pt x="5714" y="97"/>
                  </a:cubicBezTo>
                  <a:cubicBezTo>
                    <a:pt x="5639" y="51"/>
                    <a:pt x="5549" y="22"/>
                    <a:pt x="5444" y="9"/>
                  </a:cubicBezTo>
                  <a:cubicBezTo>
                    <a:pt x="5425" y="6"/>
                    <a:pt x="5405" y="4"/>
                    <a:pt x="5385" y="3"/>
                  </a:cubicBezTo>
                  <a:cubicBezTo>
                    <a:pt x="5365" y="1"/>
                    <a:pt x="5345" y="1"/>
                    <a:pt x="5324" y="1"/>
                  </a:cubicBezTo>
                  <a:cubicBezTo>
                    <a:pt x="5320" y="1"/>
                    <a:pt x="5316" y="0"/>
                    <a:pt x="5312" y="0"/>
                  </a:cubicBezTo>
                  <a:cubicBezTo>
                    <a:pt x="5311" y="0"/>
                    <a:pt x="5309" y="0"/>
                    <a:pt x="5307" y="0"/>
                  </a:cubicBezTo>
                  <a:cubicBezTo>
                    <a:pt x="5135" y="0"/>
                    <a:pt x="4934" y="40"/>
                    <a:pt x="4713" y="112"/>
                  </a:cubicBezTo>
                  <a:cubicBezTo>
                    <a:pt x="4687" y="120"/>
                    <a:pt x="4662" y="127"/>
                    <a:pt x="4636" y="137"/>
                  </a:cubicBezTo>
                  <a:cubicBezTo>
                    <a:pt x="4610" y="146"/>
                    <a:pt x="4582" y="158"/>
                    <a:pt x="4555" y="168"/>
                  </a:cubicBezTo>
                  <a:cubicBezTo>
                    <a:pt x="4287" y="270"/>
                    <a:pt x="3995" y="418"/>
                    <a:pt x="3688" y="607"/>
                  </a:cubicBezTo>
                  <a:cubicBezTo>
                    <a:pt x="3647" y="632"/>
                    <a:pt x="3606" y="657"/>
                    <a:pt x="3564" y="684"/>
                  </a:cubicBezTo>
                  <a:cubicBezTo>
                    <a:pt x="3520" y="713"/>
                    <a:pt x="3475" y="743"/>
                    <a:pt x="3430" y="773"/>
                  </a:cubicBezTo>
                  <a:cubicBezTo>
                    <a:pt x="2956" y="1092"/>
                    <a:pt x="2460" y="1499"/>
                    <a:pt x="1980" y="1980"/>
                  </a:cubicBezTo>
                  <a:cubicBezTo>
                    <a:pt x="1500" y="2459"/>
                    <a:pt x="1093" y="2956"/>
                    <a:pt x="774" y="3429"/>
                  </a:cubicBezTo>
                  <a:cubicBezTo>
                    <a:pt x="744" y="3474"/>
                    <a:pt x="714" y="3519"/>
                    <a:pt x="685" y="3563"/>
                  </a:cubicBezTo>
                  <a:cubicBezTo>
                    <a:pt x="658" y="3605"/>
                    <a:pt x="633" y="3646"/>
                    <a:pt x="607" y="3688"/>
                  </a:cubicBezTo>
                  <a:cubicBezTo>
                    <a:pt x="419" y="3994"/>
                    <a:pt x="271" y="4287"/>
                    <a:pt x="169" y="4554"/>
                  </a:cubicBezTo>
                  <a:cubicBezTo>
                    <a:pt x="158" y="4581"/>
                    <a:pt x="147" y="4609"/>
                    <a:pt x="137" y="4635"/>
                  </a:cubicBezTo>
                  <a:cubicBezTo>
                    <a:pt x="128" y="4661"/>
                    <a:pt x="121" y="4686"/>
                    <a:pt x="113" y="4712"/>
                  </a:cubicBezTo>
                  <a:cubicBezTo>
                    <a:pt x="40" y="4935"/>
                    <a:pt x="0" y="5138"/>
                    <a:pt x="1" y="5311"/>
                  </a:cubicBezTo>
                  <a:cubicBezTo>
                    <a:pt x="1" y="5315"/>
                    <a:pt x="1" y="5319"/>
                    <a:pt x="2" y="5323"/>
                  </a:cubicBezTo>
                  <a:cubicBezTo>
                    <a:pt x="2" y="5344"/>
                    <a:pt x="2" y="5364"/>
                    <a:pt x="4" y="5384"/>
                  </a:cubicBezTo>
                  <a:cubicBezTo>
                    <a:pt x="5" y="5404"/>
                    <a:pt x="7" y="5424"/>
                    <a:pt x="10" y="5443"/>
                  </a:cubicBezTo>
                  <a:cubicBezTo>
                    <a:pt x="25" y="5564"/>
                    <a:pt x="62" y="5665"/>
                    <a:pt x="121" y="5747"/>
                  </a:cubicBezTo>
                  <a:cubicBezTo>
                    <a:pt x="131" y="5750"/>
                    <a:pt x="140" y="5753"/>
                    <a:pt x="150" y="5756"/>
                  </a:cubicBezTo>
                  <a:cubicBezTo>
                    <a:pt x="197" y="5771"/>
                    <a:pt x="244" y="5786"/>
                    <a:pt x="291" y="5800"/>
                  </a:cubicBezTo>
                  <a:cubicBezTo>
                    <a:pt x="336" y="5813"/>
                    <a:pt x="380" y="5825"/>
                    <a:pt x="425" y="5836"/>
                  </a:cubicBezTo>
                  <a:cubicBezTo>
                    <a:pt x="560" y="5870"/>
                    <a:pt x="697" y="5898"/>
                    <a:pt x="835" y="5920"/>
                  </a:cubicBezTo>
                  <a:cubicBezTo>
                    <a:pt x="807" y="5866"/>
                    <a:pt x="788" y="5806"/>
                    <a:pt x="778" y="5741"/>
                  </a:cubicBezTo>
                  <a:cubicBezTo>
                    <a:pt x="775" y="5721"/>
                    <a:pt x="773" y="5701"/>
                    <a:pt x="771" y="5681"/>
                  </a:cubicBezTo>
                  <a:cubicBezTo>
                    <a:pt x="769" y="5661"/>
                    <a:pt x="769" y="5641"/>
                    <a:pt x="769" y="5620"/>
                  </a:cubicBezTo>
                  <a:cubicBezTo>
                    <a:pt x="769" y="5617"/>
                    <a:pt x="768" y="5615"/>
                    <a:pt x="768" y="5612"/>
                  </a:cubicBezTo>
                  <a:cubicBezTo>
                    <a:pt x="769" y="5459"/>
                    <a:pt x="807" y="5280"/>
                    <a:pt x="874" y="5084"/>
                  </a:cubicBezTo>
                  <a:cubicBezTo>
                    <a:pt x="884" y="5057"/>
                    <a:pt x="892" y="5030"/>
                    <a:pt x="903" y="5002"/>
                  </a:cubicBezTo>
                  <a:cubicBezTo>
                    <a:pt x="913" y="4974"/>
                    <a:pt x="926" y="4944"/>
                    <a:pt x="938" y="4915"/>
                  </a:cubicBezTo>
                  <a:cubicBezTo>
                    <a:pt x="1077" y="4580"/>
                    <a:pt x="1296" y="4203"/>
                    <a:pt x="1583" y="3807"/>
                  </a:cubicBezTo>
                  <a:cubicBezTo>
                    <a:pt x="1625" y="3749"/>
                    <a:pt x="1668" y="3691"/>
                    <a:pt x="1713" y="3632"/>
                  </a:cubicBezTo>
                  <a:cubicBezTo>
                    <a:pt x="1765" y="3563"/>
                    <a:pt x="1820" y="3493"/>
                    <a:pt x="1877" y="3424"/>
                  </a:cubicBezTo>
                  <a:cubicBezTo>
                    <a:pt x="2095" y="3154"/>
                    <a:pt x="2341" y="2880"/>
                    <a:pt x="2610" y="2610"/>
                  </a:cubicBezTo>
                  <a:cubicBezTo>
                    <a:pt x="2881" y="2340"/>
                    <a:pt x="3155" y="2095"/>
                    <a:pt x="3424" y="187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1" name="Freeform 13">
              <a:extLst>
                <a:ext uri="{FF2B5EF4-FFF2-40B4-BE49-F238E27FC236}">
                  <a16:creationId xmlns:a16="http://schemas.microsoft.com/office/drawing/2014/main" id="{85D81FB3-8A4F-49F2-A164-8A0BF5C67920}"/>
                </a:ext>
              </a:extLst>
            </p:cNvPr>
            <p:cNvSpPr>
              <a:spLocks/>
            </p:cNvSpPr>
            <p:nvPr/>
          </p:nvSpPr>
          <p:spPr bwMode="auto">
            <a:xfrm>
              <a:off x="6849611" y="3634205"/>
              <a:ext cx="2613621" cy="2625898"/>
            </a:xfrm>
            <a:custGeom>
              <a:avLst/>
              <a:gdLst>
                <a:gd name="T0" fmla="*/ 3902 w 3934"/>
                <a:gd name="T1" fmla="*/ 32 h 3950"/>
                <a:gd name="T2" fmla="*/ 3727 w 3934"/>
                <a:gd name="T3" fmla="*/ 0 h 3950"/>
                <a:gd name="T4" fmla="*/ 3687 w 3934"/>
                <a:gd name="T5" fmla="*/ 3 h 3950"/>
                <a:gd name="T6" fmla="*/ 3616 w 3934"/>
                <a:gd name="T7" fmla="*/ 8 h 3950"/>
                <a:gd name="T8" fmla="*/ 3541 w 3934"/>
                <a:gd name="T9" fmla="*/ 21 h 3950"/>
                <a:gd name="T10" fmla="*/ 3005 w 3934"/>
                <a:gd name="T11" fmla="*/ 222 h 3950"/>
                <a:gd name="T12" fmla="*/ 2891 w 3934"/>
                <a:gd name="T13" fmla="*/ 283 h 3950"/>
                <a:gd name="T14" fmla="*/ 2768 w 3934"/>
                <a:gd name="T15" fmla="*/ 353 h 3950"/>
                <a:gd name="T16" fmla="*/ 1424 w 3934"/>
                <a:gd name="T17" fmla="*/ 1424 h 3950"/>
                <a:gd name="T18" fmla="*/ 353 w 3934"/>
                <a:gd name="T19" fmla="*/ 2768 h 3950"/>
                <a:gd name="T20" fmla="*/ 283 w 3934"/>
                <a:gd name="T21" fmla="*/ 2891 h 3950"/>
                <a:gd name="T22" fmla="*/ 222 w 3934"/>
                <a:gd name="T23" fmla="*/ 3005 h 3950"/>
                <a:gd name="T24" fmla="*/ 22 w 3934"/>
                <a:gd name="T25" fmla="*/ 3540 h 3950"/>
                <a:gd name="T26" fmla="*/ 8 w 3934"/>
                <a:gd name="T27" fmla="*/ 3616 h 3950"/>
                <a:gd name="T28" fmla="*/ 3 w 3934"/>
                <a:gd name="T29" fmla="*/ 3686 h 3950"/>
                <a:gd name="T30" fmla="*/ 1 w 3934"/>
                <a:gd name="T31" fmla="*/ 3727 h 3950"/>
                <a:gd name="T32" fmla="*/ 32 w 3934"/>
                <a:gd name="T33" fmla="*/ 3902 h 3950"/>
                <a:gd name="T34" fmla="*/ 56 w 3934"/>
                <a:gd name="T35" fmla="*/ 3950 h 3950"/>
                <a:gd name="T36" fmla="*/ 79 w 3934"/>
                <a:gd name="T37" fmla="*/ 3947 h 3950"/>
                <a:gd name="T38" fmla="*/ 282 w 3934"/>
                <a:gd name="T39" fmla="*/ 3917 h 3950"/>
                <a:gd name="T40" fmla="*/ 1127 w 3934"/>
                <a:gd name="T41" fmla="*/ 3685 h 3950"/>
                <a:gd name="T42" fmla="*/ 1020 w 3934"/>
                <a:gd name="T43" fmla="*/ 3624 h 3950"/>
                <a:gd name="T44" fmla="*/ 959 w 3934"/>
                <a:gd name="T45" fmla="*/ 3517 h 3950"/>
                <a:gd name="T46" fmla="*/ 946 w 3934"/>
                <a:gd name="T47" fmla="*/ 3454 h 3950"/>
                <a:gd name="T48" fmla="*/ 943 w 3934"/>
                <a:gd name="T49" fmla="*/ 3410 h 3950"/>
                <a:gd name="T50" fmla="*/ 945 w 3934"/>
                <a:gd name="T51" fmla="*/ 3382 h 3950"/>
                <a:gd name="T52" fmla="*/ 1060 w 3934"/>
                <a:gd name="T53" fmla="*/ 2995 h 3950"/>
                <a:gd name="T54" fmla="*/ 1123 w 3934"/>
                <a:gd name="T55" fmla="*/ 2873 h 3950"/>
                <a:gd name="T56" fmla="*/ 1207 w 3934"/>
                <a:gd name="T57" fmla="*/ 2729 h 3950"/>
                <a:gd name="T58" fmla="*/ 1890 w 3934"/>
                <a:gd name="T59" fmla="*/ 1890 h 3950"/>
                <a:gd name="T60" fmla="*/ 2729 w 3934"/>
                <a:gd name="T61" fmla="*/ 1207 h 3950"/>
                <a:gd name="T62" fmla="*/ 2873 w 3934"/>
                <a:gd name="T63" fmla="*/ 1123 h 3950"/>
                <a:gd name="T64" fmla="*/ 2994 w 3934"/>
                <a:gd name="T65" fmla="*/ 1061 h 3950"/>
                <a:gd name="T66" fmla="*/ 3382 w 3934"/>
                <a:gd name="T67" fmla="*/ 946 h 3950"/>
                <a:gd name="T68" fmla="*/ 3410 w 3934"/>
                <a:gd name="T69" fmla="*/ 943 h 3950"/>
                <a:gd name="T70" fmla="*/ 3454 w 3934"/>
                <a:gd name="T71" fmla="*/ 947 h 3950"/>
                <a:gd name="T72" fmla="*/ 3517 w 3934"/>
                <a:gd name="T73" fmla="*/ 959 h 3950"/>
                <a:gd name="T74" fmla="*/ 3624 w 3934"/>
                <a:gd name="T75" fmla="*/ 1020 h 3950"/>
                <a:gd name="T76" fmla="*/ 3679 w 3934"/>
                <a:gd name="T77" fmla="*/ 1109 h 3950"/>
                <a:gd name="T78" fmla="*/ 3893 w 3934"/>
                <a:gd name="T79" fmla="*/ 331 h 3950"/>
                <a:gd name="T80" fmla="*/ 3924 w 3934"/>
                <a:gd name="T81" fmla="*/ 131 h 3950"/>
                <a:gd name="T82" fmla="*/ 3934 w 3934"/>
                <a:gd name="T83" fmla="*/ 47 h 3950"/>
                <a:gd name="T84" fmla="*/ 3902 w 3934"/>
                <a:gd name="T85" fmla="*/ 32 h 3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34" h="3950">
                  <a:moveTo>
                    <a:pt x="3902" y="32"/>
                  </a:moveTo>
                  <a:cubicBezTo>
                    <a:pt x="3854" y="12"/>
                    <a:pt x="3797" y="1"/>
                    <a:pt x="3727" y="0"/>
                  </a:cubicBezTo>
                  <a:cubicBezTo>
                    <a:pt x="3714" y="0"/>
                    <a:pt x="3700" y="2"/>
                    <a:pt x="3687" y="3"/>
                  </a:cubicBezTo>
                  <a:cubicBezTo>
                    <a:pt x="3664" y="4"/>
                    <a:pt x="3641" y="5"/>
                    <a:pt x="3616" y="8"/>
                  </a:cubicBezTo>
                  <a:cubicBezTo>
                    <a:pt x="3592" y="12"/>
                    <a:pt x="3567" y="16"/>
                    <a:pt x="3541" y="21"/>
                  </a:cubicBezTo>
                  <a:cubicBezTo>
                    <a:pt x="3386" y="53"/>
                    <a:pt x="3204" y="121"/>
                    <a:pt x="3005" y="222"/>
                  </a:cubicBezTo>
                  <a:cubicBezTo>
                    <a:pt x="2967" y="241"/>
                    <a:pt x="2929" y="262"/>
                    <a:pt x="2891" y="283"/>
                  </a:cubicBezTo>
                  <a:cubicBezTo>
                    <a:pt x="2851" y="305"/>
                    <a:pt x="2810" y="329"/>
                    <a:pt x="2768" y="353"/>
                  </a:cubicBezTo>
                  <a:cubicBezTo>
                    <a:pt x="2350" y="601"/>
                    <a:pt x="1878" y="968"/>
                    <a:pt x="1424" y="1424"/>
                  </a:cubicBezTo>
                  <a:cubicBezTo>
                    <a:pt x="967" y="1878"/>
                    <a:pt x="601" y="2350"/>
                    <a:pt x="353" y="2768"/>
                  </a:cubicBezTo>
                  <a:cubicBezTo>
                    <a:pt x="329" y="2810"/>
                    <a:pt x="305" y="2851"/>
                    <a:pt x="283" y="2891"/>
                  </a:cubicBezTo>
                  <a:cubicBezTo>
                    <a:pt x="261" y="2930"/>
                    <a:pt x="241" y="2968"/>
                    <a:pt x="222" y="3005"/>
                  </a:cubicBezTo>
                  <a:cubicBezTo>
                    <a:pt x="121" y="3204"/>
                    <a:pt x="53" y="3386"/>
                    <a:pt x="22" y="3540"/>
                  </a:cubicBezTo>
                  <a:cubicBezTo>
                    <a:pt x="16" y="3566"/>
                    <a:pt x="12" y="3592"/>
                    <a:pt x="8" y="3616"/>
                  </a:cubicBezTo>
                  <a:cubicBezTo>
                    <a:pt x="5" y="3641"/>
                    <a:pt x="4" y="3664"/>
                    <a:pt x="3" y="3686"/>
                  </a:cubicBezTo>
                  <a:cubicBezTo>
                    <a:pt x="2" y="3700"/>
                    <a:pt x="0" y="3714"/>
                    <a:pt x="1" y="3727"/>
                  </a:cubicBezTo>
                  <a:cubicBezTo>
                    <a:pt x="1" y="3797"/>
                    <a:pt x="12" y="3854"/>
                    <a:pt x="32" y="3902"/>
                  </a:cubicBezTo>
                  <a:cubicBezTo>
                    <a:pt x="39" y="3919"/>
                    <a:pt x="47" y="3935"/>
                    <a:pt x="56" y="3950"/>
                  </a:cubicBezTo>
                  <a:cubicBezTo>
                    <a:pt x="64" y="3949"/>
                    <a:pt x="71" y="3948"/>
                    <a:pt x="79" y="3947"/>
                  </a:cubicBezTo>
                  <a:cubicBezTo>
                    <a:pt x="147" y="3939"/>
                    <a:pt x="214" y="3929"/>
                    <a:pt x="282" y="3917"/>
                  </a:cubicBezTo>
                  <a:cubicBezTo>
                    <a:pt x="569" y="3868"/>
                    <a:pt x="852" y="3791"/>
                    <a:pt x="1127" y="3685"/>
                  </a:cubicBezTo>
                  <a:cubicBezTo>
                    <a:pt x="1087" y="3673"/>
                    <a:pt x="1050" y="3653"/>
                    <a:pt x="1020" y="3624"/>
                  </a:cubicBezTo>
                  <a:cubicBezTo>
                    <a:pt x="990" y="3594"/>
                    <a:pt x="971" y="3557"/>
                    <a:pt x="959" y="3517"/>
                  </a:cubicBezTo>
                  <a:cubicBezTo>
                    <a:pt x="953" y="3497"/>
                    <a:pt x="949" y="3476"/>
                    <a:pt x="946" y="3454"/>
                  </a:cubicBezTo>
                  <a:cubicBezTo>
                    <a:pt x="945" y="3440"/>
                    <a:pt x="943" y="3425"/>
                    <a:pt x="943" y="3410"/>
                  </a:cubicBezTo>
                  <a:cubicBezTo>
                    <a:pt x="944" y="3401"/>
                    <a:pt x="945" y="3392"/>
                    <a:pt x="945" y="3382"/>
                  </a:cubicBezTo>
                  <a:cubicBezTo>
                    <a:pt x="952" y="3271"/>
                    <a:pt x="992" y="3140"/>
                    <a:pt x="1060" y="2995"/>
                  </a:cubicBezTo>
                  <a:cubicBezTo>
                    <a:pt x="1079" y="2955"/>
                    <a:pt x="1100" y="2914"/>
                    <a:pt x="1123" y="2873"/>
                  </a:cubicBezTo>
                  <a:cubicBezTo>
                    <a:pt x="1148" y="2826"/>
                    <a:pt x="1176" y="2778"/>
                    <a:pt x="1207" y="2729"/>
                  </a:cubicBezTo>
                  <a:cubicBezTo>
                    <a:pt x="1371" y="2466"/>
                    <a:pt x="1606" y="2176"/>
                    <a:pt x="1890" y="1890"/>
                  </a:cubicBezTo>
                  <a:cubicBezTo>
                    <a:pt x="2176" y="1606"/>
                    <a:pt x="2466" y="1372"/>
                    <a:pt x="2729" y="1207"/>
                  </a:cubicBezTo>
                  <a:cubicBezTo>
                    <a:pt x="2778" y="1176"/>
                    <a:pt x="2825" y="1149"/>
                    <a:pt x="2873" y="1123"/>
                  </a:cubicBezTo>
                  <a:cubicBezTo>
                    <a:pt x="2914" y="1100"/>
                    <a:pt x="2955" y="1079"/>
                    <a:pt x="2994" y="1061"/>
                  </a:cubicBezTo>
                  <a:cubicBezTo>
                    <a:pt x="3140" y="992"/>
                    <a:pt x="3271" y="953"/>
                    <a:pt x="3382" y="946"/>
                  </a:cubicBezTo>
                  <a:cubicBezTo>
                    <a:pt x="3392" y="945"/>
                    <a:pt x="3401" y="944"/>
                    <a:pt x="3410" y="943"/>
                  </a:cubicBezTo>
                  <a:cubicBezTo>
                    <a:pt x="3425" y="943"/>
                    <a:pt x="3440" y="945"/>
                    <a:pt x="3454" y="947"/>
                  </a:cubicBezTo>
                  <a:cubicBezTo>
                    <a:pt x="3476" y="949"/>
                    <a:pt x="3497" y="953"/>
                    <a:pt x="3517" y="959"/>
                  </a:cubicBezTo>
                  <a:cubicBezTo>
                    <a:pt x="3557" y="971"/>
                    <a:pt x="3594" y="990"/>
                    <a:pt x="3624" y="1020"/>
                  </a:cubicBezTo>
                  <a:cubicBezTo>
                    <a:pt x="3649" y="1045"/>
                    <a:pt x="3667" y="1076"/>
                    <a:pt x="3679" y="1109"/>
                  </a:cubicBezTo>
                  <a:cubicBezTo>
                    <a:pt x="3774" y="856"/>
                    <a:pt x="3846" y="595"/>
                    <a:pt x="3893" y="331"/>
                  </a:cubicBezTo>
                  <a:cubicBezTo>
                    <a:pt x="3905" y="265"/>
                    <a:pt x="3915" y="198"/>
                    <a:pt x="3924" y="131"/>
                  </a:cubicBezTo>
                  <a:cubicBezTo>
                    <a:pt x="3928" y="103"/>
                    <a:pt x="3931" y="75"/>
                    <a:pt x="3934" y="47"/>
                  </a:cubicBezTo>
                  <a:cubicBezTo>
                    <a:pt x="3924" y="41"/>
                    <a:pt x="3913" y="37"/>
                    <a:pt x="3902" y="3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sp>
        <p:nvSpPr>
          <p:cNvPr id="8" name="Platshållare för bild 7"/>
          <p:cNvSpPr>
            <a:spLocks noGrp="1"/>
          </p:cNvSpPr>
          <p:nvPr>
            <p:ph type="pic" sz="quarter" idx="15" hasCustomPrompt="1"/>
          </p:nvPr>
        </p:nvSpPr>
        <p:spPr>
          <a:xfrm>
            <a:off x="4584700" y="952575"/>
            <a:ext cx="4156148" cy="3289235"/>
          </a:xfrm>
          <a:prstGeom prst="rect">
            <a:avLst/>
          </a:prstGeom>
        </p:spPr>
        <p:txBody>
          <a:bodyPr/>
          <a:lstStyle>
            <a:lvl1pPr marL="0" indent="0">
              <a:buNone/>
              <a:defRPr/>
            </a:lvl1pPr>
          </a:lstStyle>
          <a:p>
            <a:r>
              <a:rPr lang="sv-SE"/>
              <a:t> </a:t>
            </a:r>
          </a:p>
        </p:txBody>
      </p:sp>
      <p:sp>
        <p:nvSpPr>
          <p:cNvPr id="34" name="Rubrik 33"/>
          <p:cNvSpPr>
            <a:spLocks noGrp="1"/>
          </p:cNvSpPr>
          <p:nvPr>
            <p:ph type="title" hasCustomPrompt="1"/>
          </p:nvPr>
        </p:nvSpPr>
        <p:spPr>
          <a:xfrm>
            <a:off x="381000" y="231140"/>
            <a:ext cx="4093842" cy="1009894"/>
          </a:xfrm>
          <a:prstGeom prst="rect">
            <a:avLst/>
          </a:prstGeom>
        </p:spPr>
        <p:txBody>
          <a:bodyPr lIns="0" tIns="0" rIns="0" bIns="0" anchor="t" anchorCtr="0">
            <a:normAutofit/>
          </a:bodyPr>
          <a:lstStyle>
            <a:lvl1pPr algn="l">
              <a:defRPr sz="3600">
                <a:solidFill>
                  <a:schemeClr val="tx1"/>
                </a:solidFill>
                <a:latin typeface="Calibri"/>
                <a:cs typeface="Calibri"/>
              </a:defRPr>
            </a:lvl1pPr>
          </a:lstStyle>
          <a:p>
            <a:r>
              <a:rPr lang="en-GB"/>
              <a:t>Heading</a:t>
            </a:r>
            <a:endParaRPr lang="sv-SE"/>
          </a:p>
        </p:txBody>
      </p:sp>
      <p:sp>
        <p:nvSpPr>
          <p:cNvPr id="21" name="Platshållare för text 2"/>
          <p:cNvSpPr>
            <a:spLocks noGrp="1"/>
          </p:cNvSpPr>
          <p:nvPr>
            <p:ph type="body" sz="quarter" idx="17" hasCustomPrompt="1"/>
          </p:nvPr>
        </p:nvSpPr>
        <p:spPr>
          <a:xfrm>
            <a:off x="381000" y="1494564"/>
            <a:ext cx="4093842" cy="3044492"/>
          </a:xfrm>
          <a:prstGeom prst="rect">
            <a:avLst/>
          </a:prstGeom>
        </p:spPr>
        <p:txBody>
          <a:bodyPr lIns="0" tIns="0" rIns="0" bIns="0">
            <a:normAutofit/>
          </a:bodyPr>
          <a:lstStyle>
            <a:lvl1pPr marL="190500" indent="-190500">
              <a:spcBef>
                <a:spcPts val="50"/>
              </a:spcBef>
              <a:defRPr sz="2000"/>
            </a:lvl1pPr>
            <a:lvl2pPr marL="190500" indent="254000">
              <a:spcBef>
                <a:spcPts val="50"/>
              </a:spcBef>
              <a:buFont typeface="Lucida Grande"/>
              <a:buChar char="–"/>
              <a:defRPr sz="2000"/>
            </a:lvl2pPr>
            <a:lvl3pPr marL="571500" indent="-254000">
              <a:spcBef>
                <a:spcPts val="50"/>
              </a:spcBef>
              <a:buFont typeface="Lucida Grande"/>
              <a:buChar char="–"/>
              <a:defRPr sz="2000"/>
            </a:lvl3pPr>
            <a:lvl4pPr marL="698500" indent="-254000">
              <a:spcBef>
                <a:spcPts val="50"/>
              </a:spcBef>
              <a:buFont typeface="Lucida Grande"/>
              <a:buChar char="–"/>
              <a:defRPr sz="2000"/>
            </a:lvl4pPr>
            <a:lvl5pPr marL="825500" indent="-254000">
              <a:spcBef>
                <a:spcPts val="50"/>
              </a:spcBef>
              <a:buFont typeface="Lucida Grande"/>
              <a:buChar char="–"/>
              <a:defRPr/>
            </a:lvl5pPr>
          </a:lstStyle>
          <a:p>
            <a:pPr lvl="0"/>
            <a:r>
              <a:rPr lang="en-GB" noProof="0"/>
              <a:t>Level 1</a:t>
            </a:r>
          </a:p>
          <a:p>
            <a:pPr lvl="1"/>
            <a:r>
              <a:rPr lang="en-GB" noProof="0"/>
              <a:t>Level 2</a:t>
            </a:r>
          </a:p>
          <a:p>
            <a:pPr lvl="2"/>
            <a:r>
              <a:rPr lang="en-GB" noProof="0"/>
              <a:t>Level 3</a:t>
            </a:r>
          </a:p>
          <a:p>
            <a:pPr lvl="3"/>
            <a:r>
              <a:rPr lang="en-GB" noProof="0"/>
              <a:t>Level 4</a:t>
            </a:r>
          </a:p>
          <a:p>
            <a:pPr lvl="4"/>
            <a:r>
              <a:rPr lang="en-GB" noProof="0"/>
              <a:t>Level 5</a:t>
            </a:r>
          </a:p>
        </p:txBody>
      </p:sp>
      <p:pic>
        <p:nvPicPr>
          <p:cNvPr id="33" name="Bildobjekt 3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0201" y="4590290"/>
            <a:ext cx="850195" cy="307734"/>
          </a:xfrm>
          <a:prstGeom prst="rect">
            <a:avLst/>
          </a:prstGeom>
        </p:spPr>
      </p:pic>
      <p:sp>
        <p:nvSpPr>
          <p:cNvPr id="35" name="Platshållare för sidfot 4">
            <a:extLst>
              <a:ext uri="{FF2B5EF4-FFF2-40B4-BE49-F238E27FC236}">
                <a16:creationId xmlns:a16="http://schemas.microsoft.com/office/drawing/2014/main" id="{F440D107-E470-4E2D-BC64-F7576220A252}"/>
              </a:ext>
            </a:extLst>
          </p:cNvPr>
          <p:cNvSpPr>
            <a:spLocks noGrp="1"/>
          </p:cNvSpPr>
          <p:nvPr>
            <p:ph type="ftr" sz="quarter" idx="11"/>
          </p:nvPr>
        </p:nvSpPr>
        <p:spPr>
          <a:xfrm>
            <a:off x="5824413" y="4483997"/>
            <a:ext cx="2509889" cy="382813"/>
          </a:xfrm>
          <a:prstGeom prst="rect">
            <a:avLst/>
          </a:prstGeom>
        </p:spPr>
        <p:txBody>
          <a:bodyPr lIns="0" tIns="0" rIns="0" bIns="0" anchor="b" anchorCtr="0"/>
          <a:lstStyle>
            <a:lvl1pPr algn="r">
              <a:defRPr sz="900" b="0">
                <a:solidFill>
                  <a:schemeClr val="bg1"/>
                </a:solidFill>
              </a:defRPr>
            </a:lvl1pPr>
          </a:lstStyle>
          <a:p>
            <a:r>
              <a:rPr lang="en-US"/>
              <a:t>Stakeholder Forum Agenda - Classification: External</a:t>
            </a:r>
            <a:endParaRPr lang="sv-SE"/>
          </a:p>
        </p:txBody>
      </p:sp>
      <p:sp>
        <p:nvSpPr>
          <p:cNvPr id="39" name="Platshållare för datum 3">
            <a:extLst>
              <a:ext uri="{FF2B5EF4-FFF2-40B4-BE49-F238E27FC236}">
                <a16:creationId xmlns:a16="http://schemas.microsoft.com/office/drawing/2014/main" id="{034447B2-14C1-4495-BD93-CEA143B3BEB7}"/>
              </a:ext>
            </a:extLst>
          </p:cNvPr>
          <p:cNvSpPr>
            <a:spLocks noGrp="1"/>
          </p:cNvSpPr>
          <p:nvPr>
            <p:ph type="dt" sz="half" idx="10"/>
          </p:nvPr>
        </p:nvSpPr>
        <p:spPr>
          <a:xfrm>
            <a:off x="4734099" y="4495861"/>
            <a:ext cx="1018558" cy="370949"/>
          </a:xfrm>
          <a:prstGeom prst="rect">
            <a:avLst/>
          </a:prstGeom>
        </p:spPr>
        <p:txBody>
          <a:bodyPr lIns="0" tIns="0" rIns="0" bIns="0" anchor="b" anchorCtr="0"/>
          <a:lstStyle>
            <a:lvl1pPr algn="l">
              <a:defRPr sz="900" b="0" i="0" cap="all">
                <a:solidFill>
                  <a:schemeClr val="bg1"/>
                </a:solidFill>
              </a:defRPr>
            </a:lvl1pPr>
          </a:lstStyle>
          <a:p>
            <a:r>
              <a:rPr lang="sv-SE"/>
              <a:t>26/03/2026</a:t>
            </a:r>
          </a:p>
        </p:txBody>
      </p:sp>
      <p:sp>
        <p:nvSpPr>
          <p:cNvPr id="40" name="Platshållare för bildnummer 5">
            <a:extLst>
              <a:ext uri="{FF2B5EF4-FFF2-40B4-BE49-F238E27FC236}">
                <a16:creationId xmlns:a16="http://schemas.microsoft.com/office/drawing/2014/main" id="{3DDE99AC-94A4-4022-9622-6A488B9C4F2B}"/>
              </a:ext>
            </a:extLst>
          </p:cNvPr>
          <p:cNvSpPr>
            <a:spLocks noGrp="1"/>
          </p:cNvSpPr>
          <p:nvPr>
            <p:ph type="sldNum" sz="quarter" idx="12"/>
          </p:nvPr>
        </p:nvSpPr>
        <p:spPr>
          <a:xfrm>
            <a:off x="8383230" y="4469824"/>
            <a:ext cx="368658" cy="396987"/>
          </a:xfrm>
          <a:prstGeom prst="rect">
            <a:avLst/>
          </a:prstGeom>
          <a:noFill/>
        </p:spPr>
        <p:txBody>
          <a:bodyPr lIns="25400" tIns="0" rIns="0" bIns="0" anchor="b" anchorCtr="0"/>
          <a:lstStyle>
            <a:lvl1pPr algn="r">
              <a:defRPr sz="900">
                <a:solidFill>
                  <a:schemeClr val="bg1"/>
                </a:solidFill>
              </a:defRPr>
            </a:lvl1pPr>
          </a:lstStyle>
          <a:p>
            <a:fld id="{394EE31B-4DFC-CF4D-9A18-3F5D4D7C7302}" type="slidenum">
              <a:rPr lang="sv-SE" smtClean="0"/>
              <a:pPr/>
              <a:t>‹#›</a:t>
            </a:fld>
            <a:endParaRPr lang="sv-SE"/>
          </a:p>
        </p:txBody>
      </p:sp>
    </p:spTree>
    <p:extLst>
      <p:ext uri="{BB962C8B-B14F-4D97-AF65-F5344CB8AC3E}">
        <p14:creationId xmlns:p14="http://schemas.microsoft.com/office/powerpoint/2010/main" val="297068791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Forside med stikktittel">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2E223297-F3D8-449F-8A46-D0BBF38E93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tel 1">
            <a:extLst>
              <a:ext uri="{FF2B5EF4-FFF2-40B4-BE49-F238E27FC236}">
                <a16:creationId xmlns:a16="http://schemas.microsoft.com/office/drawing/2014/main" id="{5FC0B021-E38A-438B-BDE9-47406CAF08A9}"/>
              </a:ext>
            </a:extLst>
          </p:cNvPr>
          <p:cNvSpPr>
            <a:spLocks noGrp="1" noChangeAspect="1"/>
          </p:cNvSpPr>
          <p:nvPr>
            <p:ph type="ctrTitle"/>
          </p:nvPr>
        </p:nvSpPr>
        <p:spPr>
          <a:xfrm>
            <a:off x="566890" y="1981029"/>
            <a:ext cx="5484019" cy="390848"/>
          </a:xfrm>
        </p:spPr>
        <p:txBody>
          <a:bodyPr lIns="0" anchor="b">
            <a:noAutofit/>
          </a:bodyPr>
          <a:lstStyle>
            <a:lvl1pPr algn="l">
              <a:defRPr sz="2400" b="1">
                <a:solidFill>
                  <a:schemeClr val="accent1"/>
                </a:solidFill>
              </a:defRPr>
            </a:lvl1pPr>
          </a:lstStyle>
          <a:p>
            <a:r>
              <a:rPr lang="nb-NO"/>
              <a:t>Klikk for å redigere tittelstil</a:t>
            </a:r>
          </a:p>
        </p:txBody>
      </p:sp>
      <p:sp>
        <p:nvSpPr>
          <p:cNvPr id="13" name="Plassholder for dato 3">
            <a:extLst>
              <a:ext uri="{FF2B5EF4-FFF2-40B4-BE49-F238E27FC236}">
                <a16:creationId xmlns:a16="http://schemas.microsoft.com/office/drawing/2014/main" id="{025293C0-6807-497B-A8CD-F2D0BBF9D7F9}"/>
              </a:ext>
            </a:extLst>
          </p:cNvPr>
          <p:cNvSpPr>
            <a:spLocks noGrp="1"/>
          </p:cNvSpPr>
          <p:nvPr>
            <p:ph type="dt" sz="half" idx="2"/>
          </p:nvPr>
        </p:nvSpPr>
        <p:spPr>
          <a:xfrm>
            <a:off x="564357" y="1063380"/>
            <a:ext cx="2057400" cy="273844"/>
          </a:xfrm>
          <a:prstGeom prst="rect">
            <a:avLst/>
          </a:prstGeom>
        </p:spPr>
        <p:txBody>
          <a:bodyPr vert="horz" lIns="0" tIns="45720" rIns="91440" bIns="45720" rtlCol="0" anchor="ctr"/>
          <a:lstStyle>
            <a:lvl1pPr algn="l">
              <a:defRPr sz="1200">
                <a:solidFill>
                  <a:schemeClr val="tx1"/>
                </a:solidFill>
              </a:defRPr>
            </a:lvl1pPr>
          </a:lstStyle>
          <a:p>
            <a:r>
              <a:rPr lang="sv-SE"/>
              <a:t>26/03/2026</a:t>
            </a:r>
            <a:endParaRPr lang="nb-NO"/>
          </a:p>
        </p:txBody>
      </p:sp>
      <p:sp>
        <p:nvSpPr>
          <p:cNvPr id="11" name="Plassholder for tekst 2">
            <a:extLst>
              <a:ext uri="{FF2B5EF4-FFF2-40B4-BE49-F238E27FC236}">
                <a16:creationId xmlns:a16="http://schemas.microsoft.com/office/drawing/2014/main" id="{6CE3CA69-1BE8-40A4-84EE-718215A65710}"/>
              </a:ext>
            </a:extLst>
          </p:cNvPr>
          <p:cNvSpPr>
            <a:spLocks noGrp="1" noChangeAspect="1"/>
          </p:cNvSpPr>
          <p:nvPr>
            <p:ph type="body" idx="1" hasCustomPrompt="1"/>
          </p:nvPr>
        </p:nvSpPr>
        <p:spPr>
          <a:xfrm>
            <a:off x="565672" y="1705702"/>
            <a:ext cx="5484019" cy="260734"/>
          </a:xfrm>
        </p:spPr>
        <p:txBody>
          <a:bodyPr lIns="0">
            <a:noAutofit/>
          </a:bodyPr>
          <a:lstStyle>
            <a:lvl1pPr marL="0" indent="0">
              <a:buNone/>
              <a:defRPr sz="1350" b="1">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nb-NO"/>
              <a:t>Stikktittel</a:t>
            </a:r>
          </a:p>
        </p:txBody>
      </p:sp>
      <p:sp>
        <p:nvSpPr>
          <p:cNvPr id="9" name="Plassholder for innhold 2">
            <a:extLst>
              <a:ext uri="{FF2B5EF4-FFF2-40B4-BE49-F238E27FC236}">
                <a16:creationId xmlns:a16="http://schemas.microsoft.com/office/drawing/2014/main" id="{6B8DA26F-2323-401D-B3C5-B67DF2FE0AAF}"/>
              </a:ext>
            </a:extLst>
          </p:cNvPr>
          <p:cNvSpPr>
            <a:spLocks noGrp="1"/>
          </p:cNvSpPr>
          <p:nvPr>
            <p:ph sz="half" idx="14" hasCustomPrompt="1"/>
          </p:nvPr>
        </p:nvSpPr>
        <p:spPr>
          <a:xfrm>
            <a:off x="564358" y="2458053"/>
            <a:ext cx="5494721" cy="1402243"/>
          </a:xfrm>
        </p:spPr>
        <p:txBody>
          <a:bodyPr lIns="0">
            <a:normAutofit/>
          </a:bodyPr>
          <a:lstStyle>
            <a:lvl1pPr marL="271463" indent="-271463">
              <a:buClr>
                <a:schemeClr val="tx2"/>
              </a:buClr>
              <a:buSzPct val="130000"/>
              <a:buFont typeface="Arial" panose="020B0604020202020204" pitchFamily="34" charset="0"/>
              <a:buChar char="■"/>
              <a:defRPr sz="1350"/>
            </a:lvl1pPr>
            <a:lvl2pPr marL="407194" indent="-135731">
              <a:buClr>
                <a:schemeClr val="tx1"/>
              </a:buClr>
              <a:buFont typeface="Calibri" panose="020F0502020204030204" pitchFamily="34" charset="0"/>
              <a:buChar char="−"/>
              <a:defRPr sz="1350"/>
            </a:lvl2pPr>
            <a:lvl3pPr marL="534591" indent="-127397">
              <a:buClr>
                <a:schemeClr val="tx1"/>
              </a:buClr>
              <a:defRPr sz="1350"/>
            </a:lvl3pPr>
            <a:lvl4pPr marL="670322" indent="-135731">
              <a:buClr>
                <a:schemeClr val="tx1"/>
              </a:buClr>
              <a:buFont typeface="Arial" panose="020B0604020202020204" pitchFamily="34" charset="0"/>
              <a:buChar char="▪"/>
              <a:defRPr sz="1350"/>
            </a:lvl4pPr>
            <a:lvl5pPr marL="806054" indent="-135731">
              <a:tabLst/>
              <a:defRPr sz="1350"/>
            </a:lvl5pPr>
          </a:lstStyle>
          <a:p>
            <a:pPr lvl="0"/>
            <a:r>
              <a:rPr lang="nb-NO"/>
              <a:t>Her kan du legge inn tilleggsinformasjon, hvor presentasjonen skal holdes og hvem som er foredragsholder. </a:t>
            </a:r>
          </a:p>
          <a:p>
            <a:pPr lvl="1"/>
            <a:r>
              <a:rPr lang="nb-NO"/>
              <a:t>Andre nivå</a:t>
            </a:r>
          </a:p>
          <a:p>
            <a:pPr lvl="2"/>
            <a:r>
              <a:rPr lang="nb-NO"/>
              <a:t>Tredje nivå</a:t>
            </a:r>
          </a:p>
          <a:p>
            <a:pPr lvl="3"/>
            <a:r>
              <a:rPr lang="nb-NO"/>
              <a:t>Fjerde nivå</a:t>
            </a:r>
          </a:p>
        </p:txBody>
      </p:sp>
      <p:sp>
        <p:nvSpPr>
          <p:cNvPr id="10" name="Picture Placeholder 8">
            <a:extLst>
              <a:ext uri="{FF2B5EF4-FFF2-40B4-BE49-F238E27FC236}">
                <a16:creationId xmlns:a16="http://schemas.microsoft.com/office/drawing/2014/main" id="{D9418C13-8685-453F-8DCD-2676E9748FC9}"/>
              </a:ext>
            </a:extLst>
          </p:cNvPr>
          <p:cNvSpPr>
            <a:spLocks noGrp="1"/>
          </p:cNvSpPr>
          <p:nvPr>
            <p:ph type="pic" sz="quarter" idx="13" hasCustomPrompt="1"/>
          </p:nvPr>
        </p:nvSpPr>
        <p:spPr>
          <a:xfrm>
            <a:off x="559594" y="215436"/>
            <a:ext cx="3069752" cy="196208"/>
          </a:xfrm>
          <a:prstGeom prst="rect">
            <a:avLst/>
          </a:prstGeom>
          <a:noFill/>
          <a:ln>
            <a:solidFill>
              <a:schemeClr val="bg1"/>
            </a:solidFill>
          </a:ln>
        </p:spPr>
        <p:txBody>
          <a:bodyPr wrap="square" lIns="0">
            <a:spAutoFit/>
          </a:bodyPr>
          <a:lstStyle>
            <a:lvl1pPr marL="0" indent="0">
              <a:buNone/>
              <a:defRPr sz="750"/>
            </a:lvl1pPr>
          </a:lstStyle>
          <a:p>
            <a:r>
              <a:rPr lang="nb-NO" noProof="0"/>
              <a:t>Klikk i feltet og lim inn TLP </a:t>
            </a:r>
          </a:p>
        </p:txBody>
      </p:sp>
    </p:spTree>
    <p:extLst>
      <p:ext uri="{BB962C8B-B14F-4D97-AF65-F5344CB8AC3E}">
        <p14:creationId xmlns:p14="http://schemas.microsoft.com/office/powerpoint/2010/main" val="143876943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SOP forside ">
    <p:spTree>
      <p:nvGrpSpPr>
        <p:cNvPr id="1" name=""/>
        <p:cNvGrpSpPr/>
        <p:nvPr/>
      </p:nvGrpSpPr>
      <p:grpSpPr>
        <a:xfrm>
          <a:off x="0" y="0"/>
          <a:ext cx="0" cy="0"/>
          <a:chOff x="0" y="0"/>
          <a:chExt cx="0" cy="0"/>
        </a:xfrm>
      </p:grpSpPr>
      <p:pic>
        <p:nvPicPr>
          <p:cNvPr id="5" name="Bilde 4">
            <a:extLst>
              <a:ext uri="{FF2B5EF4-FFF2-40B4-BE49-F238E27FC236}">
                <a16:creationId xmlns:a16="http://schemas.microsoft.com/office/drawing/2014/main" id="{9BE19F17-3225-4DDD-B84A-F31513EDCA5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tel 1">
            <a:extLst>
              <a:ext uri="{FF2B5EF4-FFF2-40B4-BE49-F238E27FC236}">
                <a16:creationId xmlns:a16="http://schemas.microsoft.com/office/drawing/2014/main" id="{5FC0B021-E38A-438B-BDE9-47406CAF08A9}"/>
              </a:ext>
            </a:extLst>
          </p:cNvPr>
          <p:cNvSpPr>
            <a:spLocks noGrp="1" noChangeAspect="1"/>
          </p:cNvSpPr>
          <p:nvPr>
            <p:ph type="ctrTitle"/>
          </p:nvPr>
        </p:nvSpPr>
        <p:spPr>
          <a:xfrm>
            <a:off x="566890" y="1973732"/>
            <a:ext cx="5484019" cy="747581"/>
          </a:xfrm>
        </p:spPr>
        <p:txBody>
          <a:bodyPr lIns="0" anchor="b">
            <a:noAutofit/>
          </a:bodyPr>
          <a:lstStyle>
            <a:lvl1pPr algn="l">
              <a:defRPr sz="2400" b="1">
                <a:solidFill>
                  <a:schemeClr val="accent1"/>
                </a:solidFill>
              </a:defRPr>
            </a:lvl1pPr>
          </a:lstStyle>
          <a:p>
            <a:r>
              <a:rPr lang="nb-NO"/>
              <a:t>Klikk for å redigere tittelstil</a:t>
            </a:r>
          </a:p>
        </p:txBody>
      </p:sp>
      <p:sp>
        <p:nvSpPr>
          <p:cNvPr id="13" name="Plassholder for dato 3">
            <a:extLst>
              <a:ext uri="{FF2B5EF4-FFF2-40B4-BE49-F238E27FC236}">
                <a16:creationId xmlns:a16="http://schemas.microsoft.com/office/drawing/2014/main" id="{025293C0-6807-497B-A8CD-F2D0BBF9D7F9}"/>
              </a:ext>
            </a:extLst>
          </p:cNvPr>
          <p:cNvSpPr>
            <a:spLocks noGrp="1"/>
          </p:cNvSpPr>
          <p:nvPr>
            <p:ph type="dt" sz="half" idx="2"/>
          </p:nvPr>
        </p:nvSpPr>
        <p:spPr>
          <a:xfrm>
            <a:off x="564357" y="1063380"/>
            <a:ext cx="2057400" cy="273844"/>
          </a:xfrm>
          <a:prstGeom prst="rect">
            <a:avLst/>
          </a:prstGeom>
        </p:spPr>
        <p:txBody>
          <a:bodyPr vert="horz" lIns="0" tIns="45720" rIns="91440" bIns="45720" rtlCol="0" anchor="ctr"/>
          <a:lstStyle>
            <a:lvl1pPr algn="l">
              <a:defRPr sz="1200">
                <a:solidFill>
                  <a:schemeClr val="tx1"/>
                </a:solidFill>
              </a:defRPr>
            </a:lvl1pPr>
          </a:lstStyle>
          <a:p>
            <a:r>
              <a:rPr lang="sv-SE"/>
              <a:t>26/03/2026</a:t>
            </a:r>
            <a:endParaRPr lang="nb-NO"/>
          </a:p>
        </p:txBody>
      </p:sp>
      <p:sp>
        <p:nvSpPr>
          <p:cNvPr id="12" name="Plassholder for tekst 2">
            <a:extLst>
              <a:ext uri="{FF2B5EF4-FFF2-40B4-BE49-F238E27FC236}">
                <a16:creationId xmlns:a16="http://schemas.microsoft.com/office/drawing/2014/main" id="{E12EAD7F-CD1C-4194-BDE7-523E5FFE8477}"/>
              </a:ext>
            </a:extLst>
          </p:cNvPr>
          <p:cNvSpPr>
            <a:spLocks noGrp="1" noChangeAspect="1"/>
          </p:cNvSpPr>
          <p:nvPr>
            <p:ph type="body" idx="12"/>
          </p:nvPr>
        </p:nvSpPr>
        <p:spPr>
          <a:xfrm>
            <a:off x="567696" y="2802017"/>
            <a:ext cx="5497241" cy="260735"/>
          </a:xfrm>
        </p:spPr>
        <p:txBody>
          <a:bodyPr lIns="0">
            <a:noAutofit/>
          </a:bodyPr>
          <a:lstStyle>
            <a:lvl1pPr marL="0" indent="0">
              <a:buNone/>
              <a:defRPr sz="135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nb-NO"/>
              <a:t>Klikk for å redigere tekststiler i malen</a:t>
            </a:r>
          </a:p>
        </p:txBody>
      </p:sp>
      <p:sp>
        <p:nvSpPr>
          <p:cNvPr id="11" name="Picture Placeholder 8">
            <a:extLst>
              <a:ext uri="{FF2B5EF4-FFF2-40B4-BE49-F238E27FC236}">
                <a16:creationId xmlns:a16="http://schemas.microsoft.com/office/drawing/2014/main" id="{A868A6F2-3B0D-4DB3-BF46-A4D99F79603B}"/>
              </a:ext>
            </a:extLst>
          </p:cNvPr>
          <p:cNvSpPr>
            <a:spLocks noGrp="1"/>
          </p:cNvSpPr>
          <p:nvPr>
            <p:ph type="pic" sz="quarter" idx="13" hasCustomPrompt="1"/>
          </p:nvPr>
        </p:nvSpPr>
        <p:spPr>
          <a:xfrm>
            <a:off x="559594" y="215436"/>
            <a:ext cx="3069752" cy="196208"/>
          </a:xfrm>
          <a:prstGeom prst="rect">
            <a:avLst/>
          </a:prstGeom>
          <a:noFill/>
          <a:ln>
            <a:solidFill>
              <a:schemeClr val="bg1"/>
            </a:solidFill>
          </a:ln>
        </p:spPr>
        <p:txBody>
          <a:bodyPr wrap="square" lIns="0">
            <a:spAutoFit/>
          </a:bodyPr>
          <a:lstStyle>
            <a:lvl1pPr marL="0" indent="0">
              <a:buNone/>
              <a:defRPr sz="750"/>
            </a:lvl1pPr>
          </a:lstStyle>
          <a:p>
            <a:r>
              <a:rPr lang="nb-NO" noProof="0"/>
              <a:t>Klikk i feltet og lim inn TLP </a:t>
            </a:r>
          </a:p>
        </p:txBody>
      </p:sp>
      <p:sp>
        <p:nvSpPr>
          <p:cNvPr id="8" name="Plassholder for innhold 2">
            <a:extLst>
              <a:ext uri="{FF2B5EF4-FFF2-40B4-BE49-F238E27FC236}">
                <a16:creationId xmlns:a16="http://schemas.microsoft.com/office/drawing/2014/main" id="{8C8EB539-2975-4572-9B67-B011EA892C37}"/>
              </a:ext>
            </a:extLst>
          </p:cNvPr>
          <p:cNvSpPr>
            <a:spLocks noGrp="1"/>
          </p:cNvSpPr>
          <p:nvPr>
            <p:ph sz="half" idx="14" hasCustomPrompt="1"/>
          </p:nvPr>
        </p:nvSpPr>
        <p:spPr>
          <a:xfrm>
            <a:off x="563072" y="3073345"/>
            <a:ext cx="5494721" cy="1402243"/>
          </a:xfrm>
        </p:spPr>
        <p:txBody>
          <a:bodyPr lIns="0">
            <a:normAutofit/>
          </a:bodyPr>
          <a:lstStyle>
            <a:lvl1pPr marL="271463" indent="-271463">
              <a:buClr>
                <a:schemeClr val="tx2"/>
              </a:buClr>
              <a:buSzPct val="130000"/>
              <a:buFont typeface="Arial" panose="020B0604020202020204" pitchFamily="34" charset="0"/>
              <a:buChar char="■"/>
              <a:defRPr sz="1350"/>
            </a:lvl1pPr>
            <a:lvl2pPr marL="407194" indent="-135731">
              <a:buClr>
                <a:schemeClr val="tx1"/>
              </a:buClr>
              <a:buFont typeface="Calibri" panose="020F0502020204030204" pitchFamily="34" charset="0"/>
              <a:buChar char="−"/>
              <a:defRPr sz="1350"/>
            </a:lvl2pPr>
            <a:lvl3pPr marL="534591" indent="-127397">
              <a:buClr>
                <a:schemeClr val="tx1"/>
              </a:buClr>
              <a:defRPr sz="1350"/>
            </a:lvl3pPr>
            <a:lvl4pPr marL="670322" indent="-135731">
              <a:buClr>
                <a:schemeClr val="tx1"/>
              </a:buClr>
              <a:buFont typeface="Arial" panose="020B0604020202020204" pitchFamily="34" charset="0"/>
              <a:buChar char="▪"/>
              <a:defRPr sz="1350"/>
            </a:lvl4pPr>
            <a:lvl5pPr marL="806054" indent="-135731">
              <a:tabLst/>
              <a:defRPr sz="1350"/>
            </a:lvl5pPr>
          </a:lstStyle>
          <a:p>
            <a:pPr lvl="0"/>
            <a:r>
              <a:rPr lang="nb-NO"/>
              <a:t>Her kan du legge inn tilleggsinformasjon, hvor presentasjonen skal holdes og hvem som er foredragsholder. </a:t>
            </a:r>
          </a:p>
          <a:p>
            <a:pPr lvl="1"/>
            <a:r>
              <a:rPr lang="nb-NO"/>
              <a:t>Andre nivå</a:t>
            </a:r>
          </a:p>
          <a:p>
            <a:pPr lvl="2"/>
            <a:r>
              <a:rPr lang="nb-NO"/>
              <a:t>Tredje nivå</a:t>
            </a:r>
          </a:p>
          <a:p>
            <a:pPr lvl="3"/>
            <a:r>
              <a:rPr lang="nb-NO"/>
              <a:t>Fjerde nivå</a:t>
            </a:r>
          </a:p>
        </p:txBody>
      </p:sp>
    </p:spTree>
    <p:extLst>
      <p:ext uri="{BB962C8B-B14F-4D97-AF65-F5344CB8AC3E}">
        <p14:creationId xmlns:p14="http://schemas.microsoft.com/office/powerpoint/2010/main" val="387764869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Agenda/Innhold - 1">
    <p:spTree>
      <p:nvGrpSpPr>
        <p:cNvPr id="1" name=""/>
        <p:cNvGrpSpPr/>
        <p:nvPr/>
      </p:nvGrpSpPr>
      <p:grpSpPr>
        <a:xfrm>
          <a:off x="0" y="0"/>
          <a:ext cx="0" cy="0"/>
          <a:chOff x="0" y="0"/>
          <a:chExt cx="0" cy="0"/>
        </a:xfrm>
      </p:grpSpPr>
      <p:pic>
        <p:nvPicPr>
          <p:cNvPr id="5" name="Bilde 4" descr="Et bilde som inneholder mat&#10;&#10;Automatisk generert beskrivelse">
            <a:extLst>
              <a:ext uri="{FF2B5EF4-FFF2-40B4-BE49-F238E27FC236}">
                <a16:creationId xmlns:a16="http://schemas.microsoft.com/office/drawing/2014/main" id="{351C4530-D7C9-4DEE-B74F-330F354F719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Rubrik 1">
            <a:extLst>
              <a:ext uri="{FF2B5EF4-FFF2-40B4-BE49-F238E27FC236}">
                <a16:creationId xmlns:a16="http://schemas.microsoft.com/office/drawing/2014/main" id="{ABCF65A8-1736-4B01-8369-15F6222F5702}"/>
              </a:ext>
            </a:extLst>
          </p:cNvPr>
          <p:cNvSpPr>
            <a:spLocks noGrp="1"/>
          </p:cNvSpPr>
          <p:nvPr>
            <p:ph type="title" hasCustomPrompt="1"/>
          </p:nvPr>
        </p:nvSpPr>
        <p:spPr>
          <a:xfrm>
            <a:off x="567559" y="221457"/>
            <a:ext cx="8008883" cy="450056"/>
          </a:xfrm>
        </p:spPr>
        <p:txBody>
          <a:bodyPr lIns="0">
            <a:normAutofit/>
          </a:bodyPr>
          <a:lstStyle>
            <a:lvl1pPr>
              <a:defRPr sz="2100" b="1">
                <a:solidFill>
                  <a:schemeClr val="accent1"/>
                </a:solidFill>
              </a:defRPr>
            </a:lvl1pPr>
          </a:lstStyle>
          <a:p>
            <a:r>
              <a:rPr lang="nb-NO" noProof="0"/>
              <a:t>Innhold</a:t>
            </a:r>
          </a:p>
        </p:txBody>
      </p:sp>
      <p:sp>
        <p:nvSpPr>
          <p:cNvPr id="8" name="Plassholder for innhold 2">
            <a:extLst>
              <a:ext uri="{FF2B5EF4-FFF2-40B4-BE49-F238E27FC236}">
                <a16:creationId xmlns:a16="http://schemas.microsoft.com/office/drawing/2014/main" id="{A73961FC-95B6-4128-AB5B-5E776C67B53B}"/>
              </a:ext>
            </a:extLst>
          </p:cNvPr>
          <p:cNvSpPr>
            <a:spLocks noGrp="1"/>
          </p:cNvSpPr>
          <p:nvPr>
            <p:ph sz="half" idx="14"/>
          </p:nvPr>
        </p:nvSpPr>
        <p:spPr>
          <a:xfrm>
            <a:off x="567559" y="1059656"/>
            <a:ext cx="8008943" cy="3507027"/>
          </a:xfrm>
        </p:spPr>
        <p:txBody>
          <a:bodyPr lIns="0">
            <a:normAutofit/>
          </a:bodyPr>
          <a:lstStyle>
            <a:lvl1pPr marL="271463" indent="-271463">
              <a:buClr>
                <a:schemeClr val="accent1"/>
              </a:buClr>
              <a:buSzPct val="100000"/>
              <a:buFont typeface="+mj-lt"/>
              <a:buAutoNum type="arabicPeriod"/>
              <a:defRPr sz="1500">
                <a:solidFill>
                  <a:schemeClr val="accent1"/>
                </a:solidFill>
              </a:defRPr>
            </a:lvl1pPr>
            <a:lvl2pPr marL="407194" indent="-135731">
              <a:buClr>
                <a:schemeClr val="tx1"/>
              </a:buClr>
              <a:buFont typeface="Calibri" panose="020F0502020204030204" pitchFamily="34" charset="0"/>
              <a:buChar char="−"/>
              <a:defRPr sz="1200">
                <a:solidFill>
                  <a:schemeClr val="accent1"/>
                </a:solidFill>
              </a:defRPr>
            </a:lvl2pPr>
            <a:lvl3pPr marL="534591" indent="-127397">
              <a:buClr>
                <a:schemeClr val="tx1"/>
              </a:buClr>
              <a:defRPr sz="1200">
                <a:solidFill>
                  <a:schemeClr val="accent1"/>
                </a:solidFill>
              </a:defRPr>
            </a:lvl3pPr>
            <a:lvl4pPr marL="670322" indent="-135731">
              <a:buClr>
                <a:schemeClr val="tx1"/>
              </a:buClr>
              <a:buFont typeface="Arial" panose="020B0604020202020204" pitchFamily="34" charset="0"/>
              <a:buChar char="▪"/>
              <a:defRPr sz="1200">
                <a:solidFill>
                  <a:schemeClr val="accent1"/>
                </a:solidFill>
              </a:defRPr>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spTree>
    <p:extLst>
      <p:ext uri="{BB962C8B-B14F-4D97-AF65-F5344CB8AC3E}">
        <p14:creationId xmlns:p14="http://schemas.microsoft.com/office/powerpoint/2010/main" val="77973149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Agenda/Innhold - 2">
    <p:spTree>
      <p:nvGrpSpPr>
        <p:cNvPr id="1" name=""/>
        <p:cNvGrpSpPr/>
        <p:nvPr/>
      </p:nvGrpSpPr>
      <p:grpSpPr>
        <a:xfrm>
          <a:off x="0" y="0"/>
          <a:ext cx="0" cy="0"/>
          <a:chOff x="0" y="0"/>
          <a:chExt cx="0" cy="0"/>
        </a:xfrm>
      </p:grpSpPr>
      <p:pic>
        <p:nvPicPr>
          <p:cNvPr id="2" name="Bilde 1" descr="Et bilde som inneholder mat&#10;&#10;Automatisk generert beskrivelse">
            <a:extLst>
              <a:ext uri="{FF2B5EF4-FFF2-40B4-BE49-F238E27FC236}">
                <a16:creationId xmlns:a16="http://schemas.microsoft.com/office/drawing/2014/main" id="{5B7FD247-2EBC-4D30-B2FA-3A868C3E3E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Rubrik 1">
            <a:extLst>
              <a:ext uri="{FF2B5EF4-FFF2-40B4-BE49-F238E27FC236}">
                <a16:creationId xmlns:a16="http://schemas.microsoft.com/office/drawing/2014/main" id="{ABCF65A8-1736-4B01-8369-15F6222F5702}"/>
              </a:ext>
            </a:extLst>
          </p:cNvPr>
          <p:cNvSpPr>
            <a:spLocks noGrp="1"/>
          </p:cNvSpPr>
          <p:nvPr>
            <p:ph type="title" hasCustomPrompt="1"/>
          </p:nvPr>
        </p:nvSpPr>
        <p:spPr>
          <a:xfrm>
            <a:off x="567559" y="221457"/>
            <a:ext cx="8008883" cy="450056"/>
          </a:xfrm>
        </p:spPr>
        <p:txBody>
          <a:bodyPr lIns="0">
            <a:normAutofit/>
          </a:bodyPr>
          <a:lstStyle>
            <a:lvl1pPr>
              <a:defRPr sz="2100" b="1">
                <a:solidFill>
                  <a:schemeClr val="accent1"/>
                </a:solidFill>
              </a:defRPr>
            </a:lvl1pPr>
          </a:lstStyle>
          <a:p>
            <a:r>
              <a:rPr lang="nb-NO" noProof="0"/>
              <a:t>Innhold</a:t>
            </a:r>
          </a:p>
        </p:txBody>
      </p:sp>
      <p:sp>
        <p:nvSpPr>
          <p:cNvPr id="5" name="Plassholder for innhold 2">
            <a:extLst>
              <a:ext uri="{FF2B5EF4-FFF2-40B4-BE49-F238E27FC236}">
                <a16:creationId xmlns:a16="http://schemas.microsoft.com/office/drawing/2014/main" id="{ACC5D81B-6C25-4C34-8C17-447CC3D413F2}"/>
              </a:ext>
            </a:extLst>
          </p:cNvPr>
          <p:cNvSpPr>
            <a:spLocks noGrp="1"/>
          </p:cNvSpPr>
          <p:nvPr>
            <p:ph sz="half" idx="14"/>
          </p:nvPr>
        </p:nvSpPr>
        <p:spPr>
          <a:xfrm>
            <a:off x="567559" y="1059656"/>
            <a:ext cx="8008943" cy="3507027"/>
          </a:xfrm>
        </p:spPr>
        <p:txBody>
          <a:bodyPr lIns="0">
            <a:normAutofit/>
          </a:bodyPr>
          <a:lstStyle>
            <a:lvl1pPr marL="271463" indent="-271463">
              <a:buClr>
                <a:schemeClr val="tx2"/>
              </a:buClr>
              <a:buSzPct val="100000"/>
              <a:buFont typeface="+mj-lt"/>
              <a:buAutoNum type="arabicPeriod"/>
              <a:defRPr sz="1500">
                <a:solidFill>
                  <a:schemeClr val="tx2"/>
                </a:solidFill>
              </a:defRPr>
            </a:lvl1pPr>
            <a:lvl2pPr marL="407194" indent="-135731">
              <a:buClr>
                <a:schemeClr val="tx1"/>
              </a:buClr>
              <a:buFont typeface="Calibri" panose="020F0502020204030204" pitchFamily="34" charset="0"/>
              <a:buChar char="−"/>
              <a:defRPr sz="1200">
                <a:solidFill>
                  <a:schemeClr val="tx2"/>
                </a:solidFill>
              </a:defRPr>
            </a:lvl2pPr>
            <a:lvl3pPr marL="534591" indent="-127397">
              <a:buClr>
                <a:schemeClr val="tx1"/>
              </a:buClr>
              <a:defRPr sz="1200">
                <a:solidFill>
                  <a:schemeClr val="tx2"/>
                </a:solidFill>
              </a:defRPr>
            </a:lvl3pPr>
            <a:lvl4pPr marL="670322" indent="-135731">
              <a:buClr>
                <a:schemeClr val="tx1"/>
              </a:buClr>
              <a:buFont typeface="Arial" panose="020B0604020202020204" pitchFamily="34" charset="0"/>
              <a:buChar char="▪"/>
              <a:defRPr sz="1200">
                <a:solidFill>
                  <a:schemeClr val="tx2"/>
                </a:solidFill>
              </a:defRPr>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spTree>
    <p:extLst>
      <p:ext uri="{BB962C8B-B14F-4D97-AF65-F5344CB8AC3E}">
        <p14:creationId xmlns:p14="http://schemas.microsoft.com/office/powerpoint/2010/main" val="107566453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tandard tekstside ">
    <p:spTree>
      <p:nvGrpSpPr>
        <p:cNvPr id="1" name=""/>
        <p:cNvGrpSpPr/>
        <p:nvPr/>
      </p:nvGrpSpPr>
      <p:grpSpPr>
        <a:xfrm>
          <a:off x="0" y="0"/>
          <a:ext cx="0" cy="0"/>
          <a:chOff x="0" y="0"/>
          <a:chExt cx="0" cy="0"/>
        </a:xfrm>
      </p:grpSpPr>
      <p:pic>
        <p:nvPicPr>
          <p:cNvPr id="6" name="Bilde 5" descr="Et bilde som inneholder tegning&#10;&#10;Automatisk generert beskrivelse">
            <a:extLst>
              <a:ext uri="{FF2B5EF4-FFF2-40B4-BE49-F238E27FC236}">
                <a16:creationId xmlns:a16="http://schemas.microsoft.com/office/drawing/2014/main" id="{3CBEEFC6-422B-4BD5-9E19-4D85A79DF60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16591" y="6421"/>
            <a:ext cx="1620000" cy="653333"/>
          </a:xfrm>
          <a:prstGeom prst="rect">
            <a:avLst/>
          </a:prstGeom>
        </p:spPr>
      </p:pic>
      <p:sp>
        <p:nvSpPr>
          <p:cNvPr id="9" name="Rubrik 1">
            <a:extLst>
              <a:ext uri="{FF2B5EF4-FFF2-40B4-BE49-F238E27FC236}">
                <a16:creationId xmlns:a16="http://schemas.microsoft.com/office/drawing/2014/main" id="{9EAD31D6-5CD9-4976-BA75-1B3862EAE0E2}"/>
              </a:ext>
            </a:extLst>
          </p:cNvPr>
          <p:cNvSpPr>
            <a:spLocks noGrp="1"/>
          </p:cNvSpPr>
          <p:nvPr>
            <p:ph type="title" hasCustomPrompt="1"/>
          </p:nvPr>
        </p:nvSpPr>
        <p:spPr>
          <a:xfrm>
            <a:off x="567559" y="222674"/>
            <a:ext cx="6854798" cy="455830"/>
          </a:xfrm>
        </p:spPr>
        <p:txBody>
          <a:bodyPr lIns="0">
            <a:normAutofit/>
          </a:bodyPr>
          <a:lstStyle>
            <a:lvl1pPr>
              <a:defRPr sz="2100" b="1">
                <a:solidFill>
                  <a:schemeClr val="accent1"/>
                </a:solidFill>
              </a:defRPr>
            </a:lvl1pPr>
          </a:lstStyle>
          <a:p>
            <a:r>
              <a:rPr lang="nb-NO" noProof="0"/>
              <a:t>Overskrift</a:t>
            </a:r>
          </a:p>
        </p:txBody>
      </p:sp>
      <p:sp>
        <p:nvSpPr>
          <p:cNvPr id="10" name="Text Placeholder 6">
            <a:extLst>
              <a:ext uri="{FF2B5EF4-FFF2-40B4-BE49-F238E27FC236}">
                <a16:creationId xmlns:a16="http://schemas.microsoft.com/office/drawing/2014/main" id="{CA684634-FD35-40C2-89C1-CB1955477608}"/>
              </a:ext>
            </a:extLst>
          </p:cNvPr>
          <p:cNvSpPr>
            <a:spLocks noGrp="1"/>
          </p:cNvSpPr>
          <p:nvPr>
            <p:ph type="body" sz="quarter" idx="13" hasCustomPrompt="1"/>
          </p:nvPr>
        </p:nvSpPr>
        <p:spPr>
          <a:xfrm>
            <a:off x="567047" y="576817"/>
            <a:ext cx="6854798" cy="292894"/>
          </a:xfrm>
          <a:prstGeom prst="rect">
            <a:avLst/>
          </a:prstGeom>
        </p:spPr>
        <p:txBody>
          <a:bodyPr lIns="0" anchor="b">
            <a:noAutofit/>
          </a:bodyPr>
          <a:lstStyle>
            <a:lvl1pPr marL="0" indent="0">
              <a:spcBef>
                <a:spcPts val="0"/>
              </a:spcBef>
              <a:spcAft>
                <a:spcPts val="0"/>
              </a:spcAft>
              <a:buNone/>
              <a:defRPr sz="1350" b="1" i="0" cap="none" spc="45" baseline="0">
                <a:solidFill>
                  <a:schemeClr val="tx1"/>
                </a:solidFill>
              </a:defRPr>
            </a:lvl1pPr>
            <a:lvl5pPr>
              <a:defRPr>
                <a:solidFill>
                  <a:schemeClr val="bg1"/>
                </a:solidFill>
              </a:defRPr>
            </a:lvl5pPr>
          </a:lstStyle>
          <a:p>
            <a:pPr lvl="0"/>
            <a:r>
              <a:rPr lang="nb-NO" noProof="0"/>
              <a:t>Underoverskrift</a:t>
            </a:r>
          </a:p>
        </p:txBody>
      </p:sp>
      <p:sp>
        <p:nvSpPr>
          <p:cNvPr id="2" name="TekstSylinder 1">
            <a:extLst>
              <a:ext uri="{FF2B5EF4-FFF2-40B4-BE49-F238E27FC236}">
                <a16:creationId xmlns:a16="http://schemas.microsoft.com/office/drawing/2014/main" id="{8320C936-5019-4C54-8555-6132AFE6B696}"/>
              </a:ext>
            </a:extLst>
          </p:cNvPr>
          <p:cNvSpPr txBox="1"/>
          <p:nvPr userDrawn="1"/>
        </p:nvSpPr>
        <p:spPr>
          <a:xfrm>
            <a:off x="8246795" y="4828493"/>
            <a:ext cx="329277" cy="207749"/>
          </a:xfrm>
          <a:prstGeom prst="rect">
            <a:avLst/>
          </a:prstGeom>
          <a:noFill/>
        </p:spPr>
        <p:txBody>
          <a:bodyPr wrap="square" rIns="0" rtlCol="0">
            <a:spAutoFit/>
          </a:bodyPr>
          <a:lstStyle/>
          <a:p>
            <a:pPr algn="r"/>
            <a:fld id="{C25C054F-90E3-43D3-9F5F-0765C525DF5A}" type="slidenum">
              <a:rPr lang="nb-NO" sz="750" smtClean="0">
                <a:solidFill>
                  <a:schemeClr val="accent1"/>
                </a:solidFill>
              </a:rPr>
              <a:pPr algn="r"/>
              <a:t>‹#›</a:t>
            </a:fld>
            <a:endParaRPr lang="nb-NO" sz="750">
              <a:solidFill>
                <a:schemeClr val="accent1"/>
              </a:solidFill>
            </a:endParaRPr>
          </a:p>
        </p:txBody>
      </p:sp>
      <p:sp>
        <p:nvSpPr>
          <p:cNvPr id="7" name="Plassholder for innhold 2">
            <a:extLst>
              <a:ext uri="{FF2B5EF4-FFF2-40B4-BE49-F238E27FC236}">
                <a16:creationId xmlns:a16="http://schemas.microsoft.com/office/drawing/2014/main" id="{76BCDE75-3C14-4707-AA4A-247E42E5348A}"/>
              </a:ext>
            </a:extLst>
          </p:cNvPr>
          <p:cNvSpPr>
            <a:spLocks noGrp="1"/>
          </p:cNvSpPr>
          <p:nvPr>
            <p:ph sz="half" idx="14"/>
          </p:nvPr>
        </p:nvSpPr>
        <p:spPr>
          <a:xfrm>
            <a:off x="567130" y="1067192"/>
            <a:ext cx="8008943" cy="3507027"/>
          </a:xfrm>
        </p:spPr>
        <p:txBody>
          <a:bodyPr lIns="0">
            <a:normAutofit/>
          </a:bodyPr>
          <a:lstStyle>
            <a:lvl1pPr marL="271463" indent="-271463">
              <a:buClr>
                <a:schemeClr val="tx2"/>
              </a:buClr>
              <a:buSzPct val="130000"/>
              <a:buFont typeface="Arial" panose="020B0604020202020204" pitchFamily="34" charset="0"/>
              <a:buChar char="■"/>
              <a:defRPr sz="1500"/>
            </a:lvl1pPr>
            <a:lvl2pPr marL="407194" indent="-135731">
              <a:buClr>
                <a:schemeClr val="tx1"/>
              </a:buClr>
              <a:buFont typeface="Calibri" panose="020F0502020204030204" pitchFamily="34" charset="0"/>
              <a:buChar char="−"/>
              <a:defRPr sz="1200"/>
            </a:lvl2pPr>
            <a:lvl3pPr marL="534591" indent="-127397">
              <a:buClr>
                <a:schemeClr val="tx1"/>
              </a:buClr>
              <a:defRPr sz="1200"/>
            </a:lvl3pPr>
            <a:lvl4pPr marL="670322" indent="-135731">
              <a:buClr>
                <a:schemeClr val="tx1"/>
              </a:buClr>
              <a:buFont typeface="Arial" panose="020B0604020202020204" pitchFamily="34" charset="0"/>
              <a:buChar char="▪"/>
              <a:defRPr sz="1200"/>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spTree>
    <p:extLst>
      <p:ext uri="{BB962C8B-B14F-4D97-AF65-F5344CB8AC3E}">
        <p14:creationId xmlns:p14="http://schemas.microsoft.com/office/powerpoint/2010/main" val="346915235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tandard to kolonner">
    <p:spTree>
      <p:nvGrpSpPr>
        <p:cNvPr id="1" name=""/>
        <p:cNvGrpSpPr/>
        <p:nvPr/>
      </p:nvGrpSpPr>
      <p:grpSpPr>
        <a:xfrm>
          <a:off x="0" y="0"/>
          <a:ext cx="0" cy="0"/>
          <a:chOff x="0" y="0"/>
          <a:chExt cx="0" cy="0"/>
        </a:xfrm>
      </p:grpSpPr>
      <p:sp>
        <p:nvSpPr>
          <p:cNvPr id="7" name="Rubrik 1">
            <a:extLst>
              <a:ext uri="{FF2B5EF4-FFF2-40B4-BE49-F238E27FC236}">
                <a16:creationId xmlns:a16="http://schemas.microsoft.com/office/drawing/2014/main" id="{EF983C9A-92B5-470A-84FF-6B5E9CBF0488}"/>
              </a:ext>
            </a:extLst>
          </p:cNvPr>
          <p:cNvSpPr>
            <a:spLocks noGrp="1"/>
          </p:cNvSpPr>
          <p:nvPr>
            <p:ph type="title" hasCustomPrompt="1"/>
          </p:nvPr>
        </p:nvSpPr>
        <p:spPr>
          <a:xfrm>
            <a:off x="567559" y="222674"/>
            <a:ext cx="6854798" cy="455830"/>
          </a:xfrm>
        </p:spPr>
        <p:txBody>
          <a:bodyPr lIns="0">
            <a:normAutofit/>
          </a:bodyPr>
          <a:lstStyle>
            <a:lvl1pPr>
              <a:defRPr sz="2100" b="1">
                <a:solidFill>
                  <a:schemeClr val="accent1"/>
                </a:solidFill>
              </a:defRPr>
            </a:lvl1pPr>
          </a:lstStyle>
          <a:p>
            <a:r>
              <a:rPr lang="nb-NO" noProof="0"/>
              <a:t>Overskrift</a:t>
            </a:r>
          </a:p>
        </p:txBody>
      </p:sp>
      <p:sp>
        <p:nvSpPr>
          <p:cNvPr id="12" name="Text Placeholder 6">
            <a:extLst>
              <a:ext uri="{FF2B5EF4-FFF2-40B4-BE49-F238E27FC236}">
                <a16:creationId xmlns:a16="http://schemas.microsoft.com/office/drawing/2014/main" id="{03A9327F-317D-4108-A6F1-7E5A31D4E5EC}"/>
              </a:ext>
            </a:extLst>
          </p:cNvPr>
          <p:cNvSpPr>
            <a:spLocks noGrp="1"/>
          </p:cNvSpPr>
          <p:nvPr>
            <p:ph type="body" sz="quarter" idx="13" hasCustomPrompt="1"/>
          </p:nvPr>
        </p:nvSpPr>
        <p:spPr>
          <a:xfrm>
            <a:off x="567047" y="576817"/>
            <a:ext cx="6854798" cy="292894"/>
          </a:xfrm>
          <a:prstGeom prst="rect">
            <a:avLst/>
          </a:prstGeom>
        </p:spPr>
        <p:txBody>
          <a:bodyPr lIns="0" anchor="b">
            <a:noAutofit/>
          </a:bodyPr>
          <a:lstStyle>
            <a:lvl1pPr marL="0" indent="0">
              <a:spcBef>
                <a:spcPts val="0"/>
              </a:spcBef>
              <a:spcAft>
                <a:spcPts val="0"/>
              </a:spcAft>
              <a:buNone/>
              <a:defRPr sz="1350" b="1" i="0" cap="none" spc="45" baseline="0">
                <a:solidFill>
                  <a:schemeClr val="tx1"/>
                </a:solidFill>
              </a:defRPr>
            </a:lvl1pPr>
            <a:lvl5pPr>
              <a:defRPr>
                <a:solidFill>
                  <a:schemeClr val="bg1"/>
                </a:solidFill>
              </a:defRPr>
            </a:lvl5pPr>
          </a:lstStyle>
          <a:p>
            <a:pPr lvl="0"/>
            <a:r>
              <a:rPr lang="nb-NO" noProof="0"/>
              <a:t>Underoverskrift</a:t>
            </a:r>
          </a:p>
        </p:txBody>
      </p:sp>
      <p:pic>
        <p:nvPicPr>
          <p:cNvPr id="13" name="Bilde 12" descr="Et bilde som inneholder tegning&#10;&#10;Automatisk generert beskrivelse">
            <a:extLst>
              <a:ext uri="{FF2B5EF4-FFF2-40B4-BE49-F238E27FC236}">
                <a16:creationId xmlns:a16="http://schemas.microsoft.com/office/drawing/2014/main" id="{FD8A2E3B-D0AC-43DA-87EE-A643C7E50AB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16591" y="6421"/>
            <a:ext cx="1620000" cy="653333"/>
          </a:xfrm>
          <a:prstGeom prst="rect">
            <a:avLst/>
          </a:prstGeom>
        </p:spPr>
      </p:pic>
      <p:sp>
        <p:nvSpPr>
          <p:cNvPr id="2" name="TekstSylinder 1">
            <a:extLst>
              <a:ext uri="{FF2B5EF4-FFF2-40B4-BE49-F238E27FC236}">
                <a16:creationId xmlns:a16="http://schemas.microsoft.com/office/drawing/2014/main" id="{D771AF1C-FDE2-4B76-8893-FC459A658A1A}"/>
              </a:ext>
            </a:extLst>
          </p:cNvPr>
          <p:cNvSpPr txBox="1"/>
          <p:nvPr userDrawn="1"/>
        </p:nvSpPr>
        <p:spPr>
          <a:xfrm>
            <a:off x="8246795" y="4828493"/>
            <a:ext cx="329277" cy="207749"/>
          </a:xfrm>
          <a:prstGeom prst="rect">
            <a:avLst/>
          </a:prstGeom>
          <a:noFill/>
        </p:spPr>
        <p:txBody>
          <a:bodyPr wrap="square" rIns="0" rtlCol="0">
            <a:spAutoFit/>
          </a:bodyPr>
          <a:lstStyle/>
          <a:p>
            <a:pPr algn="r"/>
            <a:fld id="{C25C054F-90E3-43D3-9F5F-0765C525DF5A}" type="slidenum">
              <a:rPr lang="nb-NO" sz="750" smtClean="0">
                <a:solidFill>
                  <a:schemeClr val="accent1"/>
                </a:solidFill>
              </a:rPr>
              <a:pPr algn="r"/>
              <a:t>‹#›</a:t>
            </a:fld>
            <a:endParaRPr lang="nb-NO" sz="750">
              <a:solidFill>
                <a:schemeClr val="accent1"/>
              </a:solidFill>
            </a:endParaRPr>
          </a:p>
        </p:txBody>
      </p:sp>
      <p:sp>
        <p:nvSpPr>
          <p:cNvPr id="8" name="Plassholder for innhold 2">
            <a:extLst>
              <a:ext uri="{FF2B5EF4-FFF2-40B4-BE49-F238E27FC236}">
                <a16:creationId xmlns:a16="http://schemas.microsoft.com/office/drawing/2014/main" id="{13C07267-C4F6-45E4-B794-064CD7274ACB}"/>
              </a:ext>
            </a:extLst>
          </p:cNvPr>
          <p:cNvSpPr>
            <a:spLocks noGrp="1"/>
          </p:cNvSpPr>
          <p:nvPr>
            <p:ph sz="half" idx="1"/>
          </p:nvPr>
        </p:nvSpPr>
        <p:spPr>
          <a:xfrm>
            <a:off x="567476" y="1067192"/>
            <a:ext cx="3911567" cy="3507027"/>
          </a:xfrm>
        </p:spPr>
        <p:txBody>
          <a:bodyPr lIns="0">
            <a:normAutofit/>
          </a:bodyPr>
          <a:lstStyle>
            <a:lvl1pPr marL="271463" indent="-271463">
              <a:buClr>
                <a:schemeClr val="tx2"/>
              </a:buClr>
              <a:buSzPct val="130000"/>
              <a:buFont typeface="Arial" panose="020B0604020202020204" pitchFamily="34" charset="0"/>
              <a:buChar char="■"/>
              <a:defRPr sz="1500"/>
            </a:lvl1pPr>
            <a:lvl2pPr marL="407194" indent="-135731">
              <a:buFont typeface="Calibri" panose="020F0502020204030204" pitchFamily="34" charset="0"/>
              <a:buChar char="−"/>
              <a:defRPr sz="1200"/>
            </a:lvl2pPr>
            <a:lvl3pPr marL="534591" indent="-127397">
              <a:defRPr sz="1200"/>
            </a:lvl3pPr>
            <a:lvl4pPr marL="670322" indent="-135731">
              <a:buFont typeface="Arial" panose="020B0604020202020204" pitchFamily="34" charset="0"/>
              <a:buChar char="▪"/>
              <a:defRPr sz="1200"/>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sp>
        <p:nvSpPr>
          <p:cNvPr id="9" name="Plassholder for innhold 2">
            <a:extLst>
              <a:ext uri="{FF2B5EF4-FFF2-40B4-BE49-F238E27FC236}">
                <a16:creationId xmlns:a16="http://schemas.microsoft.com/office/drawing/2014/main" id="{000347F6-D596-4F5F-8BDD-1D8EA8695CC9}"/>
              </a:ext>
            </a:extLst>
          </p:cNvPr>
          <p:cNvSpPr>
            <a:spLocks noGrp="1"/>
          </p:cNvSpPr>
          <p:nvPr>
            <p:ph sz="half" idx="14"/>
          </p:nvPr>
        </p:nvSpPr>
        <p:spPr>
          <a:xfrm>
            <a:off x="4654794" y="1067192"/>
            <a:ext cx="3911567" cy="3507027"/>
          </a:xfrm>
        </p:spPr>
        <p:txBody>
          <a:bodyPr lIns="0">
            <a:normAutofit/>
          </a:bodyPr>
          <a:lstStyle>
            <a:lvl1pPr marL="271463" indent="-271463">
              <a:buClr>
                <a:schemeClr val="tx2"/>
              </a:buClr>
              <a:buSzPct val="130000"/>
              <a:buFont typeface="Arial" panose="020B0604020202020204" pitchFamily="34" charset="0"/>
              <a:buChar char="■"/>
              <a:defRPr sz="1500"/>
            </a:lvl1pPr>
            <a:lvl2pPr marL="407194" indent="-135731">
              <a:buFont typeface="Calibri" panose="020F0502020204030204" pitchFamily="34" charset="0"/>
              <a:buChar char="−"/>
              <a:defRPr sz="1200"/>
            </a:lvl2pPr>
            <a:lvl3pPr marL="534591" indent="-127397">
              <a:defRPr sz="1200"/>
            </a:lvl3pPr>
            <a:lvl4pPr marL="670322" indent="-135731">
              <a:buFont typeface="Arial" panose="020B0604020202020204" pitchFamily="34" charset="0"/>
              <a:buChar char="▪"/>
              <a:defRPr sz="1200"/>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spTree>
    <p:extLst>
      <p:ext uri="{BB962C8B-B14F-4D97-AF65-F5344CB8AC3E}">
        <p14:creationId xmlns:p14="http://schemas.microsoft.com/office/powerpoint/2010/main" val="45653682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En spalte med miljøbilde">
    <p:spTree>
      <p:nvGrpSpPr>
        <p:cNvPr id="1" name=""/>
        <p:cNvGrpSpPr/>
        <p:nvPr/>
      </p:nvGrpSpPr>
      <p:grpSpPr>
        <a:xfrm>
          <a:off x="0" y="0"/>
          <a:ext cx="0" cy="0"/>
          <a:chOff x="0" y="0"/>
          <a:chExt cx="0" cy="0"/>
        </a:xfrm>
      </p:grpSpPr>
      <p:pic>
        <p:nvPicPr>
          <p:cNvPr id="5" name="Bilde 4" descr="Et bilde som inneholder tekst&#10;&#10;Automatisk generert beskrivelse">
            <a:extLst>
              <a:ext uri="{FF2B5EF4-FFF2-40B4-BE49-F238E27FC236}">
                <a16:creationId xmlns:a16="http://schemas.microsoft.com/office/drawing/2014/main" id="{5A974333-7235-483A-A2F9-CC5858BE336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74870" y="0"/>
            <a:ext cx="4469130" cy="5143500"/>
          </a:xfrm>
          <a:prstGeom prst="rect">
            <a:avLst/>
          </a:prstGeom>
        </p:spPr>
      </p:pic>
      <p:sp>
        <p:nvSpPr>
          <p:cNvPr id="7" name="Rubrik 1">
            <a:extLst>
              <a:ext uri="{FF2B5EF4-FFF2-40B4-BE49-F238E27FC236}">
                <a16:creationId xmlns:a16="http://schemas.microsoft.com/office/drawing/2014/main" id="{ABCF65A8-1736-4B01-8369-15F6222F5702}"/>
              </a:ext>
            </a:extLst>
          </p:cNvPr>
          <p:cNvSpPr>
            <a:spLocks noGrp="1"/>
          </p:cNvSpPr>
          <p:nvPr>
            <p:ph type="title" hasCustomPrompt="1"/>
          </p:nvPr>
        </p:nvSpPr>
        <p:spPr>
          <a:xfrm>
            <a:off x="567559" y="222674"/>
            <a:ext cx="4004441" cy="455830"/>
          </a:xfrm>
        </p:spPr>
        <p:txBody>
          <a:bodyPr lIns="0">
            <a:normAutofit/>
          </a:bodyPr>
          <a:lstStyle>
            <a:lvl1pPr>
              <a:defRPr sz="2100" b="1">
                <a:solidFill>
                  <a:schemeClr val="accent1"/>
                </a:solidFill>
              </a:defRPr>
            </a:lvl1pPr>
          </a:lstStyle>
          <a:p>
            <a:r>
              <a:rPr lang="nb-NO" noProof="0"/>
              <a:t>Overskrift</a:t>
            </a:r>
          </a:p>
        </p:txBody>
      </p:sp>
      <p:sp>
        <p:nvSpPr>
          <p:cNvPr id="11" name="Text Placeholder 6">
            <a:extLst>
              <a:ext uri="{FF2B5EF4-FFF2-40B4-BE49-F238E27FC236}">
                <a16:creationId xmlns:a16="http://schemas.microsoft.com/office/drawing/2014/main" id="{C98632B2-76CE-4827-948D-BEDBAB22734A}"/>
              </a:ext>
            </a:extLst>
          </p:cNvPr>
          <p:cNvSpPr>
            <a:spLocks noGrp="1"/>
          </p:cNvSpPr>
          <p:nvPr>
            <p:ph type="body" sz="quarter" idx="13" hasCustomPrompt="1"/>
          </p:nvPr>
        </p:nvSpPr>
        <p:spPr>
          <a:xfrm>
            <a:off x="567047" y="576817"/>
            <a:ext cx="4004442" cy="292894"/>
          </a:xfrm>
          <a:prstGeom prst="rect">
            <a:avLst/>
          </a:prstGeom>
        </p:spPr>
        <p:txBody>
          <a:bodyPr lIns="0" anchor="b">
            <a:noAutofit/>
          </a:bodyPr>
          <a:lstStyle>
            <a:lvl1pPr marL="0" indent="0">
              <a:spcBef>
                <a:spcPts val="0"/>
              </a:spcBef>
              <a:spcAft>
                <a:spcPts val="0"/>
              </a:spcAft>
              <a:buNone/>
              <a:defRPr sz="1350" b="1" i="0" cap="none" spc="45" baseline="0">
                <a:solidFill>
                  <a:schemeClr val="tx1"/>
                </a:solidFill>
              </a:defRPr>
            </a:lvl1pPr>
            <a:lvl5pPr>
              <a:defRPr>
                <a:solidFill>
                  <a:schemeClr val="bg1"/>
                </a:solidFill>
              </a:defRPr>
            </a:lvl5pPr>
          </a:lstStyle>
          <a:p>
            <a:pPr lvl="0"/>
            <a:r>
              <a:rPr lang="nb-NO" noProof="0"/>
              <a:t>Underoverskrift</a:t>
            </a:r>
          </a:p>
        </p:txBody>
      </p:sp>
      <p:sp>
        <p:nvSpPr>
          <p:cNvPr id="2" name="TekstSylinder 1">
            <a:extLst>
              <a:ext uri="{FF2B5EF4-FFF2-40B4-BE49-F238E27FC236}">
                <a16:creationId xmlns:a16="http://schemas.microsoft.com/office/drawing/2014/main" id="{E90C6124-DFE7-40A4-A7F9-791626D4C902}"/>
              </a:ext>
            </a:extLst>
          </p:cNvPr>
          <p:cNvSpPr txBox="1"/>
          <p:nvPr userDrawn="1"/>
        </p:nvSpPr>
        <p:spPr>
          <a:xfrm>
            <a:off x="8246795" y="4828493"/>
            <a:ext cx="329277" cy="207749"/>
          </a:xfrm>
          <a:prstGeom prst="rect">
            <a:avLst/>
          </a:prstGeom>
          <a:noFill/>
        </p:spPr>
        <p:txBody>
          <a:bodyPr wrap="square" rIns="0" rtlCol="0">
            <a:spAutoFit/>
          </a:bodyPr>
          <a:lstStyle/>
          <a:p>
            <a:pPr algn="r"/>
            <a:fld id="{C25C054F-90E3-43D3-9F5F-0765C525DF5A}" type="slidenum">
              <a:rPr lang="nb-NO" sz="750" smtClean="0">
                <a:solidFill>
                  <a:schemeClr val="accent1"/>
                </a:solidFill>
              </a:rPr>
              <a:pPr algn="r"/>
              <a:t>‹#›</a:t>
            </a:fld>
            <a:endParaRPr lang="nb-NO" sz="750">
              <a:solidFill>
                <a:schemeClr val="accent1"/>
              </a:solidFill>
            </a:endParaRPr>
          </a:p>
        </p:txBody>
      </p:sp>
      <p:sp>
        <p:nvSpPr>
          <p:cNvPr id="10" name="Plassholder for innhold 2">
            <a:extLst>
              <a:ext uri="{FF2B5EF4-FFF2-40B4-BE49-F238E27FC236}">
                <a16:creationId xmlns:a16="http://schemas.microsoft.com/office/drawing/2014/main" id="{FC43F104-6305-4CFD-B3C4-D0BF61F386DC}"/>
              </a:ext>
            </a:extLst>
          </p:cNvPr>
          <p:cNvSpPr>
            <a:spLocks noGrp="1"/>
          </p:cNvSpPr>
          <p:nvPr>
            <p:ph sz="half" idx="1"/>
          </p:nvPr>
        </p:nvSpPr>
        <p:spPr>
          <a:xfrm>
            <a:off x="567130" y="1067192"/>
            <a:ext cx="3911567" cy="3507027"/>
          </a:xfrm>
        </p:spPr>
        <p:txBody>
          <a:bodyPr lIns="0">
            <a:normAutofit/>
          </a:bodyPr>
          <a:lstStyle>
            <a:lvl1pPr marL="271463" indent="-271463">
              <a:buClr>
                <a:schemeClr val="tx2"/>
              </a:buClr>
              <a:buSzPct val="130000"/>
              <a:buFont typeface="Arial" panose="020B0604020202020204" pitchFamily="34" charset="0"/>
              <a:buChar char="■"/>
              <a:defRPr sz="1500"/>
            </a:lvl1pPr>
            <a:lvl2pPr marL="407194" indent="-135731">
              <a:buFont typeface="Calibri" panose="020F0502020204030204" pitchFamily="34" charset="0"/>
              <a:buChar char="−"/>
              <a:defRPr sz="1200"/>
            </a:lvl2pPr>
            <a:lvl3pPr marL="534591" indent="-127397">
              <a:defRPr sz="1200"/>
            </a:lvl3pPr>
            <a:lvl4pPr marL="670322" indent="-135731">
              <a:buFont typeface="Arial" panose="020B0604020202020204" pitchFamily="34" charset="0"/>
              <a:buChar char="▪"/>
              <a:defRPr sz="1200"/>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spTree>
    <p:extLst>
      <p:ext uri="{BB962C8B-B14F-4D97-AF65-F5344CB8AC3E}">
        <p14:creationId xmlns:p14="http://schemas.microsoft.com/office/powerpoint/2010/main" val="389554047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ilde med tekst og en kolonne">
    <p:spTree>
      <p:nvGrpSpPr>
        <p:cNvPr id="1" name=""/>
        <p:cNvGrpSpPr/>
        <p:nvPr/>
      </p:nvGrpSpPr>
      <p:grpSpPr>
        <a:xfrm>
          <a:off x="0" y="0"/>
          <a:ext cx="0" cy="0"/>
          <a:chOff x="0" y="0"/>
          <a:chExt cx="0" cy="0"/>
        </a:xfrm>
      </p:grpSpPr>
      <p:pic>
        <p:nvPicPr>
          <p:cNvPr id="4" name="Bilde 3" descr="Et bilde som inneholder nett, edderkopp, utendørsobjekt, uskarpt&#10;&#10;Automatisk generert beskrivelse">
            <a:extLst>
              <a:ext uri="{FF2B5EF4-FFF2-40B4-BE49-F238E27FC236}">
                <a16:creationId xmlns:a16="http://schemas.microsoft.com/office/drawing/2014/main" id="{18702ED4-064E-4718-85AF-F2FBB664C07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451" r="17743"/>
          <a:stretch/>
        </p:blipFill>
        <p:spPr>
          <a:xfrm>
            <a:off x="1" y="6421"/>
            <a:ext cx="5841299" cy="5143500"/>
          </a:xfrm>
          <a:prstGeom prst="rect">
            <a:avLst/>
          </a:prstGeom>
        </p:spPr>
      </p:pic>
      <p:pic>
        <p:nvPicPr>
          <p:cNvPr id="10" name="Bilde 9" descr="Et bilde som inneholder tegning&#10;&#10;Automatisk generert beskrivelse">
            <a:extLst>
              <a:ext uri="{FF2B5EF4-FFF2-40B4-BE49-F238E27FC236}">
                <a16:creationId xmlns:a16="http://schemas.microsoft.com/office/drawing/2014/main" id="{5B5B0279-74AA-43BA-9A4E-C788A7F13F1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516591" y="6421"/>
            <a:ext cx="1620000" cy="653333"/>
          </a:xfrm>
          <a:prstGeom prst="rect">
            <a:avLst/>
          </a:prstGeom>
        </p:spPr>
      </p:pic>
      <p:sp>
        <p:nvSpPr>
          <p:cNvPr id="12" name="Text Placeholder 6">
            <a:extLst>
              <a:ext uri="{FF2B5EF4-FFF2-40B4-BE49-F238E27FC236}">
                <a16:creationId xmlns:a16="http://schemas.microsoft.com/office/drawing/2014/main" id="{8AF6C2F7-3E1F-41BA-8260-D3ED320A574A}"/>
              </a:ext>
            </a:extLst>
          </p:cNvPr>
          <p:cNvSpPr>
            <a:spLocks noGrp="1"/>
          </p:cNvSpPr>
          <p:nvPr>
            <p:ph type="body" sz="quarter" idx="13" hasCustomPrompt="1"/>
          </p:nvPr>
        </p:nvSpPr>
        <p:spPr>
          <a:xfrm>
            <a:off x="1595595" y="1059657"/>
            <a:ext cx="3879997" cy="292894"/>
          </a:xfrm>
          <a:prstGeom prst="rect">
            <a:avLst/>
          </a:prstGeom>
        </p:spPr>
        <p:txBody>
          <a:bodyPr lIns="0" anchor="b">
            <a:noAutofit/>
          </a:bodyPr>
          <a:lstStyle>
            <a:lvl1pPr marL="0" indent="0">
              <a:spcBef>
                <a:spcPts val="0"/>
              </a:spcBef>
              <a:spcAft>
                <a:spcPts val="0"/>
              </a:spcAft>
              <a:buNone/>
              <a:defRPr sz="2100" b="1" i="0" cap="none" spc="45" baseline="0">
                <a:solidFill>
                  <a:schemeClr val="bg1"/>
                </a:solidFill>
              </a:defRPr>
            </a:lvl1pPr>
            <a:lvl5pPr>
              <a:defRPr>
                <a:solidFill>
                  <a:schemeClr val="bg1"/>
                </a:solidFill>
              </a:defRPr>
            </a:lvl5pPr>
          </a:lstStyle>
          <a:p>
            <a:pPr lvl="0"/>
            <a:r>
              <a:rPr lang="nb-NO" noProof="0"/>
              <a:t>Skriv inn tekst på bildet</a:t>
            </a:r>
          </a:p>
        </p:txBody>
      </p:sp>
      <p:sp>
        <p:nvSpPr>
          <p:cNvPr id="2" name="TekstSylinder 1">
            <a:extLst>
              <a:ext uri="{FF2B5EF4-FFF2-40B4-BE49-F238E27FC236}">
                <a16:creationId xmlns:a16="http://schemas.microsoft.com/office/drawing/2014/main" id="{7B316D8E-B4D7-4065-BEBC-683A284CC98B}"/>
              </a:ext>
            </a:extLst>
          </p:cNvPr>
          <p:cNvSpPr txBox="1"/>
          <p:nvPr userDrawn="1"/>
        </p:nvSpPr>
        <p:spPr>
          <a:xfrm>
            <a:off x="8246795" y="4828493"/>
            <a:ext cx="329277" cy="207749"/>
          </a:xfrm>
          <a:prstGeom prst="rect">
            <a:avLst/>
          </a:prstGeom>
          <a:noFill/>
        </p:spPr>
        <p:txBody>
          <a:bodyPr wrap="square" rIns="0" rtlCol="0">
            <a:spAutoFit/>
          </a:bodyPr>
          <a:lstStyle/>
          <a:p>
            <a:pPr algn="r"/>
            <a:fld id="{C25C054F-90E3-43D3-9F5F-0765C525DF5A}" type="slidenum">
              <a:rPr lang="nb-NO" sz="750" smtClean="0">
                <a:solidFill>
                  <a:schemeClr val="accent1"/>
                </a:solidFill>
              </a:rPr>
              <a:pPr algn="r"/>
              <a:t>‹#›</a:t>
            </a:fld>
            <a:endParaRPr lang="nb-NO" sz="750">
              <a:solidFill>
                <a:schemeClr val="accent1"/>
              </a:solidFill>
            </a:endParaRPr>
          </a:p>
        </p:txBody>
      </p:sp>
      <p:sp>
        <p:nvSpPr>
          <p:cNvPr id="7" name="Plassholder for innhold 2">
            <a:extLst>
              <a:ext uri="{FF2B5EF4-FFF2-40B4-BE49-F238E27FC236}">
                <a16:creationId xmlns:a16="http://schemas.microsoft.com/office/drawing/2014/main" id="{11BB7019-C517-427C-B438-3F7421B02002}"/>
              </a:ext>
            </a:extLst>
          </p:cNvPr>
          <p:cNvSpPr>
            <a:spLocks noGrp="1"/>
          </p:cNvSpPr>
          <p:nvPr>
            <p:ph sz="half" idx="1"/>
          </p:nvPr>
        </p:nvSpPr>
        <p:spPr>
          <a:xfrm>
            <a:off x="6072983" y="1067979"/>
            <a:ext cx="2494067" cy="3601538"/>
          </a:xfrm>
        </p:spPr>
        <p:txBody>
          <a:bodyPr lIns="0">
            <a:normAutofit/>
          </a:bodyPr>
          <a:lstStyle>
            <a:lvl1pPr marL="271463" indent="-271463">
              <a:buClr>
                <a:schemeClr val="tx2"/>
              </a:buClr>
              <a:buSzPct val="130000"/>
              <a:buFont typeface="Arial" panose="020B0604020202020204" pitchFamily="34" charset="0"/>
              <a:buChar char="■"/>
              <a:defRPr sz="1500"/>
            </a:lvl1pPr>
            <a:lvl2pPr marL="407194" indent="-135731">
              <a:buFont typeface="Calibri" panose="020F0502020204030204" pitchFamily="34" charset="0"/>
              <a:buChar char="−"/>
              <a:defRPr sz="1200"/>
            </a:lvl2pPr>
            <a:lvl3pPr marL="534591" indent="-127397">
              <a:defRPr sz="1200"/>
            </a:lvl3pPr>
            <a:lvl4pPr marL="670322" indent="-135731">
              <a:buFont typeface="Arial" panose="020B0604020202020204" pitchFamily="34" charset="0"/>
              <a:buChar char="▪"/>
              <a:defRPr sz="1200"/>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spTree>
    <p:extLst>
      <p:ext uri="{BB962C8B-B14F-4D97-AF65-F5344CB8AC3E}">
        <p14:creationId xmlns:p14="http://schemas.microsoft.com/office/powerpoint/2010/main" val="426782515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Valgfritt bilde med tekst og en kolonner ">
    <p:spTree>
      <p:nvGrpSpPr>
        <p:cNvPr id="1" name=""/>
        <p:cNvGrpSpPr/>
        <p:nvPr/>
      </p:nvGrpSpPr>
      <p:grpSpPr>
        <a:xfrm>
          <a:off x="0" y="0"/>
          <a:ext cx="0" cy="0"/>
          <a:chOff x="0" y="0"/>
          <a:chExt cx="0" cy="0"/>
        </a:xfrm>
      </p:grpSpPr>
      <p:sp>
        <p:nvSpPr>
          <p:cNvPr id="6" name="Plassholder for bilde 2">
            <a:extLst>
              <a:ext uri="{FF2B5EF4-FFF2-40B4-BE49-F238E27FC236}">
                <a16:creationId xmlns:a16="http://schemas.microsoft.com/office/drawing/2014/main" id="{D7EF0078-3B19-46DB-A234-228797409989}"/>
              </a:ext>
            </a:extLst>
          </p:cNvPr>
          <p:cNvSpPr>
            <a:spLocks noGrp="1"/>
          </p:cNvSpPr>
          <p:nvPr>
            <p:ph type="pic" idx="1"/>
          </p:nvPr>
        </p:nvSpPr>
        <p:spPr>
          <a:xfrm>
            <a:off x="266" y="6421"/>
            <a:ext cx="5842759" cy="5130659"/>
          </a:xfrm>
        </p:spPr>
        <p:txBody>
          <a:bodyPr>
            <a:normAutofit/>
          </a:bodyPr>
          <a:lstStyle>
            <a:lvl1pPr marL="0" indent="0">
              <a:buNone/>
              <a:defRPr sz="105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b-NO"/>
              <a:t>Klikk på ikonet for å legge til et bilde</a:t>
            </a:r>
          </a:p>
        </p:txBody>
      </p:sp>
      <p:pic>
        <p:nvPicPr>
          <p:cNvPr id="10" name="Bilde 9" descr="Et bilde som inneholder tegning&#10;&#10;Automatisk generert beskrivelse">
            <a:extLst>
              <a:ext uri="{FF2B5EF4-FFF2-40B4-BE49-F238E27FC236}">
                <a16:creationId xmlns:a16="http://schemas.microsoft.com/office/drawing/2014/main" id="{5B5B0279-74AA-43BA-9A4E-C788A7F13F1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16591" y="6421"/>
            <a:ext cx="1620000" cy="653333"/>
          </a:xfrm>
          <a:prstGeom prst="rect">
            <a:avLst/>
          </a:prstGeom>
        </p:spPr>
      </p:pic>
      <p:sp>
        <p:nvSpPr>
          <p:cNvPr id="12" name="Text Placeholder 6">
            <a:extLst>
              <a:ext uri="{FF2B5EF4-FFF2-40B4-BE49-F238E27FC236}">
                <a16:creationId xmlns:a16="http://schemas.microsoft.com/office/drawing/2014/main" id="{8AF6C2F7-3E1F-41BA-8260-D3ED320A574A}"/>
              </a:ext>
            </a:extLst>
          </p:cNvPr>
          <p:cNvSpPr>
            <a:spLocks noGrp="1" noChangeAspect="1"/>
          </p:cNvSpPr>
          <p:nvPr>
            <p:ph type="body" sz="quarter" idx="13" hasCustomPrompt="1"/>
          </p:nvPr>
        </p:nvSpPr>
        <p:spPr>
          <a:xfrm>
            <a:off x="1595595" y="1067193"/>
            <a:ext cx="3879997" cy="292894"/>
          </a:xfrm>
          <a:prstGeom prst="rect">
            <a:avLst/>
          </a:prstGeom>
        </p:spPr>
        <p:txBody>
          <a:bodyPr lIns="0" anchor="b">
            <a:noAutofit/>
          </a:bodyPr>
          <a:lstStyle>
            <a:lvl1pPr marL="0" indent="0">
              <a:spcBef>
                <a:spcPts val="0"/>
              </a:spcBef>
              <a:spcAft>
                <a:spcPts val="0"/>
              </a:spcAft>
              <a:buNone/>
              <a:defRPr sz="2100" b="1" i="0" cap="none" spc="45" baseline="0">
                <a:solidFill>
                  <a:schemeClr val="bg1"/>
                </a:solidFill>
              </a:defRPr>
            </a:lvl1pPr>
            <a:lvl5pPr>
              <a:defRPr>
                <a:solidFill>
                  <a:schemeClr val="bg1"/>
                </a:solidFill>
              </a:defRPr>
            </a:lvl5pPr>
          </a:lstStyle>
          <a:p>
            <a:pPr lvl="0"/>
            <a:r>
              <a:rPr lang="nb-NO" noProof="0"/>
              <a:t>Skriv inn tekst på bildet</a:t>
            </a:r>
          </a:p>
        </p:txBody>
      </p:sp>
      <p:sp>
        <p:nvSpPr>
          <p:cNvPr id="2" name="TekstSylinder 1">
            <a:extLst>
              <a:ext uri="{FF2B5EF4-FFF2-40B4-BE49-F238E27FC236}">
                <a16:creationId xmlns:a16="http://schemas.microsoft.com/office/drawing/2014/main" id="{4D050D39-B1ED-408C-9CC9-A0CEF4DA6150}"/>
              </a:ext>
            </a:extLst>
          </p:cNvPr>
          <p:cNvSpPr txBox="1"/>
          <p:nvPr userDrawn="1"/>
        </p:nvSpPr>
        <p:spPr>
          <a:xfrm>
            <a:off x="8246795" y="4828493"/>
            <a:ext cx="329277" cy="207749"/>
          </a:xfrm>
          <a:prstGeom prst="rect">
            <a:avLst/>
          </a:prstGeom>
          <a:noFill/>
        </p:spPr>
        <p:txBody>
          <a:bodyPr wrap="square" rIns="0" rtlCol="0">
            <a:spAutoFit/>
          </a:bodyPr>
          <a:lstStyle/>
          <a:p>
            <a:pPr algn="r"/>
            <a:fld id="{C25C054F-90E3-43D3-9F5F-0765C525DF5A}" type="slidenum">
              <a:rPr lang="nb-NO" sz="750" smtClean="0">
                <a:solidFill>
                  <a:schemeClr val="accent1"/>
                </a:solidFill>
              </a:rPr>
              <a:pPr algn="r"/>
              <a:t>‹#›</a:t>
            </a:fld>
            <a:endParaRPr lang="nb-NO" sz="750">
              <a:solidFill>
                <a:schemeClr val="accent1"/>
              </a:solidFill>
            </a:endParaRPr>
          </a:p>
        </p:txBody>
      </p:sp>
      <p:sp>
        <p:nvSpPr>
          <p:cNvPr id="7" name="Plassholder for innhold 2">
            <a:extLst>
              <a:ext uri="{FF2B5EF4-FFF2-40B4-BE49-F238E27FC236}">
                <a16:creationId xmlns:a16="http://schemas.microsoft.com/office/drawing/2014/main" id="{5193CE28-AD71-4476-A3C1-0F84B6D2CA56}"/>
              </a:ext>
            </a:extLst>
          </p:cNvPr>
          <p:cNvSpPr>
            <a:spLocks noGrp="1"/>
          </p:cNvSpPr>
          <p:nvPr>
            <p:ph sz="half" idx="14"/>
          </p:nvPr>
        </p:nvSpPr>
        <p:spPr>
          <a:xfrm>
            <a:off x="6072983" y="1067979"/>
            <a:ext cx="2494067" cy="3601538"/>
          </a:xfrm>
        </p:spPr>
        <p:txBody>
          <a:bodyPr lIns="0">
            <a:normAutofit/>
          </a:bodyPr>
          <a:lstStyle>
            <a:lvl1pPr marL="271463" indent="-271463">
              <a:buClr>
                <a:schemeClr val="tx2"/>
              </a:buClr>
              <a:buSzPct val="130000"/>
              <a:buFont typeface="Arial" panose="020B0604020202020204" pitchFamily="34" charset="0"/>
              <a:buChar char="■"/>
              <a:defRPr sz="1500"/>
            </a:lvl1pPr>
            <a:lvl2pPr marL="407194" indent="-135731">
              <a:buFont typeface="Calibri" panose="020F0502020204030204" pitchFamily="34" charset="0"/>
              <a:buChar char="−"/>
              <a:defRPr sz="1200"/>
            </a:lvl2pPr>
            <a:lvl3pPr marL="534591" indent="-127397">
              <a:defRPr sz="1200"/>
            </a:lvl3pPr>
            <a:lvl4pPr marL="670322" indent="-135731">
              <a:buFont typeface="Arial" panose="020B0604020202020204" pitchFamily="34" charset="0"/>
              <a:buChar char="▪"/>
              <a:defRPr sz="1200"/>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spTree>
    <p:extLst>
      <p:ext uri="{BB962C8B-B14F-4D97-AF65-F5344CB8AC3E}">
        <p14:creationId xmlns:p14="http://schemas.microsoft.com/office/powerpoint/2010/main" val="387435494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malt bilde og to kolonner ">
    <p:spTree>
      <p:nvGrpSpPr>
        <p:cNvPr id="1" name=""/>
        <p:cNvGrpSpPr/>
        <p:nvPr/>
      </p:nvGrpSpPr>
      <p:grpSpPr>
        <a:xfrm>
          <a:off x="0" y="0"/>
          <a:ext cx="0" cy="0"/>
          <a:chOff x="0" y="0"/>
          <a:chExt cx="0" cy="0"/>
        </a:xfrm>
      </p:grpSpPr>
      <p:pic>
        <p:nvPicPr>
          <p:cNvPr id="10" name="Bilde 9" descr="Et bilde som inneholder tegning&#10;&#10;Automatisk generert beskrivelse">
            <a:extLst>
              <a:ext uri="{FF2B5EF4-FFF2-40B4-BE49-F238E27FC236}">
                <a16:creationId xmlns:a16="http://schemas.microsoft.com/office/drawing/2014/main" id="{5B5B0279-74AA-43BA-9A4E-C788A7F13F1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16591" y="6421"/>
            <a:ext cx="1620000" cy="653333"/>
          </a:xfrm>
          <a:prstGeom prst="rect">
            <a:avLst/>
          </a:prstGeom>
        </p:spPr>
      </p:pic>
      <p:sp>
        <p:nvSpPr>
          <p:cNvPr id="13" name="Rubrik 1">
            <a:extLst>
              <a:ext uri="{FF2B5EF4-FFF2-40B4-BE49-F238E27FC236}">
                <a16:creationId xmlns:a16="http://schemas.microsoft.com/office/drawing/2014/main" id="{4EAB2285-6FBE-4E9C-9C08-989436DFC3AF}"/>
              </a:ext>
            </a:extLst>
          </p:cNvPr>
          <p:cNvSpPr>
            <a:spLocks noGrp="1"/>
          </p:cNvSpPr>
          <p:nvPr>
            <p:ph type="title" hasCustomPrompt="1"/>
          </p:nvPr>
        </p:nvSpPr>
        <p:spPr>
          <a:xfrm>
            <a:off x="3277715" y="222674"/>
            <a:ext cx="4156649" cy="455830"/>
          </a:xfrm>
        </p:spPr>
        <p:txBody>
          <a:bodyPr lIns="0">
            <a:normAutofit/>
          </a:bodyPr>
          <a:lstStyle>
            <a:lvl1pPr>
              <a:defRPr sz="2100" b="1">
                <a:solidFill>
                  <a:schemeClr val="accent1"/>
                </a:solidFill>
              </a:defRPr>
            </a:lvl1pPr>
          </a:lstStyle>
          <a:p>
            <a:r>
              <a:rPr lang="nb-NO" noProof="0"/>
              <a:t>Overskrift</a:t>
            </a:r>
          </a:p>
        </p:txBody>
      </p:sp>
      <p:sp>
        <p:nvSpPr>
          <p:cNvPr id="14" name="Text Placeholder 6">
            <a:extLst>
              <a:ext uri="{FF2B5EF4-FFF2-40B4-BE49-F238E27FC236}">
                <a16:creationId xmlns:a16="http://schemas.microsoft.com/office/drawing/2014/main" id="{AD9131DC-11A8-4F76-ACFD-13643168D17C}"/>
              </a:ext>
            </a:extLst>
          </p:cNvPr>
          <p:cNvSpPr>
            <a:spLocks noGrp="1"/>
          </p:cNvSpPr>
          <p:nvPr>
            <p:ph type="body" sz="quarter" idx="13" hasCustomPrompt="1"/>
          </p:nvPr>
        </p:nvSpPr>
        <p:spPr>
          <a:xfrm>
            <a:off x="3277715" y="569521"/>
            <a:ext cx="4149721" cy="292894"/>
          </a:xfrm>
          <a:prstGeom prst="rect">
            <a:avLst/>
          </a:prstGeom>
        </p:spPr>
        <p:txBody>
          <a:bodyPr lIns="0" anchor="b">
            <a:noAutofit/>
          </a:bodyPr>
          <a:lstStyle>
            <a:lvl1pPr marL="0" indent="0">
              <a:spcBef>
                <a:spcPts val="0"/>
              </a:spcBef>
              <a:spcAft>
                <a:spcPts val="0"/>
              </a:spcAft>
              <a:buNone/>
              <a:defRPr sz="1350" b="1" i="0" cap="none" spc="45" baseline="0">
                <a:solidFill>
                  <a:schemeClr val="tx1"/>
                </a:solidFill>
              </a:defRPr>
            </a:lvl1pPr>
            <a:lvl5pPr>
              <a:defRPr>
                <a:solidFill>
                  <a:schemeClr val="bg1"/>
                </a:solidFill>
              </a:defRPr>
            </a:lvl5pPr>
          </a:lstStyle>
          <a:p>
            <a:pPr lvl="0"/>
            <a:r>
              <a:rPr lang="nb-NO" noProof="0"/>
              <a:t>Underoverskrift</a:t>
            </a:r>
          </a:p>
        </p:txBody>
      </p:sp>
      <p:sp>
        <p:nvSpPr>
          <p:cNvPr id="2" name="TekstSylinder 1">
            <a:extLst>
              <a:ext uri="{FF2B5EF4-FFF2-40B4-BE49-F238E27FC236}">
                <a16:creationId xmlns:a16="http://schemas.microsoft.com/office/drawing/2014/main" id="{633047B1-EB84-4AF4-A42B-C9870F6F3877}"/>
              </a:ext>
            </a:extLst>
          </p:cNvPr>
          <p:cNvSpPr txBox="1"/>
          <p:nvPr userDrawn="1"/>
        </p:nvSpPr>
        <p:spPr>
          <a:xfrm>
            <a:off x="8246795" y="4828493"/>
            <a:ext cx="329277" cy="207749"/>
          </a:xfrm>
          <a:prstGeom prst="rect">
            <a:avLst/>
          </a:prstGeom>
          <a:noFill/>
        </p:spPr>
        <p:txBody>
          <a:bodyPr wrap="square" rIns="0" rtlCol="0">
            <a:spAutoFit/>
          </a:bodyPr>
          <a:lstStyle/>
          <a:p>
            <a:pPr algn="r"/>
            <a:fld id="{C25C054F-90E3-43D3-9F5F-0765C525DF5A}" type="slidenum">
              <a:rPr lang="nb-NO" sz="750" smtClean="0">
                <a:solidFill>
                  <a:schemeClr val="accent1"/>
                </a:solidFill>
              </a:rPr>
              <a:pPr algn="r"/>
              <a:t>‹#›</a:t>
            </a:fld>
            <a:endParaRPr lang="nb-NO" sz="750">
              <a:solidFill>
                <a:schemeClr val="accent1"/>
              </a:solidFill>
            </a:endParaRPr>
          </a:p>
        </p:txBody>
      </p:sp>
      <p:sp>
        <p:nvSpPr>
          <p:cNvPr id="9" name="Plassholder for innhold 2">
            <a:extLst>
              <a:ext uri="{FF2B5EF4-FFF2-40B4-BE49-F238E27FC236}">
                <a16:creationId xmlns:a16="http://schemas.microsoft.com/office/drawing/2014/main" id="{CAE96C54-4B6F-4BBA-BA52-6142DE68FFDA}"/>
              </a:ext>
            </a:extLst>
          </p:cNvPr>
          <p:cNvSpPr>
            <a:spLocks noGrp="1"/>
          </p:cNvSpPr>
          <p:nvPr>
            <p:ph sz="half" idx="1"/>
          </p:nvPr>
        </p:nvSpPr>
        <p:spPr>
          <a:xfrm>
            <a:off x="5973719" y="1067979"/>
            <a:ext cx="2592000" cy="3601538"/>
          </a:xfrm>
        </p:spPr>
        <p:txBody>
          <a:bodyPr lIns="0">
            <a:normAutofit/>
          </a:bodyPr>
          <a:lstStyle>
            <a:lvl1pPr marL="271463" indent="-271463">
              <a:buClr>
                <a:schemeClr val="tx2"/>
              </a:buClr>
              <a:buSzPct val="130000"/>
              <a:buFont typeface="Arial" panose="020B0604020202020204" pitchFamily="34" charset="0"/>
              <a:buChar char="■"/>
              <a:defRPr sz="1500"/>
            </a:lvl1pPr>
            <a:lvl2pPr marL="407194" indent="-135731">
              <a:buFont typeface="Calibri" panose="020F0502020204030204" pitchFamily="34" charset="0"/>
              <a:buChar char="−"/>
              <a:defRPr sz="1200"/>
            </a:lvl2pPr>
            <a:lvl3pPr marL="534591" indent="-127397">
              <a:defRPr sz="1200"/>
            </a:lvl3pPr>
            <a:lvl4pPr marL="670322" indent="-135731">
              <a:buFont typeface="Arial" panose="020B0604020202020204" pitchFamily="34" charset="0"/>
              <a:buChar char="▪"/>
              <a:defRPr sz="1200"/>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sp>
        <p:nvSpPr>
          <p:cNvPr id="12" name="Plassholder for innhold 2">
            <a:extLst>
              <a:ext uri="{FF2B5EF4-FFF2-40B4-BE49-F238E27FC236}">
                <a16:creationId xmlns:a16="http://schemas.microsoft.com/office/drawing/2014/main" id="{DF3F635F-CBD0-40E7-B43C-B80E3831F23C}"/>
              </a:ext>
            </a:extLst>
          </p:cNvPr>
          <p:cNvSpPr>
            <a:spLocks noGrp="1"/>
          </p:cNvSpPr>
          <p:nvPr>
            <p:ph sz="half" idx="16"/>
          </p:nvPr>
        </p:nvSpPr>
        <p:spPr>
          <a:xfrm>
            <a:off x="3278865" y="1067979"/>
            <a:ext cx="2590850" cy="3601538"/>
          </a:xfrm>
        </p:spPr>
        <p:txBody>
          <a:bodyPr lIns="0">
            <a:normAutofit/>
          </a:bodyPr>
          <a:lstStyle>
            <a:lvl1pPr marL="271463" indent="-271463">
              <a:buClr>
                <a:schemeClr val="tx2"/>
              </a:buClr>
              <a:buSzPct val="130000"/>
              <a:buFont typeface="Arial" panose="020B0604020202020204" pitchFamily="34" charset="0"/>
              <a:buChar char="■"/>
              <a:defRPr sz="1500"/>
            </a:lvl1pPr>
            <a:lvl2pPr marL="407194" indent="-135731">
              <a:buFont typeface="Calibri" panose="020F0502020204030204" pitchFamily="34" charset="0"/>
              <a:buChar char="−"/>
              <a:defRPr sz="1200"/>
            </a:lvl2pPr>
            <a:lvl3pPr marL="534591" indent="-127397">
              <a:defRPr sz="1200"/>
            </a:lvl3pPr>
            <a:lvl4pPr marL="670322" indent="-135731">
              <a:buFont typeface="Arial" panose="020B0604020202020204" pitchFamily="34" charset="0"/>
              <a:buChar char="▪"/>
              <a:defRPr sz="1200"/>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pic>
        <p:nvPicPr>
          <p:cNvPr id="4" name="Bilde 3">
            <a:extLst>
              <a:ext uri="{FF2B5EF4-FFF2-40B4-BE49-F238E27FC236}">
                <a16:creationId xmlns:a16="http://schemas.microsoft.com/office/drawing/2014/main" id="{EF15BAFB-C5CC-4787-9A76-C72B373282C6}"/>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55986" r="4000"/>
          <a:stretch/>
        </p:blipFill>
        <p:spPr>
          <a:xfrm>
            <a:off x="0" y="0"/>
            <a:ext cx="3084817" cy="5143500"/>
          </a:xfrm>
          <a:prstGeom prst="rect">
            <a:avLst/>
          </a:prstGeom>
        </p:spPr>
      </p:pic>
    </p:spTree>
    <p:extLst>
      <p:ext uri="{BB962C8B-B14F-4D97-AF65-F5344CB8AC3E}">
        <p14:creationId xmlns:p14="http://schemas.microsoft.com/office/powerpoint/2010/main" val="18574502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1 Orange">
    <p:spTree>
      <p:nvGrpSpPr>
        <p:cNvPr id="1" name=""/>
        <p:cNvGrpSpPr/>
        <p:nvPr/>
      </p:nvGrpSpPr>
      <p:grpSpPr>
        <a:xfrm>
          <a:off x="0" y="0"/>
          <a:ext cx="0" cy="0"/>
          <a:chOff x="0" y="0"/>
          <a:chExt cx="0" cy="0"/>
        </a:xfrm>
      </p:grpSpPr>
      <p:sp>
        <p:nvSpPr>
          <p:cNvPr id="20" name="Rektangel 19"/>
          <p:cNvSpPr/>
          <p:nvPr userDrawn="1"/>
        </p:nvSpPr>
        <p:spPr>
          <a:xfrm>
            <a:off x="4572000" y="0"/>
            <a:ext cx="4572000" cy="5143500"/>
          </a:xfrm>
          <a:prstGeom prst="rect">
            <a:avLst/>
          </a:prstGeom>
          <a:solidFill>
            <a:schemeClr val="accent6"/>
          </a:solidFill>
          <a:ln>
            <a:noFill/>
          </a:ln>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sv-SE"/>
          </a:p>
        </p:txBody>
      </p:sp>
      <p:grpSp>
        <p:nvGrpSpPr>
          <p:cNvPr id="22" name="Grupp 21">
            <a:extLst>
              <a:ext uri="{FF2B5EF4-FFF2-40B4-BE49-F238E27FC236}">
                <a16:creationId xmlns:a16="http://schemas.microsoft.com/office/drawing/2014/main" id="{58A4F037-5372-4F50-AB2C-80E4F015FDE0}"/>
              </a:ext>
            </a:extLst>
          </p:cNvPr>
          <p:cNvGrpSpPr/>
          <p:nvPr userDrawn="1"/>
        </p:nvGrpSpPr>
        <p:grpSpPr>
          <a:xfrm>
            <a:off x="4099911" y="-1785593"/>
            <a:ext cx="8908892" cy="8714685"/>
            <a:chOff x="3589405" y="387640"/>
            <a:chExt cx="5873827" cy="5872463"/>
          </a:xfrm>
          <a:solidFill>
            <a:schemeClr val="bg1">
              <a:alpha val="10000"/>
            </a:schemeClr>
          </a:solidFill>
        </p:grpSpPr>
        <p:sp>
          <p:nvSpPr>
            <p:cNvPr id="23" name="Freeform 5">
              <a:extLst>
                <a:ext uri="{FF2B5EF4-FFF2-40B4-BE49-F238E27FC236}">
                  <a16:creationId xmlns:a16="http://schemas.microsoft.com/office/drawing/2014/main" id="{7C1D4E85-F2CE-4336-8CC8-25E235311297}"/>
                </a:ext>
              </a:extLst>
            </p:cNvPr>
            <p:cNvSpPr>
              <a:spLocks/>
            </p:cNvSpPr>
            <p:nvPr/>
          </p:nvSpPr>
          <p:spPr bwMode="auto">
            <a:xfrm>
              <a:off x="3871774" y="678194"/>
              <a:ext cx="1392749" cy="1400934"/>
            </a:xfrm>
            <a:custGeom>
              <a:avLst/>
              <a:gdLst>
                <a:gd name="T0" fmla="*/ 2096 w 2096"/>
                <a:gd name="T1" fmla="*/ 0 h 2108"/>
                <a:gd name="T2" fmla="*/ 877 w 2096"/>
                <a:gd name="T3" fmla="*/ 863 h 2108"/>
                <a:gd name="T4" fmla="*/ 0 w 2096"/>
                <a:gd name="T5" fmla="*/ 2108 h 2108"/>
                <a:gd name="T6" fmla="*/ 981 w 2096"/>
                <a:gd name="T7" fmla="*/ 948 h 2108"/>
                <a:gd name="T8" fmla="*/ 2096 w 2096"/>
                <a:gd name="T9" fmla="*/ 0 h 2108"/>
              </a:gdLst>
              <a:ahLst/>
              <a:cxnLst>
                <a:cxn ang="0">
                  <a:pos x="T0" y="T1"/>
                </a:cxn>
                <a:cxn ang="0">
                  <a:pos x="T2" y="T3"/>
                </a:cxn>
                <a:cxn ang="0">
                  <a:pos x="T4" y="T5"/>
                </a:cxn>
                <a:cxn ang="0">
                  <a:pos x="T6" y="T7"/>
                </a:cxn>
                <a:cxn ang="0">
                  <a:pos x="T8" y="T9"/>
                </a:cxn>
              </a:cxnLst>
              <a:rect l="0" t="0" r="r" b="b"/>
              <a:pathLst>
                <a:path w="2096" h="2108">
                  <a:moveTo>
                    <a:pt x="2096" y="0"/>
                  </a:moveTo>
                  <a:cubicBezTo>
                    <a:pt x="1655" y="211"/>
                    <a:pt x="1242" y="498"/>
                    <a:pt x="877" y="863"/>
                  </a:cubicBezTo>
                  <a:cubicBezTo>
                    <a:pt x="504" y="1235"/>
                    <a:pt x="213" y="1658"/>
                    <a:pt x="0" y="2108"/>
                  </a:cubicBezTo>
                  <a:cubicBezTo>
                    <a:pt x="254" y="1741"/>
                    <a:pt x="588" y="1343"/>
                    <a:pt x="981" y="948"/>
                  </a:cubicBezTo>
                  <a:cubicBezTo>
                    <a:pt x="1360" y="571"/>
                    <a:pt x="1741" y="249"/>
                    <a:pt x="209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4" name="Freeform 6">
              <a:extLst>
                <a:ext uri="{FF2B5EF4-FFF2-40B4-BE49-F238E27FC236}">
                  <a16:creationId xmlns:a16="http://schemas.microsoft.com/office/drawing/2014/main" id="{AAC8634F-3E34-4168-8D60-19B3A00C0D81}"/>
                </a:ext>
              </a:extLst>
            </p:cNvPr>
            <p:cNvSpPr>
              <a:spLocks/>
            </p:cNvSpPr>
            <p:nvPr/>
          </p:nvSpPr>
          <p:spPr bwMode="auto">
            <a:xfrm>
              <a:off x="3635784" y="435383"/>
              <a:ext cx="2381724" cy="2399457"/>
            </a:xfrm>
            <a:custGeom>
              <a:avLst/>
              <a:gdLst>
                <a:gd name="T0" fmla="*/ 446 w 3585"/>
                <a:gd name="T1" fmla="*/ 2866 h 3609"/>
                <a:gd name="T2" fmla="*/ 484 w 3585"/>
                <a:gd name="T3" fmla="*/ 2811 h 3609"/>
                <a:gd name="T4" fmla="*/ 1565 w 3585"/>
                <a:gd name="T5" fmla="*/ 1541 h 3609"/>
                <a:gd name="T6" fmla="*/ 2835 w 3585"/>
                <a:gd name="T7" fmla="*/ 460 h 3609"/>
                <a:gd name="T8" fmla="*/ 2891 w 3585"/>
                <a:gd name="T9" fmla="*/ 422 h 3609"/>
                <a:gd name="T10" fmla="*/ 2945 w 3585"/>
                <a:gd name="T11" fmla="*/ 385 h 3609"/>
                <a:gd name="T12" fmla="*/ 3585 w 3585"/>
                <a:gd name="T13" fmla="*/ 0 h 3609"/>
                <a:gd name="T14" fmla="*/ 3071 w 3585"/>
                <a:gd name="T15" fmla="*/ 123 h 3609"/>
                <a:gd name="T16" fmla="*/ 2863 w 3585"/>
                <a:gd name="T17" fmla="*/ 239 h 3609"/>
                <a:gd name="T18" fmla="*/ 2809 w 3585"/>
                <a:gd name="T19" fmla="*/ 272 h 3609"/>
                <a:gd name="T20" fmla="*/ 2752 w 3585"/>
                <a:gd name="T21" fmla="*/ 307 h 3609"/>
                <a:gd name="T22" fmla="*/ 1420 w 3585"/>
                <a:gd name="T23" fmla="*/ 1396 h 3609"/>
                <a:gd name="T24" fmla="*/ 331 w 3585"/>
                <a:gd name="T25" fmla="*/ 2728 h 3609"/>
                <a:gd name="T26" fmla="*/ 296 w 3585"/>
                <a:gd name="T27" fmla="*/ 2785 h 3609"/>
                <a:gd name="T28" fmla="*/ 263 w 3585"/>
                <a:gd name="T29" fmla="*/ 2839 h 3609"/>
                <a:gd name="T30" fmla="*/ 113 w 3585"/>
                <a:gd name="T31" fmla="*/ 3114 h 3609"/>
                <a:gd name="T32" fmla="*/ 0 w 3585"/>
                <a:gd name="T33" fmla="*/ 3609 h 3609"/>
                <a:gd name="T34" fmla="*/ 408 w 3585"/>
                <a:gd name="T35" fmla="*/ 2921 h 3609"/>
                <a:gd name="T36" fmla="*/ 446 w 3585"/>
                <a:gd name="T37" fmla="*/ 2866 h 3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85" h="3609">
                  <a:moveTo>
                    <a:pt x="446" y="2866"/>
                  </a:moveTo>
                  <a:cubicBezTo>
                    <a:pt x="459" y="2848"/>
                    <a:pt x="471" y="2830"/>
                    <a:pt x="484" y="2811"/>
                  </a:cubicBezTo>
                  <a:cubicBezTo>
                    <a:pt x="775" y="2399"/>
                    <a:pt x="1141" y="1966"/>
                    <a:pt x="1565" y="1541"/>
                  </a:cubicBezTo>
                  <a:cubicBezTo>
                    <a:pt x="1990" y="1117"/>
                    <a:pt x="2423" y="751"/>
                    <a:pt x="2835" y="460"/>
                  </a:cubicBezTo>
                  <a:cubicBezTo>
                    <a:pt x="2854" y="447"/>
                    <a:pt x="2872" y="435"/>
                    <a:pt x="2891" y="422"/>
                  </a:cubicBezTo>
                  <a:cubicBezTo>
                    <a:pt x="2909" y="409"/>
                    <a:pt x="2927" y="397"/>
                    <a:pt x="2945" y="385"/>
                  </a:cubicBezTo>
                  <a:cubicBezTo>
                    <a:pt x="3167" y="233"/>
                    <a:pt x="3382" y="104"/>
                    <a:pt x="3585" y="0"/>
                  </a:cubicBezTo>
                  <a:cubicBezTo>
                    <a:pt x="3412" y="31"/>
                    <a:pt x="3240" y="72"/>
                    <a:pt x="3071" y="123"/>
                  </a:cubicBezTo>
                  <a:cubicBezTo>
                    <a:pt x="3004" y="158"/>
                    <a:pt x="2935" y="196"/>
                    <a:pt x="2863" y="239"/>
                  </a:cubicBezTo>
                  <a:cubicBezTo>
                    <a:pt x="2845" y="249"/>
                    <a:pt x="2827" y="261"/>
                    <a:pt x="2809" y="272"/>
                  </a:cubicBezTo>
                  <a:cubicBezTo>
                    <a:pt x="2790" y="284"/>
                    <a:pt x="2771" y="294"/>
                    <a:pt x="2752" y="307"/>
                  </a:cubicBezTo>
                  <a:cubicBezTo>
                    <a:pt x="2343" y="565"/>
                    <a:pt x="1875" y="939"/>
                    <a:pt x="1420" y="1396"/>
                  </a:cubicBezTo>
                  <a:cubicBezTo>
                    <a:pt x="963" y="1851"/>
                    <a:pt x="589" y="2319"/>
                    <a:pt x="331" y="2728"/>
                  </a:cubicBezTo>
                  <a:cubicBezTo>
                    <a:pt x="318" y="2747"/>
                    <a:pt x="308" y="2766"/>
                    <a:pt x="296" y="2785"/>
                  </a:cubicBezTo>
                  <a:cubicBezTo>
                    <a:pt x="285" y="2803"/>
                    <a:pt x="273" y="2821"/>
                    <a:pt x="263" y="2839"/>
                  </a:cubicBezTo>
                  <a:cubicBezTo>
                    <a:pt x="205" y="2935"/>
                    <a:pt x="156" y="3027"/>
                    <a:pt x="113" y="3114"/>
                  </a:cubicBezTo>
                  <a:cubicBezTo>
                    <a:pt x="65" y="3277"/>
                    <a:pt x="28" y="3443"/>
                    <a:pt x="0" y="3609"/>
                  </a:cubicBezTo>
                  <a:cubicBezTo>
                    <a:pt x="107" y="3392"/>
                    <a:pt x="245" y="3161"/>
                    <a:pt x="408" y="2921"/>
                  </a:cubicBezTo>
                  <a:cubicBezTo>
                    <a:pt x="421" y="2903"/>
                    <a:pt x="433" y="2885"/>
                    <a:pt x="446" y="28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5" name="Freeform 7">
              <a:extLst>
                <a:ext uri="{FF2B5EF4-FFF2-40B4-BE49-F238E27FC236}">
                  <a16:creationId xmlns:a16="http://schemas.microsoft.com/office/drawing/2014/main" id="{1044E1AF-5D57-4C57-A718-661729CA160C}"/>
                </a:ext>
              </a:extLst>
            </p:cNvPr>
            <p:cNvSpPr>
              <a:spLocks/>
            </p:cNvSpPr>
            <p:nvPr/>
          </p:nvSpPr>
          <p:spPr bwMode="auto">
            <a:xfrm>
              <a:off x="3589405" y="387640"/>
              <a:ext cx="3051498" cy="3077416"/>
            </a:xfrm>
            <a:custGeom>
              <a:avLst/>
              <a:gdLst>
                <a:gd name="T0" fmla="*/ 267 w 4592"/>
                <a:gd name="T1" fmla="*/ 4024 h 4629"/>
                <a:gd name="T2" fmla="*/ 1026 w 4592"/>
                <a:gd name="T3" fmla="*/ 2858 h 4629"/>
                <a:gd name="T4" fmla="*/ 1121 w 4592"/>
                <a:gd name="T5" fmla="*/ 2738 h 4629"/>
                <a:gd name="T6" fmla="*/ 1236 w 4592"/>
                <a:gd name="T7" fmla="*/ 2597 h 4629"/>
                <a:gd name="T8" fmla="*/ 1896 w 4592"/>
                <a:gd name="T9" fmla="*/ 1875 h 4629"/>
                <a:gd name="T10" fmla="*/ 2618 w 4592"/>
                <a:gd name="T11" fmla="*/ 1215 h 4629"/>
                <a:gd name="T12" fmla="*/ 2759 w 4592"/>
                <a:gd name="T13" fmla="*/ 1101 h 4629"/>
                <a:gd name="T14" fmla="*/ 2878 w 4592"/>
                <a:gd name="T15" fmla="*/ 1006 h 4629"/>
                <a:gd name="T16" fmla="*/ 4045 w 4592"/>
                <a:gd name="T17" fmla="*/ 246 h 4629"/>
                <a:gd name="T18" fmla="*/ 4104 w 4592"/>
                <a:gd name="T19" fmla="*/ 217 h 4629"/>
                <a:gd name="T20" fmla="*/ 4159 w 4592"/>
                <a:gd name="T21" fmla="*/ 189 h 4629"/>
                <a:gd name="T22" fmla="*/ 4592 w 4592"/>
                <a:gd name="T23" fmla="*/ 6 h 4629"/>
                <a:gd name="T24" fmla="*/ 4098 w 4592"/>
                <a:gd name="T25" fmla="*/ 16 h 4629"/>
                <a:gd name="T26" fmla="*/ 4059 w 4592"/>
                <a:gd name="T27" fmla="*/ 19 h 4629"/>
                <a:gd name="T28" fmla="*/ 4034 w 4592"/>
                <a:gd name="T29" fmla="*/ 29 h 4629"/>
                <a:gd name="T30" fmla="*/ 3987 w 4592"/>
                <a:gd name="T31" fmla="*/ 49 h 4629"/>
                <a:gd name="T32" fmla="*/ 3976 w 4592"/>
                <a:gd name="T33" fmla="*/ 53 h 4629"/>
                <a:gd name="T34" fmla="*/ 3018 w 4592"/>
                <a:gd name="T35" fmla="*/ 598 h 4629"/>
                <a:gd name="T36" fmla="*/ 2950 w 4592"/>
                <a:gd name="T37" fmla="*/ 644 h 4629"/>
                <a:gd name="T38" fmla="*/ 2877 w 4592"/>
                <a:gd name="T39" fmla="*/ 698 h 4629"/>
                <a:gd name="T40" fmla="*/ 1717 w 4592"/>
                <a:gd name="T41" fmla="*/ 1696 h 4629"/>
                <a:gd name="T42" fmla="*/ 718 w 4592"/>
                <a:gd name="T43" fmla="*/ 2856 h 4629"/>
                <a:gd name="T44" fmla="*/ 665 w 4592"/>
                <a:gd name="T45" fmla="*/ 2929 h 4629"/>
                <a:gd name="T46" fmla="*/ 618 w 4592"/>
                <a:gd name="T47" fmla="*/ 2997 h 4629"/>
                <a:gd name="T48" fmla="*/ 74 w 4592"/>
                <a:gd name="T49" fmla="*/ 3955 h 4629"/>
                <a:gd name="T50" fmla="*/ 50 w 4592"/>
                <a:gd name="T51" fmla="*/ 4013 h 4629"/>
                <a:gd name="T52" fmla="*/ 28 w 4592"/>
                <a:gd name="T53" fmla="*/ 4070 h 4629"/>
                <a:gd name="T54" fmla="*/ 17 w 4592"/>
                <a:gd name="T55" fmla="*/ 4101 h 4629"/>
                <a:gd name="T56" fmla="*/ 8 w 4592"/>
                <a:gd name="T57" fmla="*/ 4629 h 4629"/>
                <a:gd name="T58" fmla="*/ 210 w 4592"/>
                <a:gd name="T59" fmla="*/ 4138 h 4629"/>
                <a:gd name="T60" fmla="*/ 238 w 4592"/>
                <a:gd name="T61" fmla="*/ 4083 h 4629"/>
                <a:gd name="T62" fmla="*/ 267 w 4592"/>
                <a:gd name="T63" fmla="*/ 4024 h 4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92" h="4629">
                  <a:moveTo>
                    <a:pt x="267" y="4024"/>
                  </a:moveTo>
                  <a:cubicBezTo>
                    <a:pt x="457" y="3655"/>
                    <a:pt x="713" y="3259"/>
                    <a:pt x="1026" y="2858"/>
                  </a:cubicBezTo>
                  <a:cubicBezTo>
                    <a:pt x="1057" y="2818"/>
                    <a:pt x="1089" y="2778"/>
                    <a:pt x="1121" y="2738"/>
                  </a:cubicBezTo>
                  <a:cubicBezTo>
                    <a:pt x="1159" y="2691"/>
                    <a:pt x="1197" y="2644"/>
                    <a:pt x="1236" y="2597"/>
                  </a:cubicBezTo>
                  <a:cubicBezTo>
                    <a:pt x="1437" y="2356"/>
                    <a:pt x="1658" y="2114"/>
                    <a:pt x="1896" y="1875"/>
                  </a:cubicBezTo>
                  <a:cubicBezTo>
                    <a:pt x="2134" y="1637"/>
                    <a:pt x="2376" y="1417"/>
                    <a:pt x="2618" y="1215"/>
                  </a:cubicBezTo>
                  <a:cubicBezTo>
                    <a:pt x="2665" y="1176"/>
                    <a:pt x="2712" y="1138"/>
                    <a:pt x="2759" y="1101"/>
                  </a:cubicBezTo>
                  <a:cubicBezTo>
                    <a:pt x="2799" y="1068"/>
                    <a:pt x="2839" y="1037"/>
                    <a:pt x="2878" y="1006"/>
                  </a:cubicBezTo>
                  <a:cubicBezTo>
                    <a:pt x="3280" y="693"/>
                    <a:pt x="3675" y="437"/>
                    <a:pt x="4045" y="246"/>
                  </a:cubicBezTo>
                  <a:cubicBezTo>
                    <a:pt x="4065" y="236"/>
                    <a:pt x="4084" y="226"/>
                    <a:pt x="4104" y="217"/>
                  </a:cubicBezTo>
                  <a:cubicBezTo>
                    <a:pt x="4122" y="208"/>
                    <a:pt x="4141" y="198"/>
                    <a:pt x="4159" y="189"/>
                  </a:cubicBezTo>
                  <a:cubicBezTo>
                    <a:pt x="4309" y="116"/>
                    <a:pt x="4453" y="55"/>
                    <a:pt x="4592" y="6"/>
                  </a:cubicBezTo>
                  <a:cubicBezTo>
                    <a:pt x="4427" y="0"/>
                    <a:pt x="4262" y="3"/>
                    <a:pt x="4098" y="16"/>
                  </a:cubicBezTo>
                  <a:cubicBezTo>
                    <a:pt x="4085" y="17"/>
                    <a:pt x="4072" y="18"/>
                    <a:pt x="4059" y="19"/>
                  </a:cubicBezTo>
                  <a:cubicBezTo>
                    <a:pt x="4051" y="22"/>
                    <a:pt x="4043" y="26"/>
                    <a:pt x="4034" y="29"/>
                  </a:cubicBezTo>
                  <a:cubicBezTo>
                    <a:pt x="4019" y="35"/>
                    <a:pt x="4003" y="42"/>
                    <a:pt x="3987" y="49"/>
                  </a:cubicBezTo>
                  <a:cubicBezTo>
                    <a:pt x="3983" y="50"/>
                    <a:pt x="3980" y="51"/>
                    <a:pt x="3976" y="53"/>
                  </a:cubicBezTo>
                  <a:cubicBezTo>
                    <a:pt x="3689" y="174"/>
                    <a:pt x="3362" y="358"/>
                    <a:pt x="3018" y="598"/>
                  </a:cubicBezTo>
                  <a:cubicBezTo>
                    <a:pt x="2995" y="613"/>
                    <a:pt x="2973" y="628"/>
                    <a:pt x="2950" y="644"/>
                  </a:cubicBezTo>
                  <a:cubicBezTo>
                    <a:pt x="2926" y="661"/>
                    <a:pt x="2902" y="680"/>
                    <a:pt x="2877" y="698"/>
                  </a:cubicBezTo>
                  <a:cubicBezTo>
                    <a:pt x="2499" y="973"/>
                    <a:pt x="2103" y="1309"/>
                    <a:pt x="1717" y="1696"/>
                  </a:cubicBezTo>
                  <a:cubicBezTo>
                    <a:pt x="1330" y="2082"/>
                    <a:pt x="994" y="2478"/>
                    <a:pt x="718" y="2856"/>
                  </a:cubicBezTo>
                  <a:cubicBezTo>
                    <a:pt x="701" y="2881"/>
                    <a:pt x="682" y="2905"/>
                    <a:pt x="665" y="2929"/>
                  </a:cubicBezTo>
                  <a:cubicBezTo>
                    <a:pt x="649" y="2952"/>
                    <a:pt x="634" y="2974"/>
                    <a:pt x="618" y="2997"/>
                  </a:cubicBezTo>
                  <a:cubicBezTo>
                    <a:pt x="379" y="3341"/>
                    <a:pt x="195" y="3668"/>
                    <a:pt x="74" y="3955"/>
                  </a:cubicBezTo>
                  <a:cubicBezTo>
                    <a:pt x="66" y="3975"/>
                    <a:pt x="57" y="3994"/>
                    <a:pt x="50" y="4013"/>
                  </a:cubicBezTo>
                  <a:cubicBezTo>
                    <a:pt x="42" y="4032"/>
                    <a:pt x="35" y="4051"/>
                    <a:pt x="28" y="4070"/>
                  </a:cubicBezTo>
                  <a:cubicBezTo>
                    <a:pt x="24" y="4080"/>
                    <a:pt x="21" y="4090"/>
                    <a:pt x="17" y="4101"/>
                  </a:cubicBezTo>
                  <a:cubicBezTo>
                    <a:pt x="4" y="4276"/>
                    <a:pt x="0" y="4452"/>
                    <a:pt x="8" y="4629"/>
                  </a:cubicBezTo>
                  <a:cubicBezTo>
                    <a:pt x="60" y="4472"/>
                    <a:pt x="127" y="4309"/>
                    <a:pt x="210" y="4138"/>
                  </a:cubicBezTo>
                  <a:cubicBezTo>
                    <a:pt x="219" y="4120"/>
                    <a:pt x="228" y="4101"/>
                    <a:pt x="238" y="4083"/>
                  </a:cubicBezTo>
                  <a:cubicBezTo>
                    <a:pt x="247" y="4063"/>
                    <a:pt x="257" y="4044"/>
                    <a:pt x="267" y="40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6" name="Freeform 8">
              <a:extLst>
                <a:ext uri="{FF2B5EF4-FFF2-40B4-BE49-F238E27FC236}">
                  <a16:creationId xmlns:a16="http://schemas.microsoft.com/office/drawing/2014/main" id="{3377C1A4-0564-4448-BF92-C18ABDBCE824}"/>
                </a:ext>
              </a:extLst>
            </p:cNvPr>
            <p:cNvSpPr>
              <a:spLocks/>
            </p:cNvSpPr>
            <p:nvPr/>
          </p:nvSpPr>
          <p:spPr bwMode="auto">
            <a:xfrm>
              <a:off x="3736728" y="524050"/>
              <a:ext cx="4067755" cy="4096401"/>
            </a:xfrm>
            <a:custGeom>
              <a:avLst/>
              <a:gdLst>
                <a:gd name="T0" fmla="*/ 711 w 6120"/>
                <a:gd name="T1" fmla="*/ 4802 h 6162"/>
                <a:gd name="T2" fmla="*/ 755 w 6120"/>
                <a:gd name="T3" fmla="*/ 4721 h 6162"/>
                <a:gd name="T4" fmla="*/ 2492 w 6120"/>
                <a:gd name="T5" fmla="*/ 2487 h 6162"/>
                <a:gd name="T6" fmla="*/ 4726 w 6120"/>
                <a:gd name="T7" fmla="*/ 750 h 6162"/>
                <a:gd name="T8" fmla="*/ 4807 w 6120"/>
                <a:gd name="T9" fmla="*/ 706 h 6162"/>
                <a:gd name="T10" fmla="*/ 4883 w 6120"/>
                <a:gd name="T11" fmla="*/ 666 h 6162"/>
                <a:gd name="T12" fmla="*/ 5747 w 6120"/>
                <a:gd name="T13" fmla="*/ 308 h 6162"/>
                <a:gd name="T14" fmla="*/ 5804 w 6120"/>
                <a:gd name="T15" fmla="*/ 292 h 6162"/>
                <a:gd name="T16" fmla="*/ 5862 w 6120"/>
                <a:gd name="T17" fmla="*/ 276 h 6162"/>
                <a:gd name="T18" fmla="*/ 6120 w 6120"/>
                <a:gd name="T19" fmla="*/ 226 h 6162"/>
                <a:gd name="T20" fmla="*/ 5817 w 6120"/>
                <a:gd name="T21" fmla="*/ 96 h 6162"/>
                <a:gd name="T22" fmla="*/ 5740 w 6120"/>
                <a:gd name="T23" fmla="*/ 67 h 6162"/>
                <a:gd name="T24" fmla="*/ 5659 w 6120"/>
                <a:gd name="T25" fmla="*/ 37 h 6162"/>
                <a:gd name="T26" fmla="*/ 5541 w 6120"/>
                <a:gd name="T27" fmla="*/ 0 h 6162"/>
                <a:gd name="T28" fmla="*/ 4988 w 6120"/>
                <a:gd name="T29" fmla="*/ 131 h 6162"/>
                <a:gd name="T30" fmla="*/ 4928 w 6120"/>
                <a:gd name="T31" fmla="*/ 153 h 6162"/>
                <a:gd name="T32" fmla="*/ 4868 w 6120"/>
                <a:gd name="T33" fmla="*/ 175 h 6162"/>
                <a:gd name="T34" fmla="*/ 3700 w 6120"/>
                <a:gd name="T35" fmla="*/ 791 h 6162"/>
                <a:gd name="T36" fmla="*/ 3593 w 6120"/>
                <a:gd name="T37" fmla="*/ 862 h 6162"/>
                <a:gd name="T38" fmla="*/ 3473 w 6120"/>
                <a:gd name="T39" fmla="*/ 946 h 6162"/>
                <a:gd name="T40" fmla="*/ 2108 w 6120"/>
                <a:gd name="T41" fmla="*/ 2103 h 6162"/>
                <a:gd name="T42" fmla="*/ 951 w 6120"/>
                <a:gd name="T43" fmla="*/ 3469 h 6162"/>
                <a:gd name="T44" fmla="*/ 866 w 6120"/>
                <a:gd name="T45" fmla="*/ 3588 h 6162"/>
                <a:gd name="T46" fmla="*/ 796 w 6120"/>
                <a:gd name="T47" fmla="*/ 3695 h 6162"/>
                <a:gd name="T48" fmla="*/ 180 w 6120"/>
                <a:gd name="T49" fmla="*/ 4863 h 6162"/>
                <a:gd name="T50" fmla="*/ 157 w 6120"/>
                <a:gd name="T51" fmla="*/ 4924 h 6162"/>
                <a:gd name="T52" fmla="*/ 136 w 6120"/>
                <a:gd name="T53" fmla="*/ 4983 h 6162"/>
                <a:gd name="T54" fmla="*/ 0 w 6120"/>
                <a:gd name="T55" fmla="*/ 5601 h 6162"/>
                <a:gd name="T56" fmla="*/ 9 w 6120"/>
                <a:gd name="T57" fmla="*/ 5631 h 6162"/>
                <a:gd name="T58" fmla="*/ 39 w 6120"/>
                <a:gd name="T59" fmla="*/ 5719 h 6162"/>
                <a:gd name="T60" fmla="*/ 69 w 6120"/>
                <a:gd name="T61" fmla="*/ 5799 h 6162"/>
                <a:gd name="T62" fmla="*/ 225 w 6120"/>
                <a:gd name="T63" fmla="*/ 6162 h 6162"/>
                <a:gd name="T64" fmla="*/ 282 w 6120"/>
                <a:gd name="T65" fmla="*/ 5857 h 6162"/>
                <a:gd name="T66" fmla="*/ 297 w 6120"/>
                <a:gd name="T67" fmla="*/ 5799 h 6162"/>
                <a:gd name="T68" fmla="*/ 313 w 6120"/>
                <a:gd name="T69" fmla="*/ 5742 h 6162"/>
                <a:gd name="T70" fmla="*/ 671 w 6120"/>
                <a:gd name="T71" fmla="*/ 4877 h 6162"/>
                <a:gd name="T72" fmla="*/ 711 w 6120"/>
                <a:gd name="T73" fmla="*/ 4802 h 6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20" h="6162">
                  <a:moveTo>
                    <a:pt x="711" y="4802"/>
                  </a:moveTo>
                  <a:cubicBezTo>
                    <a:pt x="726" y="4775"/>
                    <a:pt x="740" y="4748"/>
                    <a:pt x="755" y="4721"/>
                  </a:cubicBezTo>
                  <a:cubicBezTo>
                    <a:pt x="1151" y="4012"/>
                    <a:pt x="1746" y="3234"/>
                    <a:pt x="2492" y="2487"/>
                  </a:cubicBezTo>
                  <a:cubicBezTo>
                    <a:pt x="3239" y="1741"/>
                    <a:pt x="4017" y="1146"/>
                    <a:pt x="4726" y="750"/>
                  </a:cubicBezTo>
                  <a:cubicBezTo>
                    <a:pt x="4753" y="735"/>
                    <a:pt x="4780" y="721"/>
                    <a:pt x="4807" y="706"/>
                  </a:cubicBezTo>
                  <a:cubicBezTo>
                    <a:pt x="4832" y="693"/>
                    <a:pt x="4857" y="679"/>
                    <a:pt x="4883" y="666"/>
                  </a:cubicBezTo>
                  <a:cubicBezTo>
                    <a:pt x="5189" y="506"/>
                    <a:pt x="5480" y="385"/>
                    <a:pt x="5747" y="308"/>
                  </a:cubicBezTo>
                  <a:cubicBezTo>
                    <a:pt x="5766" y="302"/>
                    <a:pt x="5785" y="297"/>
                    <a:pt x="5804" y="292"/>
                  </a:cubicBezTo>
                  <a:cubicBezTo>
                    <a:pt x="5824" y="286"/>
                    <a:pt x="5843" y="281"/>
                    <a:pt x="5862" y="276"/>
                  </a:cubicBezTo>
                  <a:cubicBezTo>
                    <a:pt x="5951" y="254"/>
                    <a:pt x="6037" y="238"/>
                    <a:pt x="6120" y="226"/>
                  </a:cubicBezTo>
                  <a:cubicBezTo>
                    <a:pt x="6020" y="179"/>
                    <a:pt x="5919" y="136"/>
                    <a:pt x="5817" y="96"/>
                  </a:cubicBezTo>
                  <a:cubicBezTo>
                    <a:pt x="5791" y="86"/>
                    <a:pt x="5766" y="76"/>
                    <a:pt x="5740" y="67"/>
                  </a:cubicBezTo>
                  <a:cubicBezTo>
                    <a:pt x="5713" y="57"/>
                    <a:pt x="5686" y="47"/>
                    <a:pt x="5659" y="37"/>
                  </a:cubicBezTo>
                  <a:cubicBezTo>
                    <a:pt x="5620" y="24"/>
                    <a:pt x="5580" y="12"/>
                    <a:pt x="5541" y="0"/>
                  </a:cubicBezTo>
                  <a:cubicBezTo>
                    <a:pt x="5373" y="19"/>
                    <a:pt x="5187" y="62"/>
                    <a:pt x="4988" y="131"/>
                  </a:cubicBezTo>
                  <a:cubicBezTo>
                    <a:pt x="4969" y="137"/>
                    <a:pt x="4948" y="145"/>
                    <a:pt x="4928" y="153"/>
                  </a:cubicBezTo>
                  <a:cubicBezTo>
                    <a:pt x="4909" y="160"/>
                    <a:pt x="4888" y="168"/>
                    <a:pt x="4868" y="175"/>
                  </a:cubicBezTo>
                  <a:cubicBezTo>
                    <a:pt x="4509" y="311"/>
                    <a:pt x="4113" y="520"/>
                    <a:pt x="3700" y="791"/>
                  </a:cubicBezTo>
                  <a:cubicBezTo>
                    <a:pt x="3665" y="815"/>
                    <a:pt x="3629" y="837"/>
                    <a:pt x="3593" y="862"/>
                  </a:cubicBezTo>
                  <a:cubicBezTo>
                    <a:pt x="3554" y="889"/>
                    <a:pt x="3513" y="918"/>
                    <a:pt x="3473" y="946"/>
                  </a:cubicBezTo>
                  <a:cubicBezTo>
                    <a:pt x="3022" y="1264"/>
                    <a:pt x="2557" y="1653"/>
                    <a:pt x="2108" y="2103"/>
                  </a:cubicBezTo>
                  <a:cubicBezTo>
                    <a:pt x="1657" y="2553"/>
                    <a:pt x="1269" y="3017"/>
                    <a:pt x="951" y="3469"/>
                  </a:cubicBezTo>
                  <a:cubicBezTo>
                    <a:pt x="922" y="3509"/>
                    <a:pt x="893" y="3549"/>
                    <a:pt x="866" y="3588"/>
                  </a:cubicBezTo>
                  <a:cubicBezTo>
                    <a:pt x="842" y="3624"/>
                    <a:pt x="819" y="3660"/>
                    <a:pt x="796" y="3695"/>
                  </a:cubicBezTo>
                  <a:cubicBezTo>
                    <a:pt x="525" y="4108"/>
                    <a:pt x="316" y="4504"/>
                    <a:pt x="180" y="4863"/>
                  </a:cubicBezTo>
                  <a:cubicBezTo>
                    <a:pt x="173" y="4883"/>
                    <a:pt x="165" y="4904"/>
                    <a:pt x="157" y="4924"/>
                  </a:cubicBezTo>
                  <a:cubicBezTo>
                    <a:pt x="150" y="4943"/>
                    <a:pt x="142" y="4964"/>
                    <a:pt x="136" y="4983"/>
                  </a:cubicBezTo>
                  <a:cubicBezTo>
                    <a:pt x="58" y="5209"/>
                    <a:pt x="13" y="5416"/>
                    <a:pt x="0" y="5601"/>
                  </a:cubicBezTo>
                  <a:cubicBezTo>
                    <a:pt x="3" y="5611"/>
                    <a:pt x="6" y="5621"/>
                    <a:pt x="9" y="5631"/>
                  </a:cubicBezTo>
                  <a:cubicBezTo>
                    <a:pt x="19" y="5660"/>
                    <a:pt x="29" y="5690"/>
                    <a:pt x="39" y="5719"/>
                  </a:cubicBezTo>
                  <a:cubicBezTo>
                    <a:pt x="49" y="5746"/>
                    <a:pt x="59" y="5772"/>
                    <a:pt x="69" y="5799"/>
                  </a:cubicBezTo>
                  <a:cubicBezTo>
                    <a:pt x="116" y="5922"/>
                    <a:pt x="168" y="6043"/>
                    <a:pt x="225" y="6162"/>
                  </a:cubicBezTo>
                  <a:cubicBezTo>
                    <a:pt x="236" y="6065"/>
                    <a:pt x="255" y="5963"/>
                    <a:pt x="282" y="5857"/>
                  </a:cubicBezTo>
                  <a:cubicBezTo>
                    <a:pt x="286" y="5838"/>
                    <a:pt x="291" y="5819"/>
                    <a:pt x="297" y="5799"/>
                  </a:cubicBezTo>
                  <a:cubicBezTo>
                    <a:pt x="302" y="5780"/>
                    <a:pt x="307" y="5761"/>
                    <a:pt x="313" y="5742"/>
                  </a:cubicBezTo>
                  <a:cubicBezTo>
                    <a:pt x="390" y="5475"/>
                    <a:pt x="511" y="5184"/>
                    <a:pt x="671" y="4877"/>
                  </a:cubicBezTo>
                  <a:cubicBezTo>
                    <a:pt x="684" y="4852"/>
                    <a:pt x="698" y="4827"/>
                    <a:pt x="711" y="48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7" name="Freeform 9">
              <a:extLst>
                <a:ext uri="{FF2B5EF4-FFF2-40B4-BE49-F238E27FC236}">
                  <a16:creationId xmlns:a16="http://schemas.microsoft.com/office/drawing/2014/main" id="{6EC9FAE3-1492-416A-BCFC-66F77187622F}"/>
                </a:ext>
              </a:extLst>
            </p:cNvPr>
            <p:cNvSpPr>
              <a:spLocks/>
            </p:cNvSpPr>
            <p:nvPr/>
          </p:nvSpPr>
          <p:spPr bwMode="auto">
            <a:xfrm>
              <a:off x="4160964" y="945558"/>
              <a:ext cx="4516544" cy="4545190"/>
            </a:xfrm>
            <a:custGeom>
              <a:avLst/>
              <a:gdLst>
                <a:gd name="T0" fmla="*/ 6710 w 6796"/>
                <a:gd name="T1" fmla="*/ 461 h 6838"/>
                <a:gd name="T2" fmla="*/ 6619 w 6796"/>
                <a:gd name="T3" fmla="*/ 375 h 6838"/>
                <a:gd name="T4" fmla="*/ 6553 w 6796"/>
                <a:gd name="T5" fmla="*/ 312 h 6838"/>
                <a:gd name="T6" fmla="*/ 6484 w 6796"/>
                <a:gd name="T7" fmla="*/ 252 h 6838"/>
                <a:gd name="T8" fmla="*/ 6170 w 6796"/>
                <a:gd name="T9" fmla="*/ 1 h 6838"/>
                <a:gd name="T10" fmla="*/ 6125 w 6796"/>
                <a:gd name="T11" fmla="*/ 0 h 6838"/>
                <a:gd name="T12" fmla="*/ 5991 w 6796"/>
                <a:gd name="T13" fmla="*/ 6 h 6838"/>
                <a:gd name="T14" fmla="*/ 5933 w 6796"/>
                <a:gd name="T15" fmla="*/ 11 h 6838"/>
                <a:gd name="T16" fmla="*/ 5874 w 6796"/>
                <a:gd name="T17" fmla="*/ 18 h 6838"/>
                <a:gd name="T18" fmla="*/ 5184 w 6796"/>
                <a:gd name="T19" fmla="*/ 205 h 6838"/>
                <a:gd name="T20" fmla="*/ 5119 w 6796"/>
                <a:gd name="T21" fmla="*/ 231 h 6838"/>
                <a:gd name="T22" fmla="*/ 5050 w 6796"/>
                <a:gd name="T23" fmla="*/ 259 h 6838"/>
                <a:gd name="T24" fmla="*/ 3758 w 6796"/>
                <a:gd name="T25" fmla="*/ 987 h 6838"/>
                <a:gd name="T26" fmla="*/ 3625 w 6796"/>
                <a:gd name="T27" fmla="*/ 1081 h 6838"/>
                <a:gd name="T28" fmla="*/ 3479 w 6796"/>
                <a:gd name="T29" fmla="*/ 1189 h 6838"/>
                <a:gd name="T30" fmla="*/ 2254 w 6796"/>
                <a:gd name="T31" fmla="*/ 2254 h 6838"/>
                <a:gd name="T32" fmla="*/ 1188 w 6796"/>
                <a:gd name="T33" fmla="*/ 3479 h 6838"/>
                <a:gd name="T34" fmla="*/ 1081 w 6796"/>
                <a:gd name="T35" fmla="*/ 3626 h 6838"/>
                <a:gd name="T36" fmla="*/ 987 w 6796"/>
                <a:gd name="T37" fmla="*/ 3758 h 6838"/>
                <a:gd name="T38" fmla="*/ 259 w 6796"/>
                <a:gd name="T39" fmla="*/ 5050 h 6838"/>
                <a:gd name="T40" fmla="*/ 231 w 6796"/>
                <a:gd name="T41" fmla="*/ 5119 h 6838"/>
                <a:gd name="T42" fmla="*/ 205 w 6796"/>
                <a:gd name="T43" fmla="*/ 5184 h 6838"/>
                <a:gd name="T44" fmla="*/ 18 w 6796"/>
                <a:gd name="T45" fmla="*/ 5874 h 6838"/>
                <a:gd name="T46" fmla="*/ 11 w 6796"/>
                <a:gd name="T47" fmla="*/ 5933 h 6838"/>
                <a:gd name="T48" fmla="*/ 6 w 6796"/>
                <a:gd name="T49" fmla="*/ 5991 h 6838"/>
                <a:gd name="T50" fmla="*/ 0 w 6796"/>
                <a:gd name="T51" fmla="*/ 6125 h 6838"/>
                <a:gd name="T52" fmla="*/ 3 w 6796"/>
                <a:gd name="T53" fmla="*/ 6220 h 6838"/>
                <a:gd name="T54" fmla="*/ 208 w 6796"/>
                <a:gd name="T55" fmla="*/ 6475 h 6838"/>
                <a:gd name="T56" fmla="*/ 270 w 6796"/>
                <a:gd name="T57" fmla="*/ 6547 h 6838"/>
                <a:gd name="T58" fmla="*/ 332 w 6796"/>
                <a:gd name="T59" fmla="*/ 6615 h 6838"/>
                <a:gd name="T60" fmla="*/ 442 w 6796"/>
                <a:gd name="T61" fmla="*/ 6729 h 6838"/>
                <a:gd name="T62" fmla="*/ 556 w 6796"/>
                <a:gd name="T63" fmla="*/ 6838 h 6838"/>
                <a:gd name="T64" fmla="*/ 548 w 6796"/>
                <a:gd name="T65" fmla="*/ 6702 h 6838"/>
                <a:gd name="T66" fmla="*/ 551 w 6796"/>
                <a:gd name="T67" fmla="*/ 6619 h 6838"/>
                <a:gd name="T68" fmla="*/ 556 w 6796"/>
                <a:gd name="T69" fmla="*/ 6560 h 6838"/>
                <a:gd name="T70" fmla="*/ 561 w 6796"/>
                <a:gd name="T71" fmla="*/ 6501 h 6838"/>
                <a:gd name="T72" fmla="*/ 700 w 6796"/>
                <a:gd name="T73" fmla="*/ 5918 h 6838"/>
                <a:gd name="T74" fmla="*/ 724 w 6796"/>
                <a:gd name="T75" fmla="*/ 5852 h 6838"/>
                <a:gd name="T76" fmla="*/ 750 w 6796"/>
                <a:gd name="T77" fmla="*/ 5782 h 6838"/>
                <a:gd name="T78" fmla="*/ 1285 w 6796"/>
                <a:gd name="T79" fmla="*/ 4735 h 6838"/>
                <a:gd name="T80" fmla="*/ 1353 w 6796"/>
                <a:gd name="T81" fmla="*/ 4628 h 6838"/>
                <a:gd name="T82" fmla="*/ 1430 w 6796"/>
                <a:gd name="T83" fmla="*/ 4511 h 6838"/>
                <a:gd name="T84" fmla="*/ 2828 w 6796"/>
                <a:gd name="T85" fmla="*/ 2828 h 6838"/>
                <a:gd name="T86" fmla="*/ 4511 w 6796"/>
                <a:gd name="T87" fmla="*/ 1430 h 6838"/>
                <a:gd name="T88" fmla="*/ 4627 w 6796"/>
                <a:gd name="T89" fmla="*/ 1354 h 6838"/>
                <a:gd name="T90" fmla="*/ 4735 w 6796"/>
                <a:gd name="T91" fmla="*/ 1285 h 6838"/>
                <a:gd name="T92" fmla="*/ 5781 w 6796"/>
                <a:gd name="T93" fmla="*/ 750 h 6838"/>
                <a:gd name="T94" fmla="*/ 5851 w 6796"/>
                <a:gd name="T95" fmla="*/ 724 h 6838"/>
                <a:gd name="T96" fmla="*/ 5918 w 6796"/>
                <a:gd name="T97" fmla="*/ 700 h 6838"/>
                <a:gd name="T98" fmla="*/ 6501 w 6796"/>
                <a:gd name="T99" fmla="*/ 561 h 6838"/>
                <a:gd name="T100" fmla="*/ 6560 w 6796"/>
                <a:gd name="T101" fmla="*/ 556 h 6838"/>
                <a:gd name="T102" fmla="*/ 6620 w 6796"/>
                <a:gd name="T103" fmla="*/ 551 h 6838"/>
                <a:gd name="T104" fmla="*/ 6702 w 6796"/>
                <a:gd name="T105" fmla="*/ 548 h 6838"/>
                <a:gd name="T106" fmla="*/ 6796 w 6796"/>
                <a:gd name="T107" fmla="*/ 552 h 6838"/>
                <a:gd name="T108" fmla="*/ 6710 w 6796"/>
                <a:gd name="T109" fmla="*/ 461 h 6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796" h="6838">
                  <a:moveTo>
                    <a:pt x="6710" y="461"/>
                  </a:moveTo>
                  <a:cubicBezTo>
                    <a:pt x="6680" y="431"/>
                    <a:pt x="6649" y="403"/>
                    <a:pt x="6619" y="375"/>
                  </a:cubicBezTo>
                  <a:cubicBezTo>
                    <a:pt x="6597" y="354"/>
                    <a:pt x="6575" y="332"/>
                    <a:pt x="6553" y="312"/>
                  </a:cubicBezTo>
                  <a:cubicBezTo>
                    <a:pt x="6530" y="291"/>
                    <a:pt x="6507" y="272"/>
                    <a:pt x="6484" y="252"/>
                  </a:cubicBezTo>
                  <a:cubicBezTo>
                    <a:pt x="6382" y="163"/>
                    <a:pt x="6278" y="79"/>
                    <a:pt x="6170" y="1"/>
                  </a:cubicBezTo>
                  <a:cubicBezTo>
                    <a:pt x="6155" y="1"/>
                    <a:pt x="6140" y="0"/>
                    <a:pt x="6125" y="0"/>
                  </a:cubicBezTo>
                  <a:cubicBezTo>
                    <a:pt x="6082" y="0"/>
                    <a:pt x="6037" y="2"/>
                    <a:pt x="5991" y="6"/>
                  </a:cubicBezTo>
                  <a:cubicBezTo>
                    <a:pt x="5972" y="7"/>
                    <a:pt x="5953" y="9"/>
                    <a:pt x="5933" y="11"/>
                  </a:cubicBezTo>
                  <a:cubicBezTo>
                    <a:pt x="5914" y="13"/>
                    <a:pt x="5894" y="15"/>
                    <a:pt x="5874" y="18"/>
                  </a:cubicBezTo>
                  <a:cubicBezTo>
                    <a:pt x="5664" y="47"/>
                    <a:pt x="5432" y="110"/>
                    <a:pt x="5184" y="205"/>
                  </a:cubicBezTo>
                  <a:cubicBezTo>
                    <a:pt x="5162" y="214"/>
                    <a:pt x="5141" y="222"/>
                    <a:pt x="5119" y="231"/>
                  </a:cubicBezTo>
                  <a:cubicBezTo>
                    <a:pt x="5096" y="240"/>
                    <a:pt x="5073" y="249"/>
                    <a:pt x="5050" y="259"/>
                  </a:cubicBezTo>
                  <a:cubicBezTo>
                    <a:pt x="4649" y="427"/>
                    <a:pt x="4210" y="673"/>
                    <a:pt x="3758" y="987"/>
                  </a:cubicBezTo>
                  <a:cubicBezTo>
                    <a:pt x="3714" y="1018"/>
                    <a:pt x="3670" y="1049"/>
                    <a:pt x="3625" y="1081"/>
                  </a:cubicBezTo>
                  <a:cubicBezTo>
                    <a:pt x="3576" y="1116"/>
                    <a:pt x="3528" y="1152"/>
                    <a:pt x="3479" y="1189"/>
                  </a:cubicBezTo>
                  <a:cubicBezTo>
                    <a:pt x="3071" y="1494"/>
                    <a:pt x="2657" y="1851"/>
                    <a:pt x="2254" y="2254"/>
                  </a:cubicBezTo>
                  <a:cubicBezTo>
                    <a:pt x="1851" y="2657"/>
                    <a:pt x="1494" y="3071"/>
                    <a:pt x="1188" y="3479"/>
                  </a:cubicBezTo>
                  <a:cubicBezTo>
                    <a:pt x="1151" y="3528"/>
                    <a:pt x="1116" y="3577"/>
                    <a:pt x="1081" y="3626"/>
                  </a:cubicBezTo>
                  <a:cubicBezTo>
                    <a:pt x="1049" y="3670"/>
                    <a:pt x="1017" y="3714"/>
                    <a:pt x="987" y="3758"/>
                  </a:cubicBezTo>
                  <a:cubicBezTo>
                    <a:pt x="673" y="4210"/>
                    <a:pt x="427" y="4649"/>
                    <a:pt x="259" y="5050"/>
                  </a:cubicBezTo>
                  <a:cubicBezTo>
                    <a:pt x="249" y="5073"/>
                    <a:pt x="240" y="5096"/>
                    <a:pt x="231" y="5119"/>
                  </a:cubicBezTo>
                  <a:cubicBezTo>
                    <a:pt x="222" y="5141"/>
                    <a:pt x="214" y="5162"/>
                    <a:pt x="205" y="5184"/>
                  </a:cubicBezTo>
                  <a:cubicBezTo>
                    <a:pt x="110" y="5432"/>
                    <a:pt x="47" y="5665"/>
                    <a:pt x="18" y="5874"/>
                  </a:cubicBezTo>
                  <a:cubicBezTo>
                    <a:pt x="15" y="5894"/>
                    <a:pt x="13" y="5914"/>
                    <a:pt x="11" y="5933"/>
                  </a:cubicBezTo>
                  <a:cubicBezTo>
                    <a:pt x="8" y="5953"/>
                    <a:pt x="7" y="5972"/>
                    <a:pt x="6" y="5991"/>
                  </a:cubicBezTo>
                  <a:cubicBezTo>
                    <a:pt x="2" y="6037"/>
                    <a:pt x="0" y="6082"/>
                    <a:pt x="0" y="6125"/>
                  </a:cubicBezTo>
                  <a:cubicBezTo>
                    <a:pt x="0" y="6157"/>
                    <a:pt x="1" y="6189"/>
                    <a:pt x="3" y="6220"/>
                  </a:cubicBezTo>
                  <a:cubicBezTo>
                    <a:pt x="67" y="6307"/>
                    <a:pt x="136" y="6392"/>
                    <a:pt x="208" y="6475"/>
                  </a:cubicBezTo>
                  <a:cubicBezTo>
                    <a:pt x="228" y="6499"/>
                    <a:pt x="249" y="6524"/>
                    <a:pt x="270" y="6547"/>
                  </a:cubicBezTo>
                  <a:cubicBezTo>
                    <a:pt x="290" y="6570"/>
                    <a:pt x="312" y="6592"/>
                    <a:pt x="332" y="6615"/>
                  </a:cubicBezTo>
                  <a:cubicBezTo>
                    <a:pt x="368" y="6653"/>
                    <a:pt x="404" y="6692"/>
                    <a:pt x="442" y="6729"/>
                  </a:cubicBezTo>
                  <a:cubicBezTo>
                    <a:pt x="479" y="6767"/>
                    <a:pt x="517" y="6802"/>
                    <a:pt x="556" y="6838"/>
                  </a:cubicBezTo>
                  <a:cubicBezTo>
                    <a:pt x="551" y="6794"/>
                    <a:pt x="548" y="6749"/>
                    <a:pt x="548" y="6702"/>
                  </a:cubicBezTo>
                  <a:cubicBezTo>
                    <a:pt x="548" y="6675"/>
                    <a:pt x="550" y="6647"/>
                    <a:pt x="551" y="6619"/>
                  </a:cubicBezTo>
                  <a:cubicBezTo>
                    <a:pt x="552" y="6600"/>
                    <a:pt x="554" y="6580"/>
                    <a:pt x="556" y="6560"/>
                  </a:cubicBezTo>
                  <a:cubicBezTo>
                    <a:pt x="557" y="6541"/>
                    <a:pt x="559" y="6521"/>
                    <a:pt x="561" y="6501"/>
                  </a:cubicBezTo>
                  <a:cubicBezTo>
                    <a:pt x="582" y="6322"/>
                    <a:pt x="629" y="6126"/>
                    <a:pt x="700" y="5918"/>
                  </a:cubicBezTo>
                  <a:cubicBezTo>
                    <a:pt x="708" y="5896"/>
                    <a:pt x="716" y="5874"/>
                    <a:pt x="724" y="5852"/>
                  </a:cubicBezTo>
                  <a:cubicBezTo>
                    <a:pt x="733" y="5828"/>
                    <a:pt x="741" y="5805"/>
                    <a:pt x="750" y="5782"/>
                  </a:cubicBezTo>
                  <a:cubicBezTo>
                    <a:pt x="875" y="5455"/>
                    <a:pt x="1056" y="5102"/>
                    <a:pt x="1285" y="4735"/>
                  </a:cubicBezTo>
                  <a:cubicBezTo>
                    <a:pt x="1308" y="4699"/>
                    <a:pt x="1330" y="4664"/>
                    <a:pt x="1353" y="4628"/>
                  </a:cubicBezTo>
                  <a:cubicBezTo>
                    <a:pt x="1378" y="4589"/>
                    <a:pt x="1404" y="4550"/>
                    <a:pt x="1430" y="4511"/>
                  </a:cubicBezTo>
                  <a:cubicBezTo>
                    <a:pt x="1799" y="3961"/>
                    <a:pt x="2271" y="3385"/>
                    <a:pt x="2828" y="2828"/>
                  </a:cubicBezTo>
                  <a:cubicBezTo>
                    <a:pt x="3385" y="2271"/>
                    <a:pt x="3960" y="1799"/>
                    <a:pt x="4511" y="1430"/>
                  </a:cubicBezTo>
                  <a:cubicBezTo>
                    <a:pt x="4550" y="1404"/>
                    <a:pt x="4589" y="1379"/>
                    <a:pt x="4627" y="1354"/>
                  </a:cubicBezTo>
                  <a:cubicBezTo>
                    <a:pt x="4663" y="1330"/>
                    <a:pt x="4699" y="1308"/>
                    <a:pt x="4735" y="1285"/>
                  </a:cubicBezTo>
                  <a:cubicBezTo>
                    <a:pt x="5102" y="1056"/>
                    <a:pt x="5455" y="875"/>
                    <a:pt x="5781" y="750"/>
                  </a:cubicBezTo>
                  <a:cubicBezTo>
                    <a:pt x="5805" y="741"/>
                    <a:pt x="5828" y="733"/>
                    <a:pt x="5851" y="724"/>
                  </a:cubicBezTo>
                  <a:cubicBezTo>
                    <a:pt x="5874" y="716"/>
                    <a:pt x="5896" y="708"/>
                    <a:pt x="5918" y="700"/>
                  </a:cubicBezTo>
                  <a:cubicBezTo>
                    <a:pt x="6126" y="629"/>
                    <a:pt x="6322" y="582"/>
                    <a:pt x="6501" y="561"/>
                  </a:cubicBezTo>
                  <a:cubicBezTo>
                    <a:pt x="6521" y="559"/>
                    <a:pt x="6541" y="557"/>
                    <a:pt x="6560" y="556"/>
                  </a:cubicBezTo>
                  <a:cubicBezTo>
                    <a:pt x="6580" y="554"/>
                    <a:pt x="6600" y="552"/>
                    <a:pt x="6620" y="551"/>
                  </a:cubicBezTo>
                  <a:cubicBezTo>
                    <a:pt x="6647" y="550"/>
                    <a:pt x="6675" y="549"/>
                    <a:pt x="6702" y="548"/>
                  </a:cubicBezTo>
                  <a:cubicBezTo>
                    <a:pt x="6734" y="548"/>
                    <a:pt x="6765" y="550"/>
                    <a:pt x="6796" y="552"/>
                  </a:cubicBezTo>
                  <a:cubicBezTo>
                    <a:pt x="6767" y="521"/>
                    <a:pt x="6739" y="491"/>
                    <a:pt x="6710" y="4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8" name="Freeform 10">
              <a:extLst>
                <a:ext uri="{FF2B5EF4-FFF2-40B4-BE49-F238E27FC236}">
                  <a16:creationId xmlns:a16="http://schemas.microsoft.com/office/drawing/2014/main" id="{54CE5925-9480-4C02-A7F9-3B31E37C904C}"/>
                </a:ext>
              </a:extLst>
            </p:cNvPr>
            <p:cNvSpPr>
              <a:spLocks/>
            </p:cNvSpPr>
            <p:nvPr/>
          </p:nvSpPr>
          <p:spPr bwMode="auto">
            <a:xfrm>
              <a:off x="3956348" y="740943"/>
              <a:ext cx="4194616" cy="4225990"/>
            </a:xfrm>
            <a:custGeom>
              <a:avLst/>
              <a:gdLst>
                <a:gd name="T0" fmla="*/ 1126 w 6312"/>
                <a:gd name="T1" fmla="*/ 4101 h 6355"/>
                <a:gd name="T2" fmla="*/ 1212 w 6312"/>
                <a:gd name="T3" fmla="*/ 3976 h 6355"/>
                <a:gd name="T4" fmla="*/ 2479 w 6312"/>
                <a:gd name="T5" fmla="*/ 2477 h 6355"/>
                <a:gd name="T6" fmla="*/ 3978 w 6312"/>
                <a:gd name="T7" fmla="*/ 1210 h 6355"/>
                <a:gd name="T8" fmla="*/ 4103 w 6312"/>
                <a:gd name="T9" fmla="*/ 1124 h 6355"/>
                <a:gd name="T10" fmla="*/ 4216 w 6312"/>
                <a:gd name="T11" fmla="*/ 1049 h 6355"/>
                <a:gd name="T12" fmla="*/ 5392 w 6312"/>
                <a:gd name="T13" fmla="*/ 423 h 6355"/>
                <a:gd name="T14" fmla="*/ 5456 w 6312"/>
                <a:gd name="T15" fmla="*/ 399 h 6355"/>
                <a:gd name="T16" fmla="*/ 5518 w 6312"/>
                <a:gd name="T17" fmla="*/ 376 h 6355"/>
                <a:gd name="T18" fmla="*/ 6164 w 6312"/>
                <a:gd name="T19" fmla="*/ 208 h 6355"/>
                <a:gd name="T20" fmla="*/ 6222 w 6312"/>
                <a:gd name="T21" fmla="*/ 201 h 6355"/>
                <a:gd name="T22" fmla="*/ 6281 w 6312"/>
                <a:gd name="T23" fmla="*/ 195 h 6355"/>
                <a:gd name="T24" fmla="*/ 6312 w 6312"/>
                <a:gd name="T25" fmla="*/ 193 h 6355"/>
                <a:gd name="T26" fmla="*/ 6276 w 6312"/>
                <a:gd name="T27" fmla="*/ 170 h 6355"/>
                <a:gd name="T28" fmla="*/ 6203 w 6312"/>
                <a:gd name="T29" fmla="*/ 124 h 6355"/>
                <a:gd name="T30" fmla="*/ 6122 w 6312"/>
                <a:gd name="T31" fmla="*/ 74 h 6355"/>
                <a:gd name="T32" fmla="*/ 5988 w 6312"/>
                <a:gd name="T33" fmla="*/ 0 h 6355"/>
                <a:gd name="T34" fmla="*/ 5542 w 6312"/>
                <a:gd name="T35" fmla="*/ 68 h 6355"/>
                <a:gd name="T36" fmla="*/ 5484 w 6312"/>
                <a:gd name="T37" fmla="*/ 83 h 6355"/>
                <a:gd name="T38" fmla="*/ 5425 w 6312"/>
                <a:gd name="T39" fmla="*/ 101 h 6355"/>
                <a:gd name="T40" fmla="*/ 4488 w 6312"/>
                <a:gd name="T41" fmla="*/ 508 h 6355"/>
                <a:gd name="T42" fmla="*/ 4405 w 6312"/>
                <a:gd name="T43" fmla="*/ 555 h 6355"/>
                <a:gd name="T44" fmla="*/ 4316 w 6312"/>
                <a:gd name="T45" fmla="*/ 606 h 6355"/>
                <a:gd name="T46" fmla="*/ 2245 w 6312"/>
                <a:gd name="T47" fmla="*/ 2243 h 6355"/>
                <a:gd name="T48" fmla="*/ 608 w 6312"/>
                <a:gd name="T49" fmla="*/ 4314 h 6355"/>
                <a:gd name="T50" fmla="*/ 557 w 6312"/>
                <a:gd name="T51" fmla="*/ 4404 h 6355"/>
                <a:gd name="T52" fmla="*/ 510 w 6312"/>
                <a:gd name="T53" fmla="*/ 4486 h 6355"/>
                <a:gd name="T54" fmla="*/ 103 w 6312"/>
                <a:gd name="T55" fmla="*/ 5423 h 6355"/>
                <a:gd name="T56" fmla="*/ 85 w 6312"/>
                <a:gd name="T57" fmla="*/ 5482 h 6355"/>
                <a:gd name="T58" fmla="*/ 70 w 6312"/>
                <a:gd name="T59" fmla="*/ 5540 h 6355"/>
                <a:gd name="T60" fmla="*/ 1 w 6312"/>
                <a:gd name="T61" fmla="*/ 6034 h 6355"/>
                <a:gd name="T62" fmla="*/ 1 w 6312"/>
                <a:gd name="T63" fmla="*/ 6039 h 6355"/>
                <a:gd name="T64" fmla="*/ 36 w 6312"/>
                <a:gd name="T65" fmla="*/ 6102 h 6355"/>
                <a:gd name="T66" fmla="*/ 85 w 6312"/>
                <a:gd name="T67" fmla="*/ 6186 h 6355"/>
                <a:gd name="T68" fmla="*/ 134 w 6312"/>
                <a:gd name="T69" fmla="*/ 6264 h 6355"/>
                <a:gd name="T70" fmla="*/ 192 w 6312"/>
                <a:gd name="T71" fmla="*/ 6355 h 6355"/>
                <a:gd name="T72" fmla="*/ 197 w 6312"/>
                <a:gd name="T73" fmla="*/ 6279 h 6355"/>
                <a:gd name="T74" fmla="*/ 203 w 6312"/>
                <a:gd name="T75" fmla="*/ 6220 h 6355"/>
                <a:gd name="T76" fmla="*/ 210 w 6312"/>
                <a:gd name="T77" fmla="*/ 6162 h 6355"/>
                <a:gd name="T78" fmla="*/ 378 w 6312"/>
                <a:gd name="T79" fmla="*/ 5516 h 6355"/>
                <a:gd name="T80" fmla="*/ 400 w 6312"/>
                <a:gd name="T81" fmla="*/ 5454 h 6355"/>
                <a:gd name="T82" fmla="*/ 425 w 6312"/>
                <a:gd name="T83" fmla="*/ 5390 h 6355"/>
                <a:gd name="T84" fmla="*/ 1050 w 6312"/>
                <a:gd name="T85" fmla="*/ 4214 h 6355"/>
                <a:gd name="T86" fmla="*/ 1126 w 6312"/>
                <a:gd name="T87" fmla="*/ 4101 h 6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2" h="6355">
                  <a:moveTo>
                    <a:pt x="1126" y="4101"/>
                  </a:moveTo>
                  <a:cubicBezTo>
                    <a:pt x="1154" y="4060"/>
                    <a:pt x="1183" y="4018"/>
                    <a:pt x="1212" y="3976"/>
                  </a:cubicBezTo>
                  <a:cubicBezTo>
                    <a:pt x="1559" y="3480"/>
                    <a:pt x="1986" y="2971"/>
                    <a:pt x="2479" y="2477"/>
                  </a:cubicBezTo>
                  <a:cubicBezTo>
                    <a:pt x="2973" y="1984"/>
                    <a:pt x="3482" y="1557"/>
                    <a:pt x="3978" y="1210"/>
                  </a:cubicBezTo>
                  <a:cubicBezTo>
                    <a:pt x="4020" y="1181"/>
                    <a:pt x="4061" y="1152"/>
                    <a:pt x="4103" y="1124"/>
                  </a:cubicBezTo>
                  <a:cubicBezTo>
                    <a:pt x="4141" y="1098"/>
                    <a:pt x="4179" y="1073"/>
                    <a:pt x="4216" y="1049"/>
                  </a:cubicBezTo>
                  <a:cubicBezTo>
                    <a:pt x="4626" y="780"/>
                    <a:pt x="5024" y="569"/>
                    <a:pt x="5392" y="423"/>
                  </a:cubicBezTo>
                  <a:cubicBezTo>
                    <a:pt x="5414" y="415"/>
                    <a:pt x="5435" y="407"/>
                    <a:pt x="5456" y="399"/>
                  </a:cubicBezTo>
                  <a:cubicBezTo>
                    <a:pt x="5477" y="391"/>
                    <a:pt x="5498" y="383"/>
                    <a:pt x="5518" y="376"/>
                  </a:cubicBezTo>
                  <a:cubicBezTo>
                    <a:pt x="5747" y="293"/>
                    <a:pt x="5964" y="236"/>
                    <a:pt x="6164" y="208"/>
                  </a:cubicBezTo>
                  <a:cubicBezTo>
                    <a:pt x="6183" y="206"/>
                    <a:pt x="6203" y="203"/>
                    <a:pt x="6222" y="201"/>
                  </a:cubicBezTo>
                  <a:cubicBezTo>
                    <a:pt x="6242" y="199"/>
                    <a:pt x="6262" y="197"/>
                    <a:pt x="6281" y="195"/>
                  </a:cubicBezTo>
                  <a:cubicBezTo>
                    <a:pt x="6292" y="194"/>
                    <a:pt x="6302" y="193"/>
                    <a:pt x="6312" y="193"/>
                  </a:cubicBezTo>
                  <a:cubicBezTo>
                    <a:pt x="6300" y="185"/>
                    <a:pt x="6288" y="178"/>
                    <a:pt x="6276" y="170"/>
                  </a:cubicBezTo>
                  <a:cubicBezTo>
                    <a:pt x="6252" y="155"/>
                    <a:pt x="6228" y="139"/>
                    <a:pt x="6203" y="124"/>
                  </a:cubicBezTo>
                  <a:cubicBezTo>
                    <a:pt x="6176" y="108"/>
                    <a:pt x="6149" y="90"/>
                    <a:pt x="6122" y="74"/>
                  </a:cubicBezTo>
                  <a:cubicBezTo>
                    <a:pt x="6077" y="49"/>
                    <a:pt x="6032" y="24"/>
                    <a:pt x="5988" y="0"/>
                  </a:cubicBezTo>
                  <a:cubicBezTo>
                    <a:pt x="5852" y="4"/>
                    <a:pt x="5703" y="27"/>
                    <a:pt x="5542" y="68"/>
                  </a:cubicBezTo>
                  <a:cubicBezTo>
                    <a:pt x="5523" y="73"/>
                    <a:pt x="5503" y="78"/>
                    <a:pt x="5484" y="83"/>
                  </a:cubicBezTo>
                  <a:cubicBezTo>
                    <a:pt x="5464" y="89"/>
                    <a:pt x="5445" y="95"/>
                    <a:pt x="5425" y="101"/>
                  </a:cubicBezTo>
                  <a:cubicBezTo>
                    <a:pt x="5140" y="186"/>
                    <a:pt x="4823" y="324"/>
                    <a:pt x="4488" y="508"/>
                  </a:cubicBezTo>
                  <a:cubicBezTo>
                    <a:pt x="4461" y="523"/>
                    <a:pt x="4433" y="539"/>
                    <a:pt x="4405" y="555"/>
                  </a:cubicBezTo>
                  <a:cubicBezTo>
                    <a:pt x="4376" y="572"/>
                    <a:pt x="4346" y="588"/>
                    <a:pt x="4316" y="606"/>
                  </a:cubicBezTo>
                  <a:cubicBezTo>
                    <a:pt x="3656" y="993"/>
                    <a:pt x="2935" y="1552"/>
                    <a:pt x="2245" y="2243"/>
                  </a:cubicBezTo>
                  <a:cubicBezTo>
                    <a:pt x="1554" y="2933"/>
                    <a:pt x="995" y="3654"/>
                    <a:pt x="608" y="4314"/>
                  </a:cubicBezTo>
                  <a:cubicBezTo>
                    <a:pt x="590" y="4344"/>
                    <a:pt x="573" y="4374"/>
                    <a:pt x="557" y="4404"/>
                  </a:cubicBezTo>
                  <a:cubicBezTo>
                    <a:pt x="541" y="4431"/>
                    <a:pt x="525" y="4459"/>
                    <a:pt x="510" y="4486"/>
                  </a:cubicBezTo>
                  <a:cubicBezTo>
                    <a:pt x="326" y="4822"/>
                    <a:pt x="188" y="5138"/>
                    <a:pt x="103" y="5423"/>
                  </a:cubicBezTo>
                  <a:cubicBezTo>
                    <a:pt x="97" y="5443"/>
                    <a:pt x="91" y="5462"/>
                    <a:pt x="85" y="5482"/>
                  </a:cubicBezTo>
                  <a:cubicBezTo>
                    <a:pt x="80" y="5501"/>
                    <a:pt x="75" y="5521"/>
                    <a:pt x="70" y="5540"/>
                  </a:cubicBezTo>
                  <a:cubicBezTo>
                    <a:pt x="24" y="5720"/>
                    <a:pt x="0" y="5886"/>
                    <a:pt x="1" y="6034"/>
                  </a:cubicBezTo>
                  <a:cubicBezTo>
                    <a:pt x="1" y="6035"/>
                    <a:pt x="1" y="6037"/>
                    <a:pt x="1" y="6039"/>
                  </a:cubicBezTo>
                  <a:cubicBezTo>
                    <a:pt x="12" y="6060"/>
                    <a:pt x="24" y="6081"/>
                    <a:pt x="36" y="6102"/>
                  </a:cubicBezTo>
                  <a:cubicBezTo>
                    <a:pt x="52" y="6130"/>
                    <a:pt x="68" y="6158"/>
                    <a:pt x="85" y="6186"/>
                  </a:cubicBezTo>
                  <a:cubicBezTo>
                    <a:pt x="101" y="6212"/>
                    <a:pt x="117" y="6238"/>
                    <a:pt x="134" y="6264"/>
                  </a:cubicBezTo>
                  <a:cubicBezTo>
                    <a:pt x="153" y="6294"/>
                    <a:pt x="172" y="6325"/>
                    <a:pt x="192" y="6355"/>
                  </a:cubicBezTo>
                  <a:cubicBezTo>
                    <a:pt x="193" y="6330"/>
                    <a:pt x="195" y="6305"/>
                    <a:pt x="197" y="6279"/>
                  </a:cubicBezTo>
                  <a:cubicBezTo>
                    <a:pt x="199" y="6260"/>
                    <a:pt x="201" y="6240"/>
                    <a:pt x="203" y="6220"/>
                  </a:cubicBezTo>
                  <a:cubicBezTo>
                    <a:pt x="205" y="6201"/>
                    <a:pt x="208" y="6181"/>
                    <a:pt x="210" y="6162"/>
                  </a:cubicBezTo>
                  <a:cubicBezTo>
                    <a:pt x="238" y="5962"/>
                    <a:pt x="295" y="5745"/>
                    <a:pt x="378" y="5516"/>
                  </a:cubicBezTo>
                  <a:cubicBezTo>
                    <a:pt x="385" y="5496"/>
                    <a:pt x="392" y="5475"/>
                    <a:pt x="400" y="5454"/>
                  </a:cubicBezTo>
                  <a:cubicBezTo>
                    <a:pt x="408" y="5433"/>
                    <a:pt x="417" y="5412"/>
                    <a:pt x="425" y="5390"/>
                  </a:cubicBezTo>
                  <a:cubicBezTo>
                    <a:pt x="571" y="5022"/>
                    <a:pt x="782" y="4624"/>
                    <a:pt x="1050" y="4214"/>
                  </a:cubicBezTo>
                  <a:cubicBezTo>
                    <a:pt x="1075" y="4177"/>
                    <a:pt x="1100" y="4139"/>
                    <a:pt x="1126" y="410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9" name="Freeform 11">
              <a:extLst>
                <a:ext uri="{FF2B5EF4-FFF2-40B4-BE49-F238E27FC236}">
                  <a16:creationId xmlns:a16="http://schemas.microsoft.com/office/drawing/2014/main" id="{9BF6A145-B04A-4D96-B42A-F9F9564194A0}"/>
                </a:ext>
              </a:extLst>
            </p:cNvPr>
            <p:cNvSpPr>
              <a:spLocks/>
            </p:cNvSpPr>
            <p:nvPr/>
          </p:nvSpPr>
          <p:spPr bwMode="auto">
            <a:xfrm>
              <a:off x="4604297" y="1387527"/>
              <a:ext cx="4412873" cy="4441519"/>
            </a:xfrm>
            <a:custGeom>
              <a:avLst/>
              <a:gdLst>
                <a:gd name="T0" fmla="*/ 4682 w 6640"/>
                <a:gd name="T1" fmla="*/ 1069 h 6679"/>
                <a:gd name="T2" fmla="*/ 4782 w 6640"/>
                <a:gd name="T3" fmla="*/ 1013 h 6679"/>
                <a:gd name="T4" fmla="*/ 4876 w 6640"/>
                <a:gd name="T5" fmla="*/ 962 h 6679"/>
                <a:gd name="T6" fmla="*/ 5665 w 6640"/>
                <a:gd name="T7" fmla="*/ 626 h 6679"/>
                <a:gd name="T8" fmla="*/ 5735 w 6640"/>
                <a:gd name="T9" fmla="*/ 605 h 6679"/>
                <a:gd name="T10" fmla="*/ 5804 w 6640"/>
                <a:gd name="T11" fmla="*/ 586 h 6679"/>
                <a:gd name="T12" fmla="*/ 6300 w 6640"/>
                <a:gd name="T13" fmla="*/ 507 h 6679"/>
                <a:gd name="T14" fmla="*/ 6355 w 6640"/>
                <a:gd name="T15" fmla="*/ 505 h 6679"/>
                <a:gd name="T16" fmla="*/ 6360 w 6640"/>
                <a:gd name="T17" fmla="*/ 505 h 6679"/>
                <a:gd name="T18" fmla="*/ 6419 w 6640"/>
                <a:gd name="T19" fmla="*/ 507 h 6679"/>
                <a:gd name="T20" fmla="*/ 6640 w 6640"/>
                <a:gd name="T21" fmla="*/ 536 h 6679"/>
                <a:gd name="T22" fmla="*/ 6443 w 6640"/>
                <a:gd name="T23" fmla="*/ 254 h 6679"/>
                <a:gd name="T24" fmla="*/ 6385 w 6640"/>
                <a:gd name="T25" fmla="*/ 179 h 6679"/>
                <a:gd name="T26" fmla="*/ 6323 w 6640"/>
                <a:gd name="T27" fmla="*/ 102 h 6679"/>
                <a:gd name="T28" fmla="*/ 6253 w 6640"/>
                <a:gd name="T29" fmla="*/ 21 h 6679"/>
                <a:gd name="T30" fmla="*/ 6036 w 6640"/>
                <a:gd name="T31" fmla="*/ 1 h 6679"/>
                <a:gd name="T32" fmla="*/ 5943 w 6640"/>
                <a:gd name="T33" fmla="*/ 3 h 6679"/>
                <a:gd name="T34" fmla="*/ 5884 w 6640"/>
                <a:gd name="T35" fmla="*/ 8 h 6679"/>
                <a:gd name="T36" fmla="*/ 5824 w 6640"/>
                <a:gd name="T37" fmla="*/ 15 h 6679"/>
                <a:gd name="T38" fmla="*/ 5212 w 6640"/>
                <a:gd name="T39" fmla="*/ 174 h 6679"/>
                <a:gd name="T40" fmla="*/ 5142 w 6640"/>
                <a:gd name="T41" fmla="*/ 200 h 6679"/>
                <a:gd name="T42" fmla="*/ 5070 w 6640"/>
                <a:gd name="T43" fmla="*/ 229 h 6679"/>
                <a:gd name="T44" fmla="*/ 3933 w 6640"/>
                <a:gd name="T45" fmla="*/ 848 h 6679"/>
                <a:gd name="T46" fmla="*/ 3812 w 6640"/>
                <a:gd name="T47" fmla="*/ 929 h 6679"/>
                <a:gd name="T48" fmla="*/ 3679 w 6640"/>
                <a:gd name="T49" fmla="*/ 1023 h 6679"/>
                <a:gd name="T50" fmla="*/ 2245 w 6640"/>
                <a:gd name="T51" fmla="*/ 2245 h 6679"/>
                <a:gd name="T52" fmla="*/ 1023 w 6640"/>
                <a:gd name="T53" fmla="*/ 3679 h 6679"/>
                <a:gd name="T54" fmla="*/ 929 w 6640"/>
                <a:gd name="T55" fmla="*/ 3812 h 6679"/>
                <a:gd name="T56" fmla="*/ 848 w 6640"/>
                <a:gd name="T57" fmla="*/ 3933 h 6679"/>
                <a:gd name="T58" fmla="*/ 229 w 6640"/>
                <a:gd name="T59" fmla="*/ 5070 h 6679"/>
                <a:gd name="T60" fmla="*/ 200 w 6640"/>
                <a:gd name="T61" fmla="*/ 5142 h 6679"/>
                <a:gd name="T62" fmla="*/ 174 w 6640"/>
                <a:gd name="T63" fmla="*/ 5212 h 6679"/>
                <a:gd name="T64" fmla="*/ 15 w 6640"/>
                <a:gd name="T65" fmla="*/ 5824 h 6679"/>
                <a:gd name="T66" fmla="*/ 8 w 6640"/>
                <a:gd name="T67" fmla="*/ 5884 h 6679"/>
                <a:gd name="T68" fmla="*/ 3 w 6640"/>
                <a:gd name="T69" fmla="*/ 5943 h 6679"/>
                <a:gd name="T70" fmla="*/ 1 w 6640"/>
                <a:gd name="T71" fmla="*/ 6036 h 6679"/>
                <a:gd name="T72" fmla="*/ 30 w 6640"/>
                <a:gd name="T73" fmla="*/ 6297 h 6679"/>
                <a:gd name="T74" fmla="*/ 54 w 6640"/>
                <a:gd name="T75" fmla="*/ 6318 h 6679"/>
                <a:gd name="T76" fmla="*/ 132 w 6640"/>
                <a:gd name="T77" fmla="*/ 6383 h 6679"/>
                <a:gd name="T78" fmla="*/ 211 w 6640"/>
                <a:gd name="T79" fmla="*/ 6444 h 6679"/>
                <a:gd name="T80" fmla="*/ 547 w 6640"/>
                <a:gd name="T81" fmla="*/ 6679 h 6679"/>
                <a:gd name="T82" fmla="*/ 507 w 6640"/>
                <a:gd name="T83" fmla="*/ 6419 h 6679"/>
                <a:gd name="T84" fmla="*/ 505 w 6640"/>
                <a:gd name="T85" fmla="*/ 6360 h 6679"/>
                <a:gd name="T86" fmla="*/ 505 w 6640"/>
                <a:gd name="T87" fmla="*/ 6356 h 6679"/>
                <a:gd name="T88" fmla="*/ 507 w 6640"/>
                <a:gd name="T89" fmla="*/ 6300 h 6679"/>
                <a:gd name="T90" fmla="*/ 586 w 6640"/>
                <a:gd name="T91" fmla="*/ 5804 h 6679"/>
                <a:gd name="T92" fmla="*/ 605 w 6640"/>
                <a:gd name="T93" fmla="*/ 5735 h 6679"/>
                <a:gd name="T94" fmla="*/ 626 w 6640"/>
                <a:gd name="T95" fmla="*/ 5665 h 6679"/>
                <a:gd name="T96" fmla="*/ 962 w 6640"/>
                <a:gd name="T97" fmla="*/ 4876 h 6679"/>
                <a:gd name="T98" fmla="*/ 1013 w 6640"/>
                <a:gd name="T99" fmla="*/ 4781 h 6679"/>
                <a:gd name="T100" fmla="*/ 1069 w 6640"/>
                <a:gd name="T101" fmla="*/ 4682 h 6679"/>
                <a:gd name="T102" fmla="*/ 2654 w 6640"/>
                <a:gd name="T103" fmla="*/ 2654 h 6679"/>
                <a:gd name="T104" fmla="*/ 4682 w 6640"/>
                <a:gd name="T105" fmla="*/ 1069 h 6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640" h="6679">
                  <a:moveTo>
                    <a:pt x="4682" y="1069"/>
                  </a:moveTo>
                  <a:cubicBezTo>
                    <a:pt x="4715" y="1050"/>
                    <a:pt x="4748" y="1031"/>
                    <a:pt x="4782" y="1013"/>
                  </a:cubicBezTo>
                  <a:cubicBezTo>
                    <a:pt x="4813" y="996"/>
                    <a:pt x="4845" y="979"/>
                    <a:pt x="4876" y="962"/>
                  </a:cubicBezTo>
                  <a:cubicBezTo>
                    <a:pt x="5153" y="816"/>
                    <a:pt x="5418" y="703"/>
                    <a:pt x="5665" y="626"/>
                  </a:cubicBezTo>
                  <a:cubicBezTo>
                    <a:pt x="5688" y="619"/>
                    <a:pt x="5712" y="612"/>
                    <a:pt x="5735" y="605"/>
                  </a:cubicBezTo>
                  <a:cubicBezTo>
                    <a:pt x="5758" y="599"/>
                    <a:pt x="5781" y="592"/>
                    <a:pt x="5804" y="586"/>
                  </a:cubicBezTo>
                  <a:cubicBezTo>
                    <a:pt x="5981" y="539"/>
                    <a:pt x="6147" y="513"/>
                    <a:pt x="6300" y="507"/>
                  </a:cubicBezTo>
                  <a:cubicBezTo>
                    <a:pt x="6318" y="506"/>
                    <a:pt x="6337" y="505"/>
                    <a:pt x="6355" y="505"/>
                  </a:cubicBezTo>
                  <a:cubicBezTo>
                    <a:pt x="6357" y="505"/>
                    <a:pt x="6358" y="505"/>
                    <a:pt x="6360" y="505"/>
                  </a:cubicBezTo>
                  <a:cubicBezTo>
                    <a:pt x="6380" y="505"/>
                    <a:pt x="6399" y="506"/>
                    <a:pt x="6419" y="507"/>
                  </a:cubicBezTo>
                  <a:cubicBezTo>
                    <a:pt x="6496" y="511"/>
                    <a:pt x="6571" y="520"/>
                    <a:pt x="6640" y="536"/>
                  </a:cubicBezTo>
                  <a:cubicBezTo>
                    <a:pt x="6579" y="440"/>
                    <a:pt x="6513" y="346"/>
                    <a:pt x="6443" y="254"/>
                  </a:cubicBezTo>
                  <a:cubicBezTo>
                    <a:pt x="6424" y="229"/>
                    <a:pt x="6404" y="204"/>
                    <a:pt x="6385" y="179"/>
                  </a:cubicBezTo>
                  <a:cubicBezTo>
                    <a:pt x="6364" y="153"/>
                    <a:pt x="6344" y="128"/>
                    <a:pt x="6323" y="102"/>
                  </a:cubicBezTo>
                  <a:cubicBezTo>
                    <a:pt x="6300" y="75"/>
                    <a:pt x="6276" y="48"/>
                    <a:pt x="6253" y="21"/>
                  </a:cubicBezTo>
                  <a:cubicBezTo>
                    <a:pt x="6186" y="8"/>
                    <a:pt x="6114" y="1"/>
                    <a:pt x="6036" y="1"/>
                  </a:cubicBezTo>
                  <a:cubicBezTo>
                    <a:pt x="6006" y="0"/>
                    <a:pt x="5975" y="2"/>
                    <a:pt x="5943" y="3"/>
                  </a:cubicBezTo>
                  <a:cubicBezTo>
                    <a:pt x="5924" y="4"/>
                    <a:pt x="5904" y="6"/>
                    <a:pt x="5884" y="8"/>
                  </a:cubicBezTo>
                  <a:cubicBezTo>
                    <a:pt x="5864" y="10"/>
                    <a:pt x="5844" y="13"/>
                    <a:pt x="5824" y="15"/>
                  </a:cubicBezTo>
                  <a:cubicBezTo>
                    <a:pt x="5639" y="39"/>
                    <a:pt x="5433" y="93"/>
                    <a:pt x="5212" y="174"/>
                  </a:cubicBezTo>
                  <a:cubicBezTo>
                    <a:pt x="5189" y="183"/>
                    <a:pt x="5166" y="191"/>
                    <a:pt x="5142" y="200"/>
                  </a:cubicBezTo>
                  <a:cubicBezTo>
                    <a:pt x="5118" y="210"/>
                    <a:pt x="5094" y="219"/>
                    <a:pt x="5070" y="229"/>
                  </a:cubicBezTo>
                  <a:cubicBezTo>
                    <a:pt x="4719" y="373"/>
                    <a:pt x="4334" y="582"/>
                    <a:pt x="3933" y="848"/>
                  </a:cubicBezTo>
                  <a:cubicBezTo>
                    <a:pt x="3893" y="874"/>
                    <a:pt x="3852" y="902"/>
                    <a:pt x="3812" y="929"/>
                  </a:cubicBezTo>
                  <a:cubicBezTo>
                    <a:pt x="3767" y="960"/>
                    <a:pt x="3723" y="991"/>
                    <a:pt x="3679" y="1023"/>
                  </a:cubicBezTo>
                  <a:cubicBezTo>
                    <a:pt x="3206" y="1360"/>
                    <a:pt x="2718" y="1771"/>
                    <a:pt x="2245" y="2245"/>
                  </a:cubicBezTo>
                  <a:cubicBezTo>
                    <a:pt x="1771" y="2718"/>
                    <a:pt x="1360" y="3206"/>
                    <a:pt x="1023" y="3679"/>
                  </a:cubicBezTo>
                  <a:cubicBezTo>
                    <a:pt x="991" y="3723"/>
                    <a:pt x="960" y="3768"/>
                    <a:pt x="929" y="3812"/>
                  </a:cubicBezTo>
                  <a:cubicBezTo>
                    <a:pt x="902" y="3852"/>
                    <a:pt x="874" y="3893"/>
                    <a:pt x="848" y="3933"/>
                  </a:cubicBezTo>
                  <a:cubicBezTo>
                    <a:pt x="582" y="4334"/>
                    <a:pt x="373" y="4719"/>
                    <a:pt x="229" y="5070"/>
                  </a:cubicBezTo>
                  <a:cubicBezTo>
                    <a:pt x="219" y="5094"/>
                    <a:pt x="210" y="5118"/>
                    <a:pt x="200" y="5142"/>
                  </a:cubicBezTo>
                  <a:cubicBezTo>
                    <a:pt x="191" y="5166"/>
                    <a:pt x="183" y="5189"/>
                    <a:pt x="174" y="5212"/>
                  </a:cubicBezTo>
                  <a:cubicBezTo>
                    <a:pt x="93" y="5433"/>
                    <a:pt x="39" y="5639"/>
                    <a:pt x="15" y="5824"/>
                  </a:cubicBezTo>
                  <a:cubicBezTo>
                    <a:pt x="12" y="5844"/>
                    <a:pt x="10" y="5864"/>
                    <a:pt x="8" y="5884"/>
                  </a:cubicBezTo>
                  <a:cubicBezTo>
                    <a:pt x="6" y="5904"/>
                    <a:pt x="5" y="5924"/>
                    <a:pt x="3" y="5943"/>
                  </a:cubicBezTo>
                  <a:cubicBezTo>
                    <a:pt x="2" y="5975"/>
                    <a:pt x="0" y="6006"/>
                    <a:pt x="1" y="6036"/>
                  </a:cubicBezTo>
                  <a:cubicBezTo>
                    <a:pt x="1" y="6131"/>
                    <a:pt x="10" y="6218"/>
                    <a:pt x="30" y="6297"/>
                  </a:cubicBezTo>
                  <a:cubicBezTo>
                    <a:pt x="38" y="6304"/>
                    <a:pt x="46" y="6311"/>
                    <a:pt x="54" y="6318"/>
                  </a:cubicBezTo>
                  <a:cubicBezTo>
                    <a:pt x="80" y="6340"/>
                    <a:pt x="106" y="6362"/>
                    <a:pt x="132" y="6383"/>
                  </a:cubicBezTo>
                  <a:cubicBezTo>
                    <a:pt x="158" y="6404"/>
                    <a:pt x="184" y="6424"/>
                    <a:pt x="211" y="6444"/>
                  </a:cubicBezTo>
                  <a:cubicBezTo>
                    <a:pt x="320" y="6528"/>
                    <a:pt x="432" y="6606"/>
                    <a:pt x="547" y="6679"/>
                  </a:cubicBezTo>
                  <a:cubicBezTo>
                    <a:pt x="524" y="6598"/>
                    <a:pt x="511" y="6511"/>
                    <a:pt x="507" y="6419"/>
                  </a:cubicBezTo>
                  <a:cubicBezTo>
                    <a:pt x="506" y="6399"/>
                    <a:pt x="505" y="6380"/>
                    <a:pt x="505" y="6360"/>
                  </a:cubicBezTo>
                  <a:cubicBezTo>
                    <a:pt x="505" y="6358"/>
                    <a:pt x="505" y="6357"/>
                    <a:pt x="505" y="6356"/>
                  </a:cubicBezTo>
                  <a:cubicBezTo>
                    <a:pt x="505" y="6337"/>
                    <a:pt x="506" y="6318"/>
                    <a:pt x="507" y="6300"/>
                  </a:cubicBezTo>
                  <a:cubicBezTo>
                    <a:pt x="512" y="6147"/>
                    <a:pt x="539" y="5981"/>
                    <a:pt x="586" y="5804"/>
                  </a:cubicBezTo>
                  <a:cubicBezTo>
                    <a:pt x="592" y="5781"/>
                    <a:pt x="599" y="5758"/>
                    <a:pt x="605" y="5735"/>
                  </a:cubicBezTo>
                  <a:cubicBezTo>
                    <a:pt x="612" y="5712"/>
                    <a:pt x="619" y="5688"/>
                    <a:pt x="626" y="5665"/>
                  </a:cubicBezTo>
                  <a:cubicBezTo>
                    <a:pt x="703" y="5418"/>
                    <a:pt x="817" y="5153"/>
                    <a:pt x="962" y="4876"/>
                  </a:cubicBezTo>
                  <a:cubicBezTo>
                    <a:pt x="979" y="4845"/>
                    <a:pt x="996" y="4813"/>
                    <a:pt x="1013" y="4781"/>
                  </a:cubicBezTo>
                  <a:cubicBezTo>
                    <a:pt x="1031" y="4748"/>
                    <a:pt x="1050" y="4715"/>
                    <a:pt x="1069" y="4682"/>
                  </a:cubicBezTo>
                  <a:cubicBezTo>
                    <a:pt x="1441" y="4031"/>
                    <a:pt x="1982" y="3328"/>
                    <a:pt x="2654" y="2654"/>
                  </a:cubicBezTo>
                  <a:cubicBezTo>
                    <a:pt x="3328" y="1982"/>
                    <a:pt x="4031" y="1441"/>
                    <a:pt x="4682" y="10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0" name="Freeform 12">
              <a:extLst>
                <a:ext uri="{FF2B5EF4-FFF2-40B4-BE49-F238E27FC236}">
                  <a16:creationId xmlns:a16="http://schemas.microsoft.com/office/drawing/2014/main" id="{6967A9C6-FB4D-4270-BB09-0FBE5B7A6E5E}"/>
                </a:ext>
              </a:extLst>
            </p:cNvPr>
            <p:cNvSpPr>
              <a:spLocks/>
            </p:cNvSpPr>
            <p:nvPr/>
          </p:nvSpPr>
          <p:spPr bwMode="auto">
            <a:xfrm>
              <a:off x="5525067" y="2309661"/>
              <a:ext cx="3917703" cy="3936801"/>
            </a:xfrm>
            <a:custGeom>
              <a:avLst/>
              <a:gdLst>
                <a:gd name="T0" fmla="*/ 3424 w 5896"/>
                <a:gd name="T1" fmla="*/ 1876 h 5920"/>
                <a:gd name="T2" fmla="*/ 3633 w 5896"/>
                <a:gd name="T3" fmla="*/ 1712 h 5920"/>
                <a:gd name="T4" fmla="*/ 3808 w 5896"/>
                <a:gd name="T5" fmla="*/ 1582 h 5920"/>
                <a:gd name="T6" fmla="*/ 4916 w 5896"/>
                <a:gd name="T7" fmla="*/ 937 h 5920"/>
                <a:gd name="T8" fmla="*/ 5004 w 5896"/>
                <a:gd name="T9" fmla="*/ 901 h 5920"/>
                <a:gd name="T10" fmla="*/ 5086 w 5896"/>
                <a:gd name="T11" fmla="*/ 873 h 5920"/>
                <a:gd name="T12" fmla="*/ 5614 w 5896"/>
                <a:gd name="T13" fmla="*/ 767 h 5920"/>
                <a:gd name="T14" fmla="*/ 5621 w 5896"/>
                <a:gd name="T15" fmla="*/ 767 h 5920"/>
                <a:gd name="T16" fmla="*/ 5682 w 5896"/>
                <a:gd name="T17" fmla="*/ 770 h 5920"/>
                <a:gd name="T18" fmla="*/ 5742 w 5896"/>
                <a:gd name="T19" fmla="*/ 777 h 5920"/>
                <a:gd name="T20" fmla="*/ 5896 w 5896"/>
                <a:gd name="T21" fmla="*/ 821 h 5920"/>
                <a:gd name="T22" fmla="*/ 5826 w 5896"/>
                <a:gd name="T23" fmla="*/ 476 h 5920"/>
                <a:gd name="T24" fmla="*/ 5792 w 5896"/>
                <a:gd name="T25" fmla="*/ 349 h 5920"/>
                <a:gd name="T26" fmla="*/ 5752 w 5896"/>
                <a:gd name="T27" fmla="*/ 214 h 5920"/>
                <a:gd name="T28" fmla="*/ 5714 w 5896"/>
                <a:gd name="T29" fmla="*/ 97 h 5920"/>
                <a:gd name="T30" fmla="*/ 5444 w 5896"/>
                <a:gd name="T31" fmla="*/ 9 h 5920"/>
                <a:gd name="T32" fmla="*/ 5385 w 5896"/>
                <a:gd name="T33" fmla="*/ 3 h 5920"/>
                <a:gd name="T34" fmla="*/ 5324 w 5896"/>
                <a:gd name="T35" fmla="*/ 1 h 5920"/>
                <a:gd name="T36" fmla="*/ 5312 w 5896"/>
                <a:gd name="T37" fmla="*/ 0 h 5920"/>
                <a:gd name="T38" fmla="*/ 5307 w 5896"/>
                <a:gd name="T39" fmla="*/ 0 h 5920"/>
                <a:gd name="T40" fmla="*/ 4713 w 5896"/>
                <a:gd name="T41" fmla="*/ 112 h 5920"/>
                <a:gd name="T42" fmla="*/ 4636 w 5896"/>
                <a:gd name="T43" fmla="*/ 137 h 5920"/>
                <a:gd name="T44" fmla="*/ 4555 w 5896"/>
                <a:gd name="T45" fmla="*/ 168 h 5920"/>
                <a:gd name="T46" fmla="*/ 3688 w 5896"/>
                <a:gd name="T47" fmla="*/ 607 h 5920"/>
                <a:gd name="T48" fmla="*/ 3564 w 5896"/>
                <a:gd name="T49" fmla="*/ 684 h 5920"/>
                <a:gd name="T50" fmla="*/ 3430 w 5896"/>
                <a:gd name="T51" fmla="*/ 773 h 5920"/>
                <a:gd name="T52" fmla="*/ 1980 w 5896"/>
                <a:gd name="T53" fmla="*/ 1980 h 5920"/>
                <a:gd name="T54" fmla="*/ 774 w 5896"/>
                <a:gd name="T55" fmla="*/ 3429 h 5920"/>
                <a:gd name="T56" fmla="*/ 685 w 5896"/>
                <a:gd name="T57" fmla="*/ 3563 h 5920"/>
                <a:gd name="T58" fmla="*/ 607 w 5896"/>
                <a:gd name="T59" fmla="*/ 3688 h 5920"/>
                <a:gd name="T60" fmla="*/ 169 w 5896"/>
                <a:gd name="T61" fmla="*/ 4554 h 5920"/>
                <a:gd name="T62" fmla="*/ 137 w 5896"/>
                <a:gd name="T63" fmla="*/ 4635 h 5920"/>
                <a:gd name="T64" fmla="*/ 113 w 5896"/>
                <a:gd name="T65" fmla="*/ 4712 h 5920"/>
                <a:gd name="T66" fmla="*/ 1 w 5896"/>
                <a:gd name="T67" fmla="*/ 5311 h 5920"/>
                <a:gd name="T68" fmla="*/ 2 w 5896"/>
                <a:gd name="T69" fmla="*/ 5323 h 5920"/>
                <a:gd name="T70" fmla="*/ 4 w 5896"/>
                <a:gd name="T71" fmla="*/ 5384 h 5920"/>
                <a:gd name="T72" fmla="*/ 10 w 5896"/>
                <a:gd name="T73" fmla="*/ 5443 h 5920"/>
                <a:gd name="T74" fmla="*/ 121 w 5896"/>
                <a:gd name="T75" fmla="*/ 5747 h 5920"/>
                <a:gd name="T76" fmla="*/ 150 w 5896"/>
                <a:gd name="T77" fmla="*/ 5756 h 5920"/>
                <a:gd name="T78" fmla="*/ 291 w 5896"/>
                <a:gd name="T79" fmla="*/ 5800 h 5920"/>
                <a:gd name="T80" fmla="*/ 425 w 5896"/>
                <a:gd name="T81" fmla="*/ 5836 h 5920"/>
                <a:gd name="T82" fmla="*/ 835 w 5896"/>
                <a:gd name="T83" fmla="*/ 5920 h 5920"/>
                <a:gd name="T84" fmla="*/ 778 w 5896"/>
                <a:gd name="T85" fmla="*/ 5741 h 5920"/>
                <a:gd name="T86" fmla="*/ 771 w 5896"/>
                <a:gd name="T87" fmla="*/ 5681 h 5920"/>
                <a:gd name="T88" fmla="*/ 769 w 5896"/>
                <a:gd name="T89" fmla="*/ 5620 h 5920"/>
                <a:gd name="T90" fmla="*/ 768 w 5896"/>
                <a:gd name="T91" fmla="*/ 5612 h 5920"/>
                <a:gd name="T92" fmla="*/ 874 w 5896"/>
                <a:gd name="T93" fmla="*/ 5084 h 5920"/>
                <a:gd name="T94" fmla="*/ 903 w 5896"/>
                <a:gd name="T95" fmla="*/ 5002 h 5920"/>
                <a:gd name="T96" fmla="*/ 938 w 5896"/>
                <a:gd name="T97" fmla="*/ 4915 h 5920"/>
                <a:gd name="T98" fmla="*/ 1583 w 5896"/>
                <a:gd name="T99" fmla="*/ 3807 h 5920"/>
                <a:gd name="T100" fmla="*/ 1713 w 5896"/>
                <a:gd name="T101" fmla="*/ 3632 h 5920"/>
                <a:gd name="T102" fmla="*/ 1877 w 5896"/>
                <a:gd name="T103" fmla="*/ 3424 h 5920"/>
                <a:gd name="T104" fmla="*/ 2610 w 5896"/>
                <a:gd name="T105" fmla="*/ 2610 h 5920"/>
                <a:gd name="T106" fmla="*/ 3424 w 5896"/>
                <a:gd name="T107" fmla="*/ 1876 h 5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96" h="5920">
                  <a:moveTo>
                    <a:pt x="3424" y="1876"/>
                  </a:moveTo>
                  <a:cubicBezTo>
                    <a:pt x="3494" y="1819"/>
                    <a:pt x="3564" y="1765"/>
                    <a:pt x="3633" y="1712"/>
                  </a:cubicBezTo>
                  <a:cubicBezTo>
                    <a:pt x="3692" y="1667"/>
                    <a:pt x="3750" y="1624"/>
                    <a:pt x="3808" y="1582"/>
                  </a:cubicBezTo>
                  <a:cubicBezTo>
                    <a:pt x="4204" y="1295"/>
                    <a:pt x="4581" y="1076"/>
                    <a:pt x="4916" y="937"/>
                  </a:cubicBezTo>
                  <a:cubicBezTo>
                    <a:pt x="4945" y="925"/>
                    <a:pt x="4975" y="912"/>
                    <a:pt x="5004" y="901"/>
                  </a:cubicBezTo>
                  <a:cubicBezTo>
                    <a:pt x="5032" y="891"/>
                    <a:pt x="5058" y="882"/>
                    <a:pt x="5086" y="873"/>
                  </a:cubicBezTo>
                  <a:cubicBezTo>
                    <a:pt x="5281" y="806"/>
                    <a:pt x="5460" y="768"/>
                    <a:pt x="5614" y="767"/>
                  </a:cubicBezTo>
                  <a:cubicBezTo>
                    <a:pt x="5616" y="767"/>
                    <a:pt x="5618" y="767"/>
                    <a:pt x="5621" y="767"/>
                  </a:cubicBezTo>
                  <a:cubicBezTo>
                    <a:pt x="5642" y="768"/>
                    <a:pt x="5662" y="768"/>
                    <a:pt x="5682" y="770"/>
                  </a:cubicBezTo>
                  <a:cubicBezTo>
                    <a:pt x="5702" y="771"/>
                    <a:pt x="5722" y="774"/>
                    <a:pt x="5742" y="777"/>
                  </a:cubicBezTo>
                  <a:cubicBezTo>
                    <a:pt x="5797" y="785"/>
                    <a:pt x="5849" y="800"/>
                    <a:pt x="5896" y="821"/>
                  </a:cubicBezTo>
                  <a:cubicBezTo>
                    <a:pt x="5877" y="705"/>
                    <a:pt x="5854" y="590"/>
                    <a:pt x="5826" y="476"/>
                  </a:cubicBezTo>
                  <a:cubicBezTo>
                    <a:pt x="5816" y="433"/>
                    <a:pt x="5804" y="391"/>
                    <a:pt x="5792" y="349"/>
                  </a:cubicBezTo>
                  <a:cubicBezTo>
                    <a:pt x="5779" y="304"/>
                    <a:pt x="5766" y="259"/>
                    <a:pt x="5752" y="214"/>
                  </a:cubicBezTo>
                  <a:cubicBezTo>
                    <a:pt x="5740" y="175"/>
                    <a:pt x="5728" y="136"/>
                    <a:pt x="5714" y="97"/>
                  </a:cubicBezTo>
                  <a:cubicBezTo>
                    <a:pt x="5639" y="51"/>
                    <a:pt x="5549" y="22"/>
                    <a:pt x="5444" y="9"/>
                  </a:cubicBezTo>
                  <a:cubicBezTo>
                    <a:pt x="5425" y="6"/>
                    <a:pt x="5405" y="4"/>
                    <a:pt x="5385" y="3"/>
                  </a:cubicBezTo>
                  <a:cubicBezTo>
                    <a:pt x="5365" y="1"/>
                    <a:pt x="5345" y="1"/>
                    <a:pt x="5324" y="1"/>
                  </a:cubicBezTo>
                  <a:cubicBezTo>
                    <a:pt x="5320" y="1"/>
                    <a:pt x="5316" y="0"/>
                    <a:pt x="5312" y="0"/>
                  </a:cubicBezTo>
                  <a:cubicBezTo>
                    <a:pt x="5311" y="0"/>
                    <a:pt x="5309" y="0"/>
                    <a:pt x="5307" y="0"/>
                  </a:cubicBezTo>
                  <a:cubicBezTo>
                    <a:pt x="5135" y="0"/>
                    <a:pt x="4934" y="40"/>
                    <a:pt x="4713" y="112"/>
                  </a:cubicBezTo>
                  <a:cubicBezTo>
                    <a:pt x="4687" y="120"/>
                    <a:pt x="4662" y="127"/>
                    <a:pt x="4636" y="137"/>
                  </a:cubicBezTo>
                  <a:cubicBezTo>
                    <a:pt x="4610" y="146"/>
                    <a:pt x="4582" y="158"/>
                    <a:pt x="4555" y="168"/>
                  </a:cubicBezTo>
                  <a:cubicBezTo>
                    <a:pt x="4287" y="270"/>
                    <a:pt x="3995" y="418"/>
                    <a:pt x="3688" y="607"/>
                  </a:cubicBezTo>
                  <a:cubicBezTo>
                    <a:pt x="3647" y="632"/>
                    <a:pt x="3606" y="657"/>
                    <a:pt x="3564" y="684"/>
                  </a:cubicBezTo>
                  <a:cubicBezTo>
                    <a:pt x="3520" y="713"/>
                    <a:pt x="3475" y="743"/>
                    <a:pt x="3430" y="773"/>
                  </a:cubicBezTo>
                  <a:cubicBezTo>
                    <a:pt x="2956" y="1092"/>
                    <a:pt x="2460" y="1499"/>
                    <a:pt x="1980" y="1980"/>
                  </a:cubicBezTo>
                  <a:cubicBezTo>
                    <a:pt x="1500" y="2459"/>
                    <a:pt x="1093" y="2956"/>
                    <a:pt x="774" y="3429"/>
                  </a:cubicBezTo>
                  <a:cubicBezTo>
                    <a:pt x="744" y="3474"/>
                    <a:pt x="714" y="3519"/>
                    <a:pt x="685" y="3563"/>
                  </a:cubicBezTo>
                  <a:cubicBezTo>
                    <a:pt x="658" y="3605"/>
                    <a:pt x="633" y="3646"/>
                    <a:pt x="607" y="3688"/>
                  </a:cubicBezTo>
                  <a:cubicBezTo>
                    <a:pt x="419" y="3994"/>
                    <a:pt x="271" y="4287"/>
                    <a:pt x="169" y="4554"/>
                  </a:cubicBezTo>
                  <a:cubicBezTo>
                    <a:pt x="158" y="4581"/>
                    <a:pt x="147" y="4609"/>
                    <a:pt x="137" y="4635"/>
                  </a:cubicBezTo>
                  <a:cubicBezTo>
                    <a:pt x="128" y="4661"/>
                    <a:pt x="121" y="4686"/>
                    <a:pt x="113" y="4712"/>
                  </a:cubicBezTo>
                  <a:cubicBezTo>
                    <a:pt x="40" y="4935"/>
                    <a:pt x="0" y="5138"/>
                    <a:pt x="1" y="5311"/>
                  </a:cubicBezTo>
                  <a:cubicBezTo>
                    <a:pt x="1" y="5315"/>
                    <a:pt x="1" y="5319"/>
                    <a:pt x="2" y="5323"/>
                  </a:cubicBezTo>
                  <a:cubicBezTo>
                    <a:pt x="2" y="5344"/>
                    <a:pt x="2" y="5364"/>
                    <a:pt x="4" y="5384"/>
                  </a:cubicBezTo>
                  <a:cubicBezTo>
                    <a:pt x="5" y="5404"/>
                    <a:pt x="7" y="5424"/>
                    <a:pt x="10" y="5443"/>
                  </a:cubicBezTo>
                  <a:cubicBezTo>
                    <a:pt x="25" y="5564"/>
                    <a:pt x="62" y="5665"/>
                    <a:pt x="121" y="5747"/>
                  </a:cubicBezTo>
                  <a:cubicBezTo>
                    <a:pt x="131" y="5750"/>
                    <a:pt x="140" y="5753"/>
                    <a:pt x="150" y="5756"/>
                  </a:cubicBezTo>
                  <a:cubicBezTo>
                    <a:pt x="197" y="5771"/>
                    <a:pt x="244" y="5786"/>
                    <a:pt x="291" y="5800"/>
                  </a:cubicBezTo>
                  <a:cubicBezTo>
                    <a:pt x="336" y="5813"/>
                    <a:pt x="380" y="5825"/>
                    <a:pt x="425" y="5836"/>
                  </a:cubicBezTo>
                  <a:cubicBezTo>
                    <a:pt x="560" y="5870"/>
                    <a:pt x="697" y="5898"/>
                    <a:pt x="835" y="5920"/>
                  </a:cubicBezTo>
                  <a:cubicBezTo>
                    <a:pt x="807" y="5866"/>
                    <a:pt x="788" y="5806"/>
                    <a:pt x="778" y="5741"/>
                  </a:cubicBezTo>
                  <a:cubicBezTo>
                    <a:pt x="775" y="5721"/>
                    <a:pt x="773" y="5701"/>
                    <a:pt x="771" y="5681"/>
                  </a:cubicBezTo>
                  <a:cubicBezTo>
                    <a:pt x="769" y="5661"/>
                    <a:pt x="769" y="5641"/>
                    <a:pt x="769" y="5620"/>
                  </a:cubicBezTo>
                  <a:cubicBezTo>
                    <a:pt x="769" y="5617"/>
                    <a:pt x="768" y="5615"/>
                    <a:pt x="768" y="5612"/>
                  </a:cubicBezTo>
                  <a:cubicBezTo>
                    <a:pt x="769" y="5459"/>
                    <a:pt x="807" y="5280"/>
                    <a:pt x="874" y="5084"/>
                  </a:cubicBezTo>
                  <a:cubicBezTo>
                    <a:pt x="884" y="5057"/>
                    <a:pt x="892" y="5030"/>
                    <a:pt x="903" y="5002"/>
                  </a:cubicBezTo>
                  <a:cubicBezTo>
                    <a:pt x="913" y="4974"/>
                    <a:pt x="926" y="4944"/>
                    <a:pt x="938" y="4915"/>
                  </a:cubicBezTo>
                  <a:cubicBezTo>
                    <a:pt x="1077" y="4580"/>
                    <a:pt x="1296" y="4203"/>
                    <a:pt x="1583" y="3807"/>
                  </a:cubicBezTo>
                  <a:cubicBezTo>
                    <a:pt x="1625" y="3749"/>
                    <a:pt x="1668" y="3691"/>
                    <a:pt x="1713" y="3632"/>
                  </a:cubicBezTo>
                  <a:cubicBezTo>
                    <a:pt x="1765" y="3563"/>
                    <a:pt x="1820" y="3493"/>
                    <a:pt x="1877" y="3424"/>
                  </a:cubicBezTo>
                  <a:cubicBezTo>
                    <a:pt x="2095" y="3154"/>
                    <a:pt x="2341" y="2880"/>
                    <a:pt x="2610" y="2610"/>
                  </a:cubicBezTo>
                  <a:cubicBezTo>
                    <a:pt x="2881" y="2340"/>
                    <a:pt x="3155" y="2095"/>
                    <a:pt x="3424" y="187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1" name="Freeform 13">
              <a:extLst>
                <a:ext uri="{FF2B5EF4-FFF2-40B4-BE49-F238E27FC236}">
                  <a16:creationId xmlns:a16="http://schemas.microsoft.com/office/drawing/2014/main" id="{85D81FB3-8A4F-49F2-A164-8A0BF5C67920}"/>
                </a:ext>
              </a:extLst>
            </p:cNvPr>
            <p:cNvSpPr>
              <a:spLocks/>
            </p:cNvSpPr>
            <p:nvPr/>
          </p:nvSpPr>
          <p:spPr bwMode="auto">
            <a:xfrm>
              <a:off x="6849611" y="3634205"/>
              <a:ext cx="2613621" cy="2625898"/>
            </a:xfrm>
            <a:custGeom>
              <a:avLst/>
              <a:gdLst>
                <a:gd name="T0" fmla="*/ 3902 w 3934"/>
                <a:gd name="T1" fmla="*/ 32 h 3950"/>
                <a:gd name="T2" fmla="*/ 3727 w 3934"/>
                <a:gd name="T3" fmla="*/ 0 h 3950"/>
                <a:gd name="T4" fmla="*/ 3687 w 3934"/>
                <a:gd name="T5" fmla="*/ 3 h 3950"/>
                <a:gd name="T6" fmla="*/ 3616 w 3934"/>
                <a:gd name="T7" fmla="*/ 8 h 3950"/>
                <a:gd name="T8" fmla="*/ 3541 w 3934"/>
                <a:gd name="T9" fmla="*/ 21 h 3950"/>
                <a:gd name="T10" fmla="*/ 3005 w 3934"/>
                <a:gd name="T11" fmla="*/ 222 h 3950"/>
                <a:gd name="T12" fmla="*/ 2891 w 3934"/>
                <a:gd name="T13" fmla="*/ 283 h 3950"/>
                <a:gd name="T14" fmla="*/ 2768 w 3934"/>
                <a:gd name="T15" fmla="*/ 353 h 3950"/>
                <a:gd name="T16" fmla="*/ 1424 w 3934"/>
                <a:gd name="T17" fmla="*/ 1424 h 3950"/>
                <a:gd name="T18" fmla="*/ 353 w 3934"/>
                <a:gd name="T19" fmla="*/ 2768 h 3950"/>
                <a:gd name="T20" fmla="*/ 283 w 3934"/>
                <a:gd name="T21" fmla="*/ 2891 h 3950"/>
                <a:gd name="T22" fmla="*/ 222 w 3934"/>
                <a:gd name="T23" fmla="*/ 3005 h 3950"/>
                <a:gd name="T24" fmla="*/ 22 w 3934"/>
                <a:gd name="T25" fmla="*/ 3540 h 3950"/>
                <a:gd name="T26" fmla="*/ 8 w 3934"/>
                <a:gd name="T27" fmla="*/ 3616 h 3950"/>
                <a:gd name="T28" fmla="*/ 3 w 3934"/>
                <a:gd name="T29" fmla="*/ 3686 h 3950"/>
                <a:gd name="T30" fmla="*/ 1 w 3934"/>
                <a:gd name="T31" fmla="*/ 3727 h 3950"/>
                <a:gd name="T32" fmla="*/ 32 w 3934"/>
                <a:gd name="T33" fmla="*/ 3902 h 3950"/>
                <a:gd name="T34" fmla="*/ 56 w 3934"/>
                <a:gd name="T35" fmla="*/ 3950 h 3950"/>
                <a:gd name="T36" fmla="*/ 79 w 3934"/>
                <a:gd name="T37" fmla="*/ 3947 h 3950"/>
                <a:gd name="T38" fmla="*/ 282 w 3934"/>
                <a:gd name="T39" fmla="*/ 3917 h 3950"/>
                <a:gd name="T40" fmla="*/ 1127 w 3934"/>
                <a:gd name="T41" fmla="*/ 3685 h 3950"/>
                <a:gd name="T42" fmla="*/ 1020 w 3934"/>
                <a:gd name="T43" fmla="*/ 3624 h 3950"/>
                <a:gd name="T44" fmla="*/ 959 w 3934"/>
                <a:gd name="T45" fmla="*/ 3517 h 3950"/>
                <a:gd name="T46" fmla="*/ 946 w 3934"/>
                <a:gd name="T47" fmla="*/ 3454 h 3950"/>
                <a:gd name="T48" fmla="*/ 943 w 3934"/>
                <a:gd name="T49" fmla="*/ 3410 h 3950"/>
                <a:gd name="T50" fmla="*/ 945 w 3934"/>
                <a:gd name="T51" fmla="*/ 3382 h 3950"/>
                <a:gd name="T52" fmla="*/ 1060 w 3934"/>
                <a:gd name="T53" fmla="*/ 2995 h 3950"/>
                <a:gd name="T54" fmla="*/ 1123 w 3934"/>
                <a:gd name="T55" fmla="*/ 2873 h 3950"/>
                <a:gd name="T56" fmla="*/ 1207 w 3934"/>
                <a:gd name="T57" fmla="*/ 2729 h 3950"/>
                <a:gd name="T58" fmla="*/ 1890 w 3934"/>
                <a:gd name="T59" fmla="*/ 1890 h 3950"/>
                <a:gd name="T60" fmla="*/ 2729 w 3934"/>
                <a:gd name="T61" fmla="*/ 1207 h 3950"/>
                <a:gd name="T62" fmla="*/ 2873 w 3934"/>
                <a:gd name="T63" fmla="*/ 1123 h 3950"/>
                <a:gd name="T64" fmla="*/ 2994 w 3934"/>
                <a:gd name="T65" fmla="*/ 1061 h 3950"/>
                <a:gd name="T66" fmla="*/ 3382 w 3934"/>
                <a:gd name="T67" fmla="*/ 946 h 3950"/>
                <a:gd name="T68" fmla="*/ 3410 w 3934"/>
                <a:gd name="T69" fmla="*/ 943 h 3950"/>
                <a:gd name="T70" fmla="*/ 3454 w 3934"/>
                <a:gd name="T71" fmla="*/ 947 h 3950"/>
                <a:gd name="T72" fmla="*/ 3517 w 3934"/>
                <a:gd name="T73" fmla="*/ 959 h 3950"/>
                <a:gd name="T74" fmla="*/ 3624 w 3934"/>
                <a:gd name="T75" fmla="*/ 1020 h 3950"/>
                <a:gd name="T76" fmla="*/ 3679 w 3934"/>
                <a:gd name="T77" fmla="*/ 1109 h 3950"/>
                <a:gd name="T78" fmla="*/ 3893 w 3934"/>
                <a:gd name="T79" fmla="*/ 331 h 3950"/>
                <a:gd name="T80" fmla="*/ 3924 w 3934"/>
                <a:gd name="T81" fmla="*/ 131 h 3950"/>
                <a:gd name="T82" fmla="*/ 3934 w 3934"/>
                <a:gd name="T83" fmla="*/ 47 h 3950"/>
                <a:gd name="T84" fmla="*/ 3902 w 3934"/>
                <a:gd name="T85" fmla="*/ 32 h 3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34" h="3950">
                  <a:moveTo>
                    <a:pt x="3902" y="32"/>
                  </a:moveTo>
                  <a:cubicBezTo>
                    <a:pt x="3854" y="12"/>
                    <a:pt x="3797" y="1"/>
                    <a:pt x="3727" y="0"/>
                  </a:cubicBezTo>
                  <a:cubicBezTo>
                    <a:pt x="3714" y="0"/>
                    <a:pt x="3700" y="2"/>
                    <a:pt x="3687" y="3"/>
                  </a:cubicBezTo>
                  <a:cubicBezTo>
                    <a:pt x="3664" y="4"/>
                    <a:pt x="3641" y="5"/>
                    <a:pt x="3616" y="8"/>
                  </a:cubicBezTo>
                  <a:cubicBezTo>
                    <a:pt x="3592" y="12"/>
                    <a:pt x="3567" y="16"/>
                    <a:pt x="3541" y="21"/>
                  </a:cubicBezTo>
                  <a:cubicBezTo>
                    <a:pt x="3386" y="53"/>
                    <a:pt x="3204" y="121"/>
                    <a:pt x="3005" y="222"/>
                  </a:cubicBezTo>
                  <a:cubicBezTo>
                    <a:pt x="2967" y="241"/>
                    <a:pt x="2929" y="262"/>
                    <a:pt x="2891" y="283"/>
                  </a:cubicBezTo>
                  <a:cubicBezTo>
                    <a:pt x="2851" y="305"/>
                    <a:pt x="2810" y="329"/>
                    <a:pt x="2768" y="353"/>
                  </a:cubicBezTo>
                  <a:cubicBezTo>
                    <a:pt x="2350" y="601"/>
                    <a:pt x="1878" y="968"/>
                    <a:pt x="1424" y="1424"/>
                  </a:cubicBezTo>
                  <a:cubicBezTo>
                    <a:pt x="967" y="1878"/>
                    <a:pt x="601" y="2350"/>
                    <a:pt x="353" y="2768"/>
                  </a:cubicBezTo>
                  <a:cubicBezTo>
                    <a:pt x="329" y="2810"/>
                    <a:pt x="305" y="2851"/>
                    <a:pt x="283" y="2891"/>
                  </a:cubicBezTo>
                  <a:cubicBezTo>
                    <a:pt x="261" y="2930"/>
                    <a:pt x="241" y="2968"/>
                    <a:pt x="222" y="3005"/>
                  </a:cubicBezTo>
                  <a:cubicBezTo>
                    <a:pt x="121" y="3204"/>
                    <a:pt x="53" y="3386"/>
                    <a:pt x="22" y="3540"/>
                  </a:cubicBezTo>
                  <a:cubicBezTo>
                    <a:pt x="16" y="3566"/>
                    <a:pt x="12" y="3592"/>
                    <a:pt x="8" y="3616"/>
                  </a:cubicBezTo>
                  <a:cubicBezTo>
                    <a:pt x="5" y="3641"/>
                    <a:pt x="4" y="3664"/>
                    <a:pt x="3" y="3686"/>
                  </a:cubicBezTo>
                  <a:cubicBezTo>
                    <a:pt x="2" y="3700"/>
                    <a:pt x="0" y="3714"/>
                    <a:pt x="1" y="3727"/>
                  </a:cubicBezTo>
                  <a:cubicBezTo>
                    <a:pt x="1" y="3797"/>
                    <a:pt x="12" y="3854"/>
                    <a:pt x="32" y="3902"/>
                  </a:cubicBezTo>
                  <a:cubicBezTo>
                    <a:pt x="39" y="3919"/>
                    <a:pt x="47" y="3935"/>
                    <a:pt x="56" y="3950"/>
                  </a:cubicBezTo>
                  <a:cubicBezTo>
                    <a:pt x="64" y="3949"/>
                    <a:pt x="71" y="3948"/>
                    <a:pt x="79" y="3947"/>
                  </a:cubicBezTo>
                  <a:cubicBezTo>
                    <a:pt x="147" y="3939"/>
                    <a:pt x="214" y="3929"/>
                    <a:pt x="282" y="3917"/>
                  </a:cubicBezTo>
                  <a:cubicBezTo>
                    <a:pt x="569" y="3868"/>
                    <a:pt x="852" y="3791"/>
                    <a:pt x="1127" y="3685"/>
                  </a:cubicBezTo>
                  <a:cubicBezTo>
                    <a:pt x="1087" y="3673"/>
                    <a:pt x="1050" y="3653"/>
                    <a:pt x="1020" y="3624"/>
                  </a:cubicBezTo>
                  <a:cubicBezTo>
                    <a:pt x="990" y="3594"/>
                    <a:pt x="971" y="3557"/>
                    <a:pt x="959" y="3517"/>
                  </a:cubicBezTo>
                  <a:cubicBezTo>
                    <a:pt x="953" y="3497"/>
                    <a:pt x="949" y="3476"/>
                    <a:pt x="946" y="3454"/>
                  </a:cubicBezTo>
                  <a:cubicBezTo>
                    <a:pt x="945" y="3440"/>
                    <a:pt x="943" y="3425"/>
                    <a:pt x="943" y="3410"/>
                  </a:cubicBezTo>
                  <a:cubicBezTo>
                    <a:pt x="944" y="3401"/>
                    <a:pt x="945" y="3392"/>
                    <a:pt x="945" y="3382"/>
                  </a:cubicBezTo>
                  <a:cubicBezTo>
                    <a:pt x="952" y="3271"/>
                    <a:pt x="992" y="3140"/>
                    <a:pt x="1060" y="2995"/>
                  </a:cubicBezTo>
                  <a:cubicBezTo>
                    <a:pt x="1079" y="2955"/>
                    <a:pt x="1100" y="2914"/>
                    <a:pt x="1123" y="2873"/>
                  </a:cubicBezTo>
                  <a:cubicBezTo>
                    <a:pt x="1148" y="2826"/>
                    <a:pt x="1176" y="2778"/>
                    <a:pt x="1207" y="2729"/>
                  </a:cubicBezTo>
                  <a:cubicBezTo>
                    <a:pt x="1371" y="2466"/>
                    <a:pt x="1606" y="2176"/>
                    <a:pt x="1890" y="1890"/>
                  </a:cubicBezTo>
                  <a:cubicBezTo>
                    <a:pt x="2176" y="1606"/>
                    <a:pt x="2466" y="1372"/>
                    <a:pt x="2729" y="1207"/>
                  </a:cubicBezTo>
                  <a:cubicBezTo>
                    <a:pt x="2778" y="1176"/>
                    <a:pt x="2825" y="1149"/>
                    <a:pt x="2873" y="1123"/>
                  </a:cubicBezTo>
                  <a:cubicBezTo>
                    <a:pt x="2914" y="1100"/>
                    <a:pt x="2955" y="1079"/>
                    <a:pt x="2994" y="1061"/>
                  </a:cubicBezTo>
                  <a:cubicBezTo>
                    <a:pt x="3140" y="992"/>
                    <a:pt x="3271" y="953"/>
                    <a:pt x="3382" y="946"/>
                  </a:cubicBezTo>
                  <a:cubicBezTo>
                    <a:pt x="3392" y="945"/>
                    <a:pt x="3401" y="944"/>
                    <a:pt x="3410" y="943"/>
                  </a:cubicBezTo>
                  <a:cubicBezTo>
                    <a:pt x="3425" y="943"/>
                    <a:pt x="3440" y="945"/>
                    <a:pt x="3454" y="947"/>
                  </a:cubicBezTo>
                  <a:cubicBezTo>
                    <a:pt x="3476" y="949"/>
                    <a:pt x="3497" y="953"/>
                    <a:pt x="3517" y="959"/>
                  </a:cubicBezTo>
                  <a:cubicBezTo>
                    <a:pt x="3557" y="971"/>
                    <a:pt x="3594" y="990"/>
                    <a:pt x="3624" y="1020"/>
                  </a:cubicBezTo>
                  <a:cubicBezTo>
                    <a:pt x="3649" y="1045"/>
                    <a:pt x="3667" y="1076"/>
                    <a:pt x="3679" y="1109"/>
                  </a:cubicBezTo>
                  <a:cubicBezTo>
                    <a:pt x="3774" y="856"/>
                    <a:pt x="3846" y="595"/>
                    <a:pt x="3893" y="331"/>
                  </a:cubicBezTo>
                  <a:cubicBezTo>
                    <a:pt x="3905" y="265"/>
                    <a:pt x="3915" y="198"/>
                    <a:pt x="3924" y="131"/>
                  </a:cubicBezTo>
                  <a:cubicBezTo>
                    <a:pt x="3928" y="103"/>
                    <a:pt x="3931" y="75"/>
                    <a:pt x="3934" y="47"/>
                  </a:cubicBezTo>
                  <a:cubicBezTo>
                    <a:pt x="3924" y="41"/>
                    <a:pt x="3913" y="37"/>
                    <a:pt x="3902" y="3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sp>
        <p:nvSpPr>
          <p:cNvPr id="8" name="Platshållare för bild 7"/>
          <p:cNvSpPr>
            <a:spLocks noGrp="1"/>
          </p:cNvSpPr>
          <p:nvPr>
            <p:ph type="pic" sz="quarter" idx="15" hasCustomPrompt="1"/>
          </p:nvPr>
        </p:nvSpPr>
        <p:spPr>
          <a:xfrm>
            <a:off x="4584700" y="952575"/>
            <a:ext cx="4156148" cy="3289235"/>
          </a:xfrm>
          <a:prstGeom prst="rect">
            <a:avLst/>
          </a:prstGeom>
        </p:spPr>
        <p:txBody>
          <a:bodyPr/>
          <a:lstStyle>
            <a:lvl1pPr marL="0" indent="0">
              <a:buNone/>
              <a:defRPr/>
            </a:lvl1pPr>
          </a:lstStyle>
          <a:p>
            <a:r>
              <a:rPr lang="sv-SE"/>
              <a:t> </a:t>
            </a:r>
          </a:p>
        </p:txBody>
      </p:sp>
      <p:sp>
        <p:nvSpPr>
          <p:cNvPr id="34" name="Rubrik 33"/>
          <p:cNvSpPr>
            <a:spLocks noGrp="1"/>
          </p:cNvSpPr>
          <p:nvPr>
            <p:ph type="title" hasCustomPrompt="1"/>
          </p:nvPr>
        </p:nvSpPr>
        <p:spPr>
          <a:xfrm>
            <a:off x="381000" y="231140"/>
            <a:ext cx="4093842" cy="1009894"/>
          </a:xfrm>
          <a:prstGeom prst="rect">
            <a:avLst/>
          </a:prstGeom>
        </p:spPr>
        <p:txBody>
          <a:bodyPr lIns="0" tIns="0" rIns="0" bIns="0" anchor="t" anchorCtr="0">
            <a:normAutofit/>
          </a:bodyPr>
          <a:lstStyle>
            <a:lvl1pPr algn="l">
              <a:defRPr sz="3600">
                <a:solidFill>
                  <a:schemeClr val="tx1"/>
                </a:solidFill>
                <a:latin typeface="Calibri"/>
                <a:cs typeface="Calibri"/>
              </a:defRPr>
            </a:lvl1pPr>
          </a:lstStyle>
          <a:p>
            <a:r>
              <a:rPr lang="en-GB"/>
              <a:t>Heading</a:t>
            </a:r>
            <a:endParaRPr lang="sv-SE"/>
          </a:p>
        </p:txBody>
      </p:sp>
      <p:sp>
        <p:nvSpPr>
          <p:cNvPr id="21" name="Platshållare för text 2"/>
          <p:cNvSpPr>
            <a:spLocks noGrp="1"/>
          </p:cNvSpPr>
          <p:nvPr>
            <p:ph type="body" sz="quarter" idx="17" hasCustomPrompt="1"/>
          </p:nvPr>
        </p:nvSpPr>
        <p:spPr>
          <a:xfrm>
            <a:off x="381000" y="1494564"/>
            <a:ext cx="4093842" cy="3044492"/>
          </a:xfrm>
          <a:prstGeom prst="rect">
            <a:avLst/>
          </a:prstGeom>
        </p:spPr>
        <p:txBody>
          <a:bodyPr lIns="0" tIns="0" rIns="0" bIns="0">
            <a:normAutofit/>
          </a:bodyPr>
          <a:lstStyle>
            <a:lvl1pPr marL="190500" indent="-190500">
              <a:spcBef>
                <a:spcPts val="50"/>
              </a:spcBef>
              <a:defRPr sz="2000"/>
            </a:lvl1pPr>
            <a:lvl2pPr marL="190500" indent="254000">
              <a:spcBef>
                <a:spcPts val="50"/>
              </a:spcBef>
              <a:buFont typeface="Lucida Grande"/>
              <a:buChar char="–"/>
              <a:defRPr sz="2000"/>
            </a:lvl2pPr>
            <a:lvl3pPr marL="571500" indent="-254000">
              <a:spcBef>
                <a:spcPts val="50"/>
              </a:spcBef>
              <a:buFont typeface="Lucida Grande"/>
              <a:buChar char="–"/>
              <a:defRPr sz="2000"/>
            </a:lvl3pPr>
            <a:lvl4pPr marL="698500" indent="-254000">
              <a:spcBef>
                <a:spcPts val="50"/>
              </a:spcBef>
              <a:buFont typeface="Lucida Grande"/>
              <a:buChar char="–"/>
              <a:defRPr sz="2000"/>
            </a:lvl4pPr>
            <a:lvl5pPr marL="825500" indent="-254000">
              <a:spcBef>
                <a:spcPts val="50"/>
              </a:spcBef>
              <a:buFont typeface="Lucida Grande"/>
              <a:buChar char="–"/>
              <a:defRPr/>
            </a:lvl5pPr>
          </a:lstStyle>
          <a:p>
            <a:pPr lvl="0"/>
            <a:r>
              <a:rPr lang="en-GB" noProof="0"/>
              <a:t>Level 1</a:t>
            </a:r>
          </a:p>
          <a:p>
            <a:pPr lvl="1"/>
            <a:r>
              <a:rPr lang="en-GB" noProof="0"/>
              <a:t>Level 2</a:t>
            </a:r>
          </a:p>
          <a:p>
            <a:pPr lvl="2"/>
            <a:r>
              <a:rPr lang="en-GB" noProof="0"/>
              <a:t>Level 3</a:t>
            </a:r>
          </a:p>
          <a:p>
            <a:pPr lvl="3"/>
            <a:r>
              <a:rPr lang="en-GB" noProof="0"/>
              <a:t>Level 4</a:t>
            </a:r>
          </a:p>
          <a:p>
            <a:pPr lvl="4"/>
            <a:r>
              <a:rPr lang="en-GB" noProof="0"/>
              <a:t>Level 5</a:t>
            </a:r>
          </a:p>
        </p:txBody>
      </p:sp>
      <p:pic>
        <p:nvPicPr>
          <p:cNvPr id="33" name="Bildobjekt 3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0201" y="4590290"/>
            <a:ext cx="850195" cy="307734"/>
          </a:xfrm>
          <a:prstGeom prst="rect">
            <a:avLst/>
          </a:prstGeom>
        </p:spPr>
      </p:pic>
      <p:sp>
        <p:nvSpPr>
          <p:cNvPr id="35" name="Platshållare för sidfot 4">
            <a:extLst>
              <a:ext uri="{FF2B5EF4-FFF2-40B4-BE49-F238E27FC236}">
                <a16:creationId xmlns:a16="http://schemas.microsoft.com/office/drawing/2014/main" id="{BBEC31AB-146C-4E30-8BBB-F479026AA07D}"/>
              </a:ext>
            </a:extLst>
          </p:cNvPr>
          <p:cNvSpPr>
            <a:spLocks noGrp="1"/>
          </p:cNvSpPr>
          <p:nvPr>
            <p:ph type="ftr" sz="quarter" idx="11"/>
          </p:nvPr>
        </p:nvSpPr>
        <p:spPr>
          <a:xfrm>
            <a:off x="5824413" y="4483997"/>
            <a:ext cx="2509889" cy="382813"/>
          </a:xfrm>
          <a:prstGeom prst="rect">
            <a:avLst/>
          </a:prstGeom>
        </p:spPr>
        <p:txBody>
          <a:bodyPr lIns="0" tIns="0" rIns="0" bIns="0" anchor="b" anchorCtr="0"/>
          <a:lstStyle>
            <a:lvl1pPr algn="r">
              <a:defRPr sz="900" b="0">
                <a:solidFill>
                  <a:schemeClr val="bg1"/>
                </a:solidFill>
              </a:defRPr>
            </a:lvl1pPr>
          </a:lstStyle>
          <a:p>
            <a:r>
              <a:rPr lang="en-US"/>
              <a:t>Stakeholder Forum Agenda - Classification: External</a:t>
            </a:r>
            <a:endParaRPr lang="sv-SE"/>
          </a:p>
        </p:txBody>
      </p:sp>
      <p:sp>
        <p:nvSpPr>
          <p:cNvPr id="39" name="Platshållare för datum 3">
            <a:extLst>
              <a:ext uri="{FF2B5EF4-FFF2-40B4-BE49-F238E27FC236}">
                <a16:creationId xmlns:a16="http://schemas.microsoft.com/office/drawing/2014/main" id="{344D1A42-E872-4AF5-AFA8-F6E6B46578F3}"/>
              </a:ext>
            </a:extLst>
          </p:cNvPr>
          <p:cNvSpPr>
            <a:spLocks noGrp="1"/>
          </p:cNvSpPr>
          <p:nvPr>
            <p:ph type="dt" sz="half" idx="10"/>
          </p:nvPr>
        </p:nvSpPr>
        <p:spPr>
          <a:xfrm>
            <a:off x="4734099" y="4495861"/>
            <a:ext cx="1018558" cy="370949"/>
          </a:xfrm>
          <a:prstGeom prst="rect">
            <a:avLst/>
          </a:prstGeom>
        </p:spPr>
        <p:txBody>
          <a:bodyPr lIns="0" tIns="0" rIns="0" bIns="0" anchor="b" anchorCtr="0"/>
          <a:lstStyle>
            <a:lvl1pPr algn="l">
              <a:defRPr sz="900" b="0" i="0" cap="all">
                <a:solidFill>
                  <a:schemeClr val="bg1"/>
                </a:solidFill>
              </a:defRPr>
            </a:lvl1pPr>
          </a:lstStyle>
          <a:p>
            <a:r>
              <a:rPr lang="sv-SE"/>
              <a:t>26/03/2026</a:t>
            </a:r>
          </a:p>
        </p:txBody>
      </p:sp>
      <p:sp>
        <p:nvSpPr>
          <p:cNvPr id="40" name="Platshållare för bildnummer 5">
            <a:extLst>
              <a:ext uri="{FF2B5EF4-FFF2-40B4-BE49-F238E27FC236}">
                <a16:creationId xmlns:a16="http://schemas.microsoft.com/office/drawing/2014/main" id="{519F9FB4-6F48-436F-9764-98B55B98EB0C}"/>
              </a:ext>
            </a:extLst>
          </p:cNvPr>
          <p:cNvSpPr>
            <a:spLocks noGrp="1"/>
          </p:cNvSpPr>
          <p:nvPr>
            <p:ph type="sldNum" sz="quarter" idx="12"/>
          </p:nvPr>
        </p:nvSpPr>
        <p:spPr>
          <a:xfrm>
            <a:off x="8383230" y="4469824"/>
            <a:ext cx="368658" cy="396987"/>
          </a:xfrm>
          <a:prstGeom prst="rect">
            <a:avLst/>
          </a:prstGeom>
          <a:noFill/>
        </p:spPr>
        <p:txBody>
          <a:bodyPr lIns="25400" tIns="0" rIns="0" bIns="0" anchor="b" anchorCtr="0"/>
          <a:lstStyle>
            <a:lvl1pPr algn="r">
              <a:defRPr sz="900">
                <a:solidFill>
                  <a:schemeClr val="bg1"/>
                </a:solidFill>
              </a:defRPr>
            </a:lvl1pPr>
          </a:lstStyle>
          <a:p>
            <a:fld id="{394EE31B-4DFC-CF4D-9A18-3F5D4D7C7302}" type="slidenum">
              <a:rPr lang="sv-SE" smtClean="0"/>
              <a:pPr/>
              <a:t>‹#›</a:t>
            </a:fld>
            <a:endParaRPr lang="sv-SE"/>
          </a:p>
        </p:txBody>
      </p:sp>
    </p:spTree>
    <p:extLst>
      <p:ext uri="{BB962C8B-B14F-4D97-AF65-F5344CB8AC3E}">
        <p14:creationId xmlns:p14="http://schemas.microsoft.com/office/powerpoint/2010/main" val="316904227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Valgfritt smalt bilde og to kolonner ">
    <p:spTree>
      <p:nvGrpSpPr>
        <p:cNvPr id="1" name=""/>
        <p:cNvGrpSpPr/>
        <p:nvPr/>
      </p:nvGrpSpPr>
      <p:grpSpPr>
        <a:xfrm>
          <a:off x="0" y="0"/>
          <a:ext cx="0" cy="0"/>
          <a:chOff x="0" y="0"/>
          <a:chExt cx="0" cy="0"/>
        </a:xfrm>
      </p:grpSpPr>
      <p:pic>
        <p:nvPicPr>
          <p:cNvPr id="10" name="Bilde 9" descr="Et bilde som inneholder tegning&#10;&#10;Automatisk generert beskrivelse">
            <a:extLst>
              <a:ext uri="{FF2B5EF4-FFF2-40B4-BE49-F238E27FC236}">
                <a16:creationId xmlns:a16="http://schemas.microsoft.com/office/drawing/2014/main" id="{5B5B0279-74AA-43BA-9A4E-C788A7F13F1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16591" y="6421"/>
            <a:ext cx="1620000" cy="653333"/>
          </a:xfrm>
          <a:prstGeom prst="rect">
            <a:avLst/>
          </a:prstGeom>
        </p:spPr>
      </p:pic>
      <p:sp>
        <p:nvSpPr>
          <p:cNvPr id="13" name="Rubrik 1">
            <a:extLst>
              <a:ext uri="{FF2B5EF4-FFF2-40B4-BE49-F238E27FC236}">
                <a16:creationId xmlns:a16="http://schemas.microsoft.com/office/drawing/2014/main" id="{4EAB2285-6FBE-4E9C-9C08-989436DFC3AF}"/>
              </a:ext>
            </a:extLst>
          </p:cNvPr>
          <p:cNvSpPr>
            <a:spLocks noGrp="1"/>
          </p:cNvSpPr>
          <p:nvPr>
            <p:ph type="title" hasCustomPrompt="1"/>
          </p:nvPr>
        </p:nvSpPr>
        <p:spPr>
          <a:xfrm>
            <a:off x="3278864" y="222674"/>
            <a:ext cx="4155500" cy="455830"/>
          </a:xfrm>
        </p:spPr>
        <p:txBody>
          <a:bodyPr lIns="0">
            <a:normAutofit/>
          </a:bodyPr>
          <a:lstStyle>
            <a:lvl1pPr>
              <a:defRPr sz="2100" b="1">
                <a:solidFill>
                  <a:schemeClr val="accent1"/>
                </a:solidFill>
              </a:defRPr>
            </a:lvl1pPr>
          </a:lstStyle>
          <a:p>
            <a:r>
              <a:rPr lang="nb-NO" noProof="0"/>
              <a:t>Overskrift</a:t>
            </a:r>
          </a:p>
        </p:txBody>
      </p:sp>
      <p:sp>
        <p:nvSpPr>
          <p:cNvPr id="14" name="Text Placeholder 6">
            <a:extLst>
              <a:ext uri="{FF2B5EF4-FFF2-40B4-BE49-F238E27FC236}">
                <a16:creationId xmlns:a16="http://schemas.microsoft.com/office/drawing/2014/main" id="{AD9131DC-11A8-4F76-ACFD-13643168D17C}"/>
              </a:ext>
            </a:extLst>
          </p:cNvPr>
          <p:cNvSpPr>
            <a:spLocks noGrp="1"/>
          </p:cNvSpPr>
          <p:nvPr>
            <p:ph type="body" sz="quarter" idx="13" hasCustomPrompt="1"/>
          </p:nvPr>
        </p:nvSpPr>
        <p:spPr>
          <a:xfrm>
            <a:off x="3278776" y="569521"/>
            <a:ext cx="4148660" cy="292894"/>
          </a:xfrm>
          <a:prstGeom prst="rect">
            <a:avLst/>
          </a:prstGeom>
        </p:spPr>
        <p:txBody>
          <a:bodyPr lIns="0" anchor="b">
            <a:noAutofit/>
          </a:bodyPr>
          <a:lstStyle>
            <a:lvl1pPr marL="0" indent="0">
              <a:spcBef>
                <a:spcPts val="0"/>
              </a:spcBef>
              <a:spcAft>
                <a:spcPts val="0"/>
              </a:spcAft>
              <a:buNone/>
              <a:defRPr sz="1350" b="1" i="0" cap="none" spc="45" baseline="0">
                <a:solidFill>
                  <a:schemeClr val="tx1"/>
                </a:solidFill>
              </a:defRPr>
            </a:lvl1pPr>
            <a:lvl5pPr>
              <a:defRPr>
                <a:solidFill>
                  <a:schemeClr val="bg1"/>
                </a:solidFill>
              </a:defRPr>
            </a:lvl5pPr>
          </a:lstStyle>
          <a:p>
            <a:pPr lvl="0"/>
            <a:r>
              <a:rPr lang="nb-NO" noProof="0"/>
              <a:t>Underoverskrift</a:t>
            </a:r>
          </a:p>
        </p:txBody>
      </p:sp>
      <p:sp>
        <p:nvSpPr>
          <p:cNvPr id="2" name="TekstSylinder 1">
            <a:extLst>
              <a:ext uri="{FF2B5EF4-FFF2-40B4-BE49-F238E27FC236}">
                <a16:creationId xmlns:a16="http://schemas.microsoft.com/office/drawing/2014/main" id="{633047B1-EB84-4AF4-A42B-C9870F6F3877}"/>
              </a:ext>
            </a:extLst>
          </p:cNvPr>
          <p:cNvSpPr txBox="1"/>
          <p:nvPr userDrawn="1"/>
        </p:nvSpPr>
        <p:spPr>
          <a:xfrm>
            <a:off x="8246795" y="4828493"/>
            <a:ext cx="329277" cy="207749"/>
          </a:xfrm>
          <a:prstGeom prst="rect">
            <a:avLst/>
          </a:prstGeom>
          <a:noFill/>
        </p:spPr>
        <p:txBody>
          <a:bodyPr wrap="square" rIns="0" rtlCol="0">
            <a:spAutoFit/>
          </a:bodyPr>
          <a:lstStyle/>
          <a:p>
            <a:pPr algn="r"/>
            <a:fld id="{C25C054F-90E3-43D3-9F5F-0765C525DF5A}" type="slidenum">
              <a:rPr lang="nb-NO" sz="750" smtClean="0">
                <a:solidFill>
                  <a:schemeClr val="accent1"/>
                </a:solidFill>
              </a:rPr>
              <a:pPr algn="r"/>
              <a:t>‹#›</a:t>
            </a:fld>
            <a:endParaRPr lang="nb-NO" sz="750">
              <a:solidFill>
                <a:schemeClr val="accent1"/>
              </a:solidFill>
            </a:endParaRPr>
          </a:p>
        </p:txBody>
      </p:sp>
      <p:sp>
        <p:nvSpPr>
          <p:cNvPr id="9" name="Plassholder for bilde 2">
            <a:extLst>
              <a:ext uri="{FF2B5EF4-FFF2-40B4-BE49-F238E27FC236}">
                <a16:creationId xmlns:a16="http://schemas.microsoft.com/office/drawing/2014/main" id="{E352CC65-63DA-4462-B6FB-7438B018A0E8}"/>
              </a:ext>
            </a:extLst>
          </p:cNvPr>
          <p:cNvSpPr>
            <a:spLocks noGrp="1"/>
          </p:cNvSpPr>
          <p:nvPr>
            <p:ph type="pic" idx="1"/>
          </p:nvPr>
        </p:nvSpPr>
        <p:spPr>
          <a:xfrm>
            <a:off x="266" y="-1446"/>
            <a:ext cx="3069166" cy="5144946"/>
          </a:xfrm>
        </p:spPr>
        <p:txBody>
          <a:bodyPr>
            <a:normAutofit/>
          </a:bodyPr>
          <a:lstStyle>
            <a:lvl1pPr marL="0" indent="0">
              <a:buNone/>
              <a:defRPr sz="105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b-NO"/>
              <a:t>Klikk på ikonet for å legge til et bilde</a:t>
            </a:r>
          </a:p>
        </p:txBody>
      </p:sp>
      <p:sp>
        <p:nvSpPr>
          <p:cNvPr id="16" name="Plassholder for innhold 2">
            <a:extLst>
              <a:ext uri="{FF2B5EF4-FFF2-40B4-BE49-F238E27FC236}">
                <a16:creationId xmlns:a16="http://schemas.microsoft.com/office/drawing/2014/main" id="{67C1CF63-DD01-4D11-B72F-0057307D513B}"/>
              </a:ext>
            </a:extLst>
          </p:cNvPr>
          <p:cNvSpPr>
            <a:spLocks noGrp="1"/>
          </p:cNvSpPr>
          <p:nvPr>
            <p:ph sz="half" idx="14"/>
          </p:nvPr>
        </p:nvSpPr>
        <p:spPr>
          <a:xfrm>
            <a:off x="5973719" y="1067979"/>
            <a:ext cx="2592000" cy="3601538"/>
          </a:xfrm>
        </p:spPr>
        <p:txBody>
          <a:bodyPr lIns="0">
            <a:normAutofit/>
          </a:bodyPr>
          <a:lstStyle>
            <a:lvl1pPr marL="271463" indent="-271463">
              <a:buClr>
                <a:schemeClr val="tx2"/>
              </a:buClr>
              <a:buSzPct val="130000"/>
              <a:buFont typeface="Arial" panose="020B0604020202020204" pitchFamily="34" charset="0"/>
              <a:buChar char="■"/>
              <a:defRPr sz="1500"/>
            </a:lvl1pPr>
            <a:lvl2pPr marL="407194" indent="-135731">
              <a:buFont typeface="Calibri" panose="020F0502020204030204" pitchFamily="34" charset="0"/>
              <a:buChar char="−"/>
              <a:defRPr sz="1200"/>
            </a:lvl2pPr>
            <a:lvl3pPr marL="534591" indent="-127397">
              <a:defRPr sz="1200"/>
            </a:lvl3pPr>
            <a:lvl4pPr marL="670322" indent="-135731">
              <a:buFont typeface="Arial" panose="020B0604020202020204" pitchFamily="34" charset="0"/>
              <a:buChar char="▪"/>
              <a:defRPr sz="1200"/>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sp>
        <p:nvSpPr>
          <p:cNvPr id="17" name="Plassholder for innhold 2">
            <a:extLst>
              <a:ext uri="{FF2B5EF4-FFF2-40B4-BE49-F238E27FC236}">
                <a16:creationId xmlns:a16="http://schemas.microsoft.com/office/drawing/2014/main" id="{D664378B-CB59-4636-BFA4-EC11AC9A4D48}"/>
              </a:ext>
            </a:extLst>
          </p:cNvPr>
          <p:cNvSpPr>
            <a:spLocks noGrp="1"/>
          </p:cNvSpPr>
          <p:nvPr>
            <p:ph sz="half" idx="16"/>
          </p:nvPr>
        </p:nvSpPr>
        <p:spPr>
          <a:xfrm>
            <a:off x="3278865" y="1067979"/>
            <a:ext cx="2590850" cy="3601538"/>
          </a:xfrm>
        </p:spPr>
        <p:txBody>
          <a:bodyPr lIns="0">
            <a:normAutofit/>
          </a:bodyPr>
          <a:lstStyle>
            <a:lvl1pPr marL="271463" indent="-271463">
              <a:buClr>
                <a:schemeClr val="tx2"/>
              </a:buClr>
              <a:buSzPct val="130000"/>
              <a:buFont typeface="Arial" panose="020B0604020202020204" pitchFamily="34" charset="0"/>
              <a:buChar char="■"/>
              <a:defRPr sz="1500"/>
            </a:lvl1pPr>
            <a:lvl2pPr marL="407194" indent="-135731">
              <a:buFont typeface="Calibri" panose="020F0502020204030204" pitchFamily="34" charset="0"/>
              <a:buChar char="−"/>
              <a:defRPr sz="1200"/>
            </a:lvl2pPr>
            <a:lvl3pPr marL="534591" indent="-127397">
              <a:defRPr sz="1200"/>
            </a:lvl3pPr>
            <a:lvl4pPr marL="670322" indent="-135731">
              <a:buFont typeface="Arial" panose="020B0604020202020204" pitchFamily="34" charset="0"/>
              <a:buChar char="▪"/>
              <a:defRPr sz="1200"/>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spTree>
    <p:extLst>
      <p:ext uri="{BB962C8B-B14F-4D97-AF65-F5344CB8AC3E}">
        <p14:creationId xmlns:p14="http://schemas.microsoft.com/office/powerpoint/2010/main" val="108853623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 tekstkolonner - blå">
    <p:spTree>
      <p:nvGrpSpPr>
        <p:cNvPr id="1" name=""/>
        <p:cNvGrpSpPr/>
        <p:nvPr/>
      </p:nvGrpSpPr>
      <p:grpSpPr>
        <a:xfrm>
          <a:off x="0" y="0"/>
          <a:ext cx="0" cy="0"/>
          <a:chOff x="0" y="0"/>
          <a:chExt cx="0" cy="0"/>
        </a:xfrm>
      </p:grpSpPr>
      <p:sp>
        <p:nvSpPr>
          <p:cNvPr id="9" name="Rubrik 1">
            <a:extLst>
              <a:ext uri="{FF2B5EF4-FFF2-40B4-BE49-F238E27FC236}">
                <a16:creationId xmlns:a16="http://schemas.microsoft.com/office/drawing/2014/main" id="{DEA71157-1041-48F9-9265-8870220E910F}"/>
              </a:ext>
            </a:extLst>
          </p:cNvPr>
          <p:cNvSpPr>
            <a:spLocks noGrp="1"/>
          </p:cNvSpPr>
          <p:nvPr>
            <p:ph type="title" hasCustomPrompt="1"/>
          </p:nvPr>
        </p:nvSpPr>
        <p:spPr>
          <a:xfrm>
            <a:off x="567559" y="222674"/>
            <a:ext cx="6854798" cy="455830"/>
          </a:xfrm>
        </p:spPr>
        <p:txBody>
          <a:bodyPr lIns="0">
            <a:normAutofit/>
          </a:bodyPr>
          <a:lstStyle>
            <a:lvl1pPr>
              <a:defRPr sz="2100" b="1">
                <a:solidFill>
                  <a:schemeClr val="accent1"/>
                </a:solidFill>
              </a:defRPr>
            </a:lvl1pPr>
          </a:lstStyle>
          <a:p>
            <a:r>
              <a:rPr lang="nb-NO" noProof="0"/>
              <a:t>Overskrift</a:t>
            </a:r>
          </a:p>
        </p:txBody>
      </p:sp>
      <p:sp>
        <p:nvSpPr>
          <p:cNvPr id="13" name="Text Placeholder 6">
            <a:extLst>
              <a:ext uri="{FF2B5EF4-FFF2-40B4-BE49-F238E27FC236}">
                <a16:creationId xmlns:a16="http://schemas.microsoft.com/office/drawing/2014/main" id="{41CAAAB5-F1D9-4F72-A3C1-A38EF76B8D1C}"/>
              </a:ext>
            </a:extLst>
          </p:cNvPr>
          <p:cNvSpPr>
            <a:spLocks noGrp="1"/>
          </p:cNvSpPr>
          <p:nvPr>
            <p:ph type="body" sz="quarter" idx="13" hasCustomPrompt="1"/>
          </p:nvPr>
        </p:nvSpPr>
        <p:spPr>
          <a:xfrm>
            <a:off x="567047" y="576817"/>
            <a:ext cx="6854798" cy="292894"/>
          </a:xfrm>
          <a:prstGeom prst="rect">
            <a:avLst/>
          </a:prstGeom>
        </p:spPr>
        <p:txBody>
          <a:bodyPr lIns="0" anchor="b">
            <a:noAutofit/>
          </a:bodyPr>
          <a:lstStyle>
            <a:lvl1pPr marL="0" indent="0">
              <a:spcBef>
                <a:spcPts val="0"/>
              </a:spcBef>
              <a:spcAft>
                <a:spcPts val="0"/>
              </a:spcAft>
              <a:buNone/>
              <a:defRPr sz="1350" b="1" i="0" cap="none" spc="45" baseline="0">
                <a:solidFill>
                  <a:schemeClr val="tx1"/>
                </a:solidFill>
              </a:defRPr>
            </a:lvl1pPr>
            <a:lvl5pPr>
              <a:defRPr>
                <a:solidFill>
                  <a:schemeClr val="bg1"/>
                </a:solidFill>
              </a:defRPr>
            </a:lvl5pPr>
          </a:lstStyle>
          <a:p>
            <a:pPr lvl="0"/>
            <a:r>
              <a:rPr lang="nb-NO" noProof="0"/>
              <a:t>Underoverskrift</a:t>
            </a:r>
          </a:p>
        </p:txBody>
      </p:sp>
      <p:pic>
        <p:nvPicPr>
          <p:cNvPr id="14" name="Bilde 13" descr="Et bilde som inneholder tegning&#10;&#10;Automatisk generert beskrivelse">
            <a:extLst>
              <a:ext uri="{FF2B5EF4-FFF2-40B4-BE49-F238E27FC236}">
                <a16:creationId xmlns:a16="http://schemas.microsoft.com/office/drawing/2014/main" id="{A40D95CE-A109-4C40-99CD-F020B47703D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16591" y="6421"/>
            <a:ext cx="1620000" cy="653333"/>
          </a:xfrm>
          <a:prstGeom prst="rect">
            <a:avLst/>
          </a:prstGeom>
        </p:spPr>
      </p:pic>
      <p:sp>
        <p:nvSpPr>
          <p:cNvPr id="2" name="TekstSylinder 1">
            <a:extLst>
              <a:ext uri="{FF2B5EF4-FFF2-40B4-BE49-F238E27FC236}">
                <a16:creationId xmlns:a16="http://schemas.microsoft.com/office/drawing/2014/main" id="{98E7C6F2-F08D-446E-96B5-8DC136609691}"/>
              </a:ext>
            </a:extLst>
          </p:cNvPr>
          <p:cNvSpPr txBox="1"/>
          <p:nvPr userDrawn="1"/>
        </p:nvSpPr>
        <p:spPr>
          <a:xfrm>
            <a:off x="8246795" y="4828493"/>
            <a:ext cx="329277" cy="207749"/>
          </a:xfrm>
          <a:prstGeom prst="rect">
            <a:avLst/>
          </a:prstGeom>
          <a:noFill/>
        </p:spPr>
        <p:txBody>
          <a:bodyPr wrap="square" rIns="0" rtlCol="0">
            <a:spAutoFit/>
          </a:bodyPr>
          <a:lstStyle/>
          <a:p>
            <a:pPr algn="r"/>
            <a:fld id="{C25C054F-90E3-43D3-9F5F-0765C525DF5A}" type="slidenum">
              <a:rPr lang="nb-NO" sz="750" smtClean="0">
                <a:solidFill>
                  <a:schemeClr val="accent1"/>
                </a:solidFill>
              </a:rPr>
              <a:pPr algn="r"/>
              <a:t>‹#›</a:t>
            </a:fld>
            <a:endParaRPr lang="nb-NO" sz="750">
              <a:solidFill>
                <a:schemeClr val="accent1"/>
              </a:solidFill>
            </a:endParaRPr>
          </a:p>
        </p:txBody>
      </p:sp>
      <p:sp>
        <p:nvSpPr>
          <p:cNvPr id="11" name="Plassholder for innhold 2">
            <a:extLst>
              <a:ext uri="{FF2B5EF4-FFF2-40B4-BE49-F238E27FC236}">
                <a16:creationId xmlns:a16="http://schemas.microsoft.com/office/drawing/2014/main" id="{6C2C7924-D99F-44BE-A783-8C8203DD1AB0}"/>
              </a:ext>
            </a:extLst>
          </p:cNvPr>
          <p:cNvSpPr>
            <a:spLocks noGrp="1"/>
          </p:cNvSpPr>
          <p:nvPr>
            <p:ph sz="half" idx="1"/>
          </p:nvPr>
        </p:nvSpPr>
        <p:spPr>
          <a:xfrm>
            <a:off x="559593" y="1059657"/>
            <a:ext cx="2592001" cy="3768836"/>
          </a:xfrm>
          <a:solidFill>
            <a:srgbClr val="C1DAF3"/>
          </a:solidFill>
        </p:spPr>
        <p:txBody>
          <a:bodyPr lIns="90000">
            <a:normAutofit/>
          </a:bodyPr>
          <a:lstStyle>
            <a:lvl1pPr marL="271463" indent="-271463">
              <a:buClr>
                <a:schemeClr val="accent1"/>
              </a:buClr>
              <a:buSzPct val="130000"/>
              <a:buFont typeface="Arial" panose="020B0604020202020204" pitchFamily="34" charset="0"/>
              <a:buChar char="■"/>
              <a:defRPr sz="1200"/>
            </a:lvl1pPr>
            <a:lvl2pPr marL="407194" indent="-135731">
              <a:buFont typeface="Calibri" panose="020F0502020204030204" pitchFamily="34" charset="0"/>
              <a:buChar char="−"/>
              <a:defRPr sz="1200"/>
            </a:lvl2pPr>
            <a:lvl3pPr marL="534591" indent="-127397">
              <a:defRPr sz="1200"/>
            </a:lvl3pPr>
            <a:lvl4pPr marL="670322" indent="-135731">
              <a:buFont typeface="Arial" panose="020B0604020202020204" pitchFamily="34" charset="0"/>
              <a:buChar char="▪"/>
              <a:defRPr sz="1200"/>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sp>
        <p:nvSpPr>
          <p:cNvPr id="16" name="Plassholder for innhold 2">
            <a:extLst>
              <a:ext uri="{FF2B5EF4-FFF2-40B4-BE49-F238E27FC236}">
                <a16:creationId xmlns:a16="http://schemas.microsoft.com/office/drawing/2014/main" id="{0D4776C7-D6AF-4EDB-A6F9-1D0237A82562}"/>
              </a:ext>
            </a:extLst>
          </p:cNvPr>
          <p:cNvSpPr>
            <a:spLocks noGrp="1"/>
          </p:cNvSpPr>
          <p:nvPr>
            <p:ph sz="half" idx="14"/>
          </p:nvPr>
        </p:nvSpPr>
        <p:spPr>
          <a:xfrm>
            <a:off x="3277715" y="1069565"/>
            <a:ext cx="2592001" cy="3768836"/>
          </a:xfrm>
          <a:solidFill>
            <a:srgbClr val="C1DAF3"/>
          </a:solidFill>
        </p:spPr>
        <p:txBody>
          <a:bodyPr lIns="90000">
            <a:normAutofit/>
          </a:bodyPr>
          <a:lstStyle>
            <a:lvl1pPr marL="271463" indent="-271463">
              <a:buClr>
                <a:schemeClr val="accent1"/>
              </a:buClr>
              <a:buSzPct val="130000"/>
              <a:buFont typeface="Arial" panose="020B0604020202020204" pitchFamily="34" charset="0"/>
              <a:buChar char="■"/>
              <a:defRPr sz="1200"/>
            </a:lvl1pPr>
            <a:lvl2pPr marL="407194" indent="-135731">
              <a:buFont typeface="Calibri" panose="020F0502020204030204" pitchFamily="34" charset="0"/>
              <a:buChar char="−"/>
              <a:defRPr sz="1200"/>
            </a:lvl2pPr>
            <a:lvl3pPr marL="534591" indent="-127397">
              <a:defRPr sz="1200"/>
            </a:lvl3pPr>
            <a:lvl4pPr marL="670322" indent="-135731">
              <a:buFont typeface="Arial" panose="020B0604020202020204" pitchFamily="34" charset="0"/>
              <a:buChar char="▪"/>
              <a:defRPr sz="1200"/>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sp>
        <p:nvSpPr>
          <p:cNvPr id="17" name="Plassholder for innhold 2">
            <a:extLst>
              <a:ext uri="{FF2B5EF4-FFF2-40B4-BE49-F238E27FC236}">
                <a16:creationId xmlns:a16="http://schemas.microsoft.com/office/drawing/2014/main" id="{B9AD7412-4E8E-4EDA-862A-A7A441463008}"/>
              </a:ext>
            </a:extLst>
          </p:cNvPr>
          <p:cNvSpPr>
            <a:spLocks noGrp="1"/>
          </p:cNvSpPr>
          <p:nvPr>
            <p:ph sz="half" idx="15"/>
          </p:nvPr>
        </p:nvSpPr>
        <p:spPr>
          <a:xfrm>
            <a:off x="5984072" y="1061683"/>
            <a:ext cx="2592001" cy="3768836"/>
          </a:xfrm>
          <a:solidFill>
            <a:srgbClr val="C1DAF3"/>
          </a:solidFill>
        </p:spPr>
        <p:txBody>
          <a:bodyPr lIns="90000">
            <a:normAutofit/>
          </a:bodyPr>
          <a:lstStyle>
            <a:lvl1pPr marL="271463" indent="-271463">
              <a:buClr>
                <a:schemeClr val="accent1"/>
              </a:buClr>
              <a:buSzPct val="130000"/>
              <a:buFont typeface="Arial" panose="020B0604020202020204" pitchFamily="34" charset="0"/>
              <a:buChar char="■"/>
              <a:defRPr sz="1200"/>
            </a:lvl1pPr>
            <a:lvl2pPr marL="407194" indent="-135731">
              <a:buFont typeface="Calibri" panose="020F0502020204030204" pitchFamily="34" charset="0"/>
              <a:buChar char="−"/>
              <a:defRPr sz="1200"/>
            </a:lvl2pPr>
            <a:lvl3pPr marL="534591" indent="-127397">
              <a:defRPr sz="1200"/>
            </a:lvl3pPr>
            <a:lvl4pPr marL="670322" indent="-135731">
              <a:buFont typeface="Arial" panose="020B0604020202020204" pitchFamily="34" charset="0"/>
              <a:buChar char="▪"/>
              <a:defRPr sz="1200"/>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spTree>
    <p:extLst>
      <p:ext uri="{BB962C8B-B14F-4D97-AF65-F5344CB8AC3E}">
        <p14:creationId xmlns:p14="http://schemas.microsoft.com/office/powerpoint/2010/main" val="423734967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 tekstkolonner med tittel - blå  ">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9B265A3B-F043-4C28-88D5-7084C8870428}"/>
              </a:ext>
            </a:extLst>
          </p:cNvPr>
          <p:cNvSpPr/>
          <p:nvPr userDrawn="1"/>
        </p:nvSpPr>
        <p:spPr>
          <a:xfrm>
            <a:off x="559594" y="1065075"/>
            <a:ext cx="2592000" cy="3762678"/>
          </a:xfrm>
          <a:prstGeom prst="rect">
            <a:avLst/>
          </a:prstGeom>
          <a:solidFill>
            <a:srgbClr val="C1DAF3"/>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350"/>
          </a:p>
        </p:txBody>
      </p:sp>
      <p:sp>
        <p:nvSpPr>
          <p:cNvPr id="9" name="Rubrik 1">
            <a:extLst>
              <a:ext uri="{FF2B5EF4-FFF2-40B4-BE49-F238E27FC236}">
                <a16:creationId xmlns:a16="http://schemas.microsoft.com/office/drawing/2014/main" id="{DEA71157-1041-48F9-9265-8870220E910F}"/>
              </a:ext>
            </a:extLst>
          </p:cNvPr>
          <p:cNvSpPr>
            <a:spLocks noGrp="1"/>
          </p:cNvSpPr>
          <p:nvPr>
            <p:ph type="title" hasCustomPrompt="1"/>
          </p:nvPr>
        </p:nvSpPr>
        <p:spPr>
          <a:xfrm>
            <a:off x="567559" y="222674"/>
            <a:ext cx="6854798" cy="455830"/>
          </a:xfrm>
        </p:spPr>
        <p:txBody>
          <a:bodyPr lIns="0">
            <a:normAutofit/>
          </a:bodyPr>
          <a:lstStyle>
            <a:lvl1pPr>
              <a:defRPr sz="2100" b="1">
                <a:solidFill>
                  <a:schemeClr val="accent1"/>
                </a:solidFill>
              </a:defRPr>
            </a:lvl1pPr>
          </a:lstStyle>
          <a:p>
            <a:r>
              <a:rPr lang="nb-NO" noProof="0"/>
              <a:t>Overskrift</a:t>
            </a:r>
          </a:p>
        </p:txBody>
      </p:sp>
      <p:sp>
        <p:nvSpPr>
          <p:cNvPr id="13" name="Text Placeholder 6">
            <a:extLst>
              <a:ext uri="{FF2B5EF4-FFF2-40B4-BE49-F238E27FC236}">
                <a16:creationId xmlns:a16="http://schemas.microsoft.com/office/drawing/2014/main" id="{41CAAAB5-F1D9-4F72-A3C1-A38EF76B8D1C}"/>
              </a:ext>
            </a:extLst>
          </p:cNvPr>
          <p:cNvSpPr>
            <a:spLocks noGrp="1"/>
          </p:cNvSpPr>
          <p:nvPr>
            <p:ph type="body" sz="quarter" idx="13" hasCustomPrompt="1"/>
          </p:nvPr>
        </p:nvSpPr>
        <p:spPr>
          <a:xfrm>
            <a:off x="567047" y="576817"/>
            <a:ext cx="6854798" cy="292894"/>
          </a:xfrm>
          <a:prstGeom prst="rect">
            <a:avLst/>
          </a:prstGeom>
        </p:spPr>
        <p:txBody>
          <a:bodyPr lIns="0" anchor="b">
            <a:noAutofit/>
          </a:bodyPr>
          <a:lstStyle>
            <a:lvl1pPr marL="0" indent="0">
              <a:spcBef>
                <a:spcPts val="0"/>
              </a:spcBef>
              <a:spcAft>
                <a:spcPts val="0"/>
              </a:spcAft>
              <a:buNone/>
              <a:defRPr sz="1350" b="1" i="0" cap="none" spc="45" baseline="0">
                <a:solidFill>
                  <a:schemeClr val="tx1"/>
                </a:solidFill>
              </a:defRPr>
            </a:lvl1pPr>
            <a:lvl5pPr>
              <a:defRPr>
                <a:solidFill>
                  <a:schemeClr val="bg1"/>
                </a:solidFill>
              </a:defRPr>
            </a:lvl5pPr>
          </a:lstStyle>
          <a:p>
            <a:pPr lvl="0"/>
            <a:r>
              <a:rPr lang="nb-NO" noProof="0"/>
              <a:t>Underoverskrift</a:t>
            </a:r>
          </a:p>
        </p:txBody>
      </p:sp>
      <p:pic>
        <p:nvPicPr>
          <p:cNvPr id="14" name="Bilde 13" descr="Et bilde som inneholder tegning&#10;&#10;Automatisk generert beskrivelse">
            <a:extLst>
              <a:ext uri="{FF2B5EF4-FFF2-40B4-BE49-F238E27FC236}">
                <a16:creationId xmlns:a16="http://schemas.microsoft.com/office/drawing/2014/main" id="{A40D95CE-A109-4C40-99CD-F020B47703D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16591" y="6421"/>
            <a:ext cx="1620000" cy="653333"/>
          </a:xfrm>
          <a:prstGeom prst="rect">
            <a:avLst/>
          </a:prstGeom>
        </p:spPr>
      </p:pic>
      <p:sp>
        <p:nvSpPr>
          <p:cNvPr id="2" name="TekstSylinder 1">
            <a:extLst>
              <a:ext uri="{FF2B5EF4-FFF2-40B4-BE49-F238E27FC236}">
                <a16:creationId xmlns:a16="http://schemas.microsoft.com/office/drawing/2014/main" id="{98E7C6F2-F08D-446E-96B5-8DC136609691}"/>
              </a:ext>
            </a:extLst>
          </p:cNvPr>
          <p:cNvSpPr txBox="1"/>
          <p:nvPr userDrawn="1"/>
        </p:nvSpPr>
        <p:spPr>
          <a:xfrm>
            <a:off x="8246795" y="4828493"/>
            <a:ext cx="329277" cy="207749"/>
          </a:xfrm>
          <a:prstGeom prst="rect">
            <a:avLst/>
          </a:prstGeom>
          <a:noFill/>
        </p:spPr>
        <p:txBody>
          <a:bodyPr wrap="square" rIns="0" rtlCol="0">
            <a:spAutoFit/>
          </a:bodyPr>
          <a:lstStyle/>
          <a:p>
            <a:pPr algn="r"/>
            <a:fld id="{C25C054F-90E3-43D3-9F5F-0765C525DF5A}" type="slidenum">
              <a:rPr lang="nb-NO" sz="750" smtClean="0">
                <a:solidFill>
                  <a:schemeClr val="accent1"/>
                </a:solidFill>
              </a:rPr>
              <a:pPr algn="r"/>
              <a:t>‹#›</a:t>
            </a:fld>
            <a:endParaRPr lang="nb-NO" sz="750">
              <a:solidFill>
                <a:schemeClr val="accent1"/>
              </a:solidFill>
            </a:endParaRPr>
          </a:p>
        </p:txBody>
      </p:sp>
      <p:sp>
        <p:nvSpPr>
          <p:cNvPr id="11" name="Text Placeholder 6">
            <a:extLst>
              <a:ext uri="{FF2B5EF4-FFF2-40B4-BE49-F238E27FC236}">
                <a16:creationId xmlns:a16="http://schemas.microsoft.com/office/drawing/2014/main" id="{E82AD104-F77F-43EA-9053-DB4087F903B6}"/>
              </a:ext>
            </a:extLst>
          </p:cNvPr>
          <p:cNvSpPr>
            <a:spLocks noGrp="1"/>
          </p:cNvSpPr>
          <p:nvPr>
            <p:ph type="body" sz="quarter" idx="19" hasCustomPrompt="1"/>
          </p:nvPr>
        </p:nvSpPr>
        <p:spPr>
          <a:xfrm>
            <a:off x="621059" y="1143289"/>
            <a:ext cx="2453737" cy="292894"/>
          </a:xfrm>
          <a:prstGeom prst="rect">
            <a:avLst/>
          </a:prstGeom>
        </p:spPr>
        <p:txBody>
          <a:bodyPr lIns="0" anchor="b">
            <a:noAutofit/>
          </a:bodyPr>
          <a:lstStyle>
            <a:lvl1pPr marL="0" indent="0">
              <a:spcBef>
                <a:spcPts val="0"/>
              </a:spcBef>
              <a:spcAft>
                <a:spcPts val="0"/>
              </a:spcAft>
              <a:buNone/>
              <a:defRPr sz="1350" b="1" i="0" cap="none" spc="45" baseline="0">
                <a:solidFill>
                  <a:schemeClr val="accent1"/>
                </a:solidFill>
              </a:defRPr>
            </a:lvl1pPr>
            <a:lvl5pPr>
              <a:defRPr>
                <a:solidFill>
                  <a:schemeClr val="bg1"/>
                </a:solidFill>
              </a:defRPr>
            </a:lvl5pPr>
          </a:lstStyle>
          <a:p>
            <a:pPr lvl="0"/>
            <a:r>
              <a:rPr lang="nb-NO" noProof="0"/>
              <a:t>Tittel</a:t>
            </a:r>
          </a:p>
        </p:txBody>
      </p:sp>
      <p:sp>
        <p:nvSpPr>
          <p:cNvPr id="16" name="Rektangel 15">
            <a:extLst>
              <a:ext uri="{FF2B5EF4-FFF2-40B4-BE49-F238E27FC236}">
                <a16:creationId xmlns:a16="http://schemas.microsoft.com/office/drawing/2014/main" id="{2B363195-E9F7-426A-AC1E-DD763D3B51C5}"/>
              </a:ext>
            </a:extLst>
          </p:cNvPr>
          <p:cNvSpPr/>
          <p:nvPr userDrawn="1"/>
        </p:nvSpPr>
        <p:spPr>
          <a:xfrm>
            <a:off x="5984072" y="1059656"/>
            <a:ext cx="2592000" cy="3762678"/>
          </a:xfrm>
          <a:prstGeom prst="rect">
            <a:avLst/>
          </a:prstGeom>
          <a:solidFill>
            <a:srgbClr val="C1DAF3"/>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350"/>
          </a:p>
        </p:txBody>
      </p:sp>
      <p:sp>
        <p:nvSpPr>
          <p:cNvPr id="18" name="Text Placeholder 6">
            <a:extLst>
              <a:ext uri="{FF2B5EF4-FFF2-40B4-BE49-F238E27FC236}">
                <a16:creationId xmlns:a16="http://schemas.microsoft.com/office/drawing/2014/main" id="{090EB7EA-EDE9-42E1-80CA-CB92BC37660C}"/>
              </a:ext>
            </a:extLst>
          </p:cNvPr>
          <p:cNvSpPr>
            <a:spLocks noGrp="1"/>
          </p:cNvSpPr>
          <p:nvPr>
            <p:ph type="body" sz="quarter" idx="21" hasCustomPrompt="1"/>
          </p:nvPr>
        </p:nvSpPr>
        <p:spPr>
          <a:xfrm>
            <a:off x="6045537" y="1129988"/>
            <a:ext cx="2453737" cy="292894"/>
          </a:xfrm>
          <a:prstGeom prst="rect">
            <a:avLst/>
          </a:prstGeom>
        </p:spPr>
        <p:txBody>
          <a:bodyPr lIns="0" anchor="b">
            <a:noAutofit/>
          </a:bodyPr>
          <a:lstStyle>
            <a:lvl1pPr marL="0" indent="0">
              <a:spcBef>
                <a:spcPts val="0"/>
              </a:spcBef>
              <a:spcAft>
                <a:spcPts val="0"/>
              </a:spcAft>
              <a:buNone/>
              <a:defRPr sz="1350" b="1" i="0" cap="none" spc="45" baseline="0">
                <a:solidFill>
                  <a:schemeClr val="accent1"/>
                </a:solidFill>
              </a:defRPr>
            </a:lvl1pPr>
            <a:lvl5pPr>
              <a:defRPr>
                <a:solidFill>
                  <a:schemeClr val="bg1"/>
                </a:solidFill>
              </a:defRPr>
            </a:lvl5pPr>
          </a:lstStyle>
          <a:p>
            <a:pPr lvl="0"/>
            <a:r>
              <a:rPr lang="nb-NO" noProof="0"/>
              <a:t>Tittel</a:t>
            </a:r>
          </a:p>
        </p:txBody>
      </p:sp>
      <p:sp>
        <p:nvSpPr>
          <p:cNvPr id="19" name="Rektangel 18">
            <a:extLst>
              <a:ext uri="{FF2B5EF4-FFF2-40B4-BE49-F238E27FC236}">
                <a16:creationId xmlns:a16="http://schemas.microsoft.com/office/drawing/2014/main" id="{90A76AF1-C25E-48AD-A5A0-03FB0E798EC6}"/>
              </a:ext>
            </a:extLst>
          </p:cNvPr>
          <p:cNvSpPr/>
          <p:nvPr userDrawn="1"/>
        </p:nvSpPr>
        <p:spPr>
          <a:xfrm>
            <a:off x="3271833" y="1059656"/>
            <a:ext cx="2592000" cy="3762678"/>
          </a:xfrm>
          <a:prstGeom prst="rect">
            <a:avLst/>
          </a:prstGeom>
          <a:solidFill>
            <a:srgbClr val="C1DAF3"/>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350"/>
          </a:p>
        </p:txBody>
      </p:sp>
      <p:sp>
        <p:nvSpPr>
          <p:cNvPr id="21" name="Text Placeholder 6">
            <a:extLst>
              <a:ext uri="{FF2B5EF4-FFF2-40B4-BE49-F238E27FC236}">
                <a16:creationId xmlns:a16="http://schemas.microsoft.com/office/drawing/2014/main" id="{1534CFF6-473E-4091-9330-47C178D20F1B}"/>
              </a:ext>
            </a:extLst>
          </p:cNvPr>
          <p:cNvSpPr>
            <a:spLocks noGrp="1"/>
          </p:cNvSpPr>
          <p:nvPr>
            <p:ph type="body" sz="quarter" idx="23" hasCustomPrompt="1"/>
          </p:nvPr>
        </p:nvSpPr>
        <p:spPr>
          <a:xfrm>
            <a:off x="3333298" y="1129988"/>
            <a:ext cx="2453737" cy="292894"/>
          </a:xfrm>
          <a:prstGeom prst="rect">
            <a:avLst/>
          </a:prstGeom>
        </p:spPr>
        <p:txBody>
          <a:bodyPr lIns="0" anchor="b">
            <a:noAutofit/>
          </a:bodyPr>
          <a:lstStyle>
            <a:lvl1pPr marL="0" indent="0">
              <a:spcBef>
                <a:spcPts val="0"/>
              </a:spcBef>
              <a:spcAft>
                <a:spcPts val="0"/>
              </a:spcAft>
              <a:buNone/>
              <a:defRPr sz="1350" b="1" i="0" cap="none" spc="45" baseline="0">
                <a:solidFill>
                  <a:schemeClr val="accent1"/>
                </a:solidFill>
              </a:defRPr>
            </a:lvl1pPr>
            <a:lvl5pPr>
              <a:defRPr>
                <a:solidFill>
                  <a:schemeClr val="bg1"/>
                </a:solidFill>
              </a:defRPr>
            </a:lvl5pPr>
          </a:lstStyle>
          <a:p>
            <a:pPr lvl="0"/>
            <a:r>
              <a:rPr lang="nb-NO" noProof="0"/>
              <a:t>Tittel</a:t>
            </a:r>
          </a:p>
        </p:txBody>
      </p:sp>
      <p:sp>
        <p:nvSpPr>
          <p:cNvPr id="22" name="Plassholder for innhold 2">
            <a:extLst>
              <a:ext uri="{FF2B5EF4-FFF2-40B4-BE49-F238E27FC236}">
                <a16:creationId xmlns:a16="http://schemas.microsoft.com/office/drawing/2014/main" id="{CEFD8BB4-9BAC-4A81-9A14-2D9C1CCD59E6}"/>
              </a:ext>
            </a:extLst>
          </p:cNvPr>
          <p:cNvSpPr>
            <a:spLocks noGrp="1"/>
          </p:cNvSpPr>
          <p:nvPr>
            <p:ph sz="half" idx="1"/>
          </p:nvPr>
        </p:nvSpPr>
        <p:spPr>
          <a:xfrm>
            <a:off x="559593" y="1436183"/>
            <a:ext cx="2592001" cy="3392310"/>
          </a:xfrm>
          <a:solidFill>
            <a:srgbClr val="C1DAF3"/>
          </a:solidFill>
        </p:spPr>
        <p:txBody>
          <a:bodyPr lIns="90000">
            <a:normAutofit/>
          </a:bodyPr>
          <a:lstStyle>
            <a:lvl1pPr marL="271463" indent="-271463">
              <a:buClr>
                <a:schemeClr val="accent1"/>
              </a:buClr>
              <a:buSzPct val="130000"/>
              <a:buFont typeface="Arial" panose="020B0604020202020204" pitchFamily="34" charset="0"/>
              <a:buChar char="■"/>
              <a:defRPr sz="1200"/>
            </a:lvl1pPr>
            <a:lvl2pPr marL="407194" indent="-135731">
              <a:buFont typeface="Calibri" panose="020F0502020204030204" pitchFamily="34" charset="0"/>
              <a:buChar char="−"/>
              <a:defRPr sz="1200"/>
            </a:lvl2pPr>
            <a:lvl3pPr marL="534591" indent="-127397">
              <a:defRPr sz="1200"/>
            </a:lvl3pPr>
            <a:lvl4pPr marL="670322" indent="-135731">
              <a:buFont typeface="Arial" panose="020B0604020202020204" pitchFamily="34" charset="0"/>
              <a:buChar char="▪"/>
              <a:defRPr sz="1200"/>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sp>
        <p:nvSpPr>
          <p:cNvPr id="23" name="Plassholder for innhold 2">
            <a:extLst>
              <a:ext uri="{FF2B5EF4-FFF2-40B4-BE49-F238E27FC236}">
                <a16:creationId xmlns:a16="http://schemas.microsoft.com/office/drawing/2014/main" id="{7D11A680-F163-4C61-860E-EC526E675842}"/>
              </a:ext>
            </a:extLst>
          </p:cNvPr>
          <p:cNvSpPr>
            <a:spLocks noGrp="1"/>
          </p:cNvSpPr>
          <p:nvPr>
            <p:ph sz="half" idx="24"/>
          </p:nvPr>
        </p:nvSpPr>
        <p:spPr>
          <a:xfrm>
            <a:off x="3276000" y="1430024"/>
            <a:ext cx="2592001" cy="3392310"/>
          </a:xfrm>
          <a:solidFill>
            <a:srgbClr val="C1DAF3"/>
          </a:solidFill>
        </p:spPr>
        <p:txBody>
          <a:bodyPr lIns="90000">
            <a:normAutofit/>
          </a:bodyPr>
          <a:lstStyle>
            <a:lvl1pPr marL="271463" indent="-271463">
              <a:buClr>
                <a:schemeClr val="accent1"/>
              </a:buClr>
              <a:buSzPct val="130000"/>
              <a:buFont typeface="Arial" panose="020B0604020202020204" pitchFamily="34" charset="0"/>
              <a:buChar char="■"/>
              <a:defRPr sz="1200"/>
            </a:lvl1pPr>
            <a:lvl2pPr marL="407194" indent="-135731">
              <a:buFont typeface="Calibri" panose="020F0502020204030204" pitchFamily="34" charset="0"/>
              <a:buChar char="−"/>
              <a:defRPr sz="1200"/>
            </a:lvl2pPr>
            <a:lvl3pPr marL="534591" indent="-127397">
              <a:defRPr sz="1200"/>
            </a:lvl3pPr>
            <a:lvl4pPr marL="670322" indent="-135731">
              <a:buFont typeface="Arial" panose="020B0604020202020204" pitchFamily="34" charset="0"/>
              <a:buChar char="▪"/>
              <a:defRPr sz="1200"/>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sp>
        <p:nvSpPr>
          <p:cNvPr id="24" name="Plassholder for innhold 2">
            <a:extLst>
              <a:ext uri="{FF2B5EF4-FFF2-40B4-BE49-F238E27FC236}">
                <a16:creationId xmlns:a16="http://schemas.microsoft.com/office/drawing/2014/main" id="{720C35F6-25B8-458C-980F-1EB9AEC330BA}"/>
              </a:ext>
            </a:extLst>
          </p:cNvPr>
          <p:cNvSpPr>
            <a:spLocks noGrp="1"/>
          </p:cNvSpPr>
          <p:nvPr>
            <p:ph sz="half" idx="25"/>
          </p:nvPr>
        </p:nvSpPr>
        <p:spPr>
          <a:xfrm>
            <a:off x="5988240" y="1422881"/>
            <a:ext cx="2592001" cy="3392310"/>
          </a:xfrm>
          <a:solidFill>
            <a:srgbClr val="C1DAF3"/>
          </a:solidFill>
        </p:spPr>
        <p:txBody>
          <a:bodyPr lIns="90000">
            <a:normAutofit/>
          </a:bodyPr>
          <a:lstStyle>
            <a:lvl1pPr marL="271463" indent="-271463">
              <a:buClr>
                <a:schemeClr val="accent1"/>
              </a:buClr>
              <a:buSzPct val="130000"/>
              <a:buFont typeface="Arial" panose="020B0604020202020204" pitchFamily="34" charset="0"/>
              <a:buChar char="■"/>
              <a:defRPr sz="1200"/>
            </a:lvl1pPr>
            <a:lvl2pPr marL="407194" indent="-135731">
              <a:buFont typeface="Calibri" panose="020F0502020204030204" pitchFamily="34" charset="0"/>
              <a:buChar char="−"/>
              <a:defRPr sz="1200"/>
            </a:lvl2pPr>
            <a:lvl3pPr marL="534591" indent="-127397">
              <a:defRPr sz="1200"/>
            </a:lvl3pPr>
            <a:lvl4pPr marL="670322" indent="-135731">
              <a:buFont typeface="Arial" panose="020B0604020202020204" pitchFamily="34" charset="0"/>
              <a:buChar char="▪"/>
              <a:defRPr sz="1200"/>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spTree>
    <p:extLst>
      <p:ext uri="{BB962C8B-B14F-4D97-AF65-F5344CB8AC3E}">
        <p14:creationId xmlns:p14="http://schemas.microsoft.com/office/powerpoint/2010/main" val="182710856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3 kolonner med logo og tekst">
    <p:spTree>
      <p:nvGrpSpPr>
        <p:cNvPr id="1" name=""/>
        <p:cNvGrpSpPr/>
        <p:nvPr/>
      </p:nvGrpSpPr>
      <p:grpSpPr>
        <a:xfrm>
          <a:off x="0" y="0"/>
          <a:ext cx="0" cy="0"/>
          <a:chOff x="0" y="0"/>
          <a:chExt cx="0" cy="0"/>
        </a:xfrm>
      </p:grpSpPr>
      <p:sp>
        <p:nvSpPr>
          <p:cNvPr id="9" name="Plassholder for bilde 2">
            <a:extLst>
              <a:ext uri="{FF2B5EF4-FFF2-40B4-BE49-F238E27FC236}">
                <a16:creationId xmlns:a16="http://schemas.microsoft.com/office/drawing/2014/main" id="{C1152A0E-4565-47F2-8A04-AB1652A6E1CC}"/>
              </a:ext>
            </a:extLst>
          </p:cNvPr>
          <p:cNvSpPr>
            <a:spLocks noGrp="1"/>
          </p:cNvSpPr>
          <p:nvPr>
            <p:ph type="pic" idx="1"/>
          </p:nvPr>
        </p:nvSpPr>
        <p:spPr>
          <a:xfrm>
            <a:off x="566890" y="1067192"/>
            <a:ext cx="2592000" cy="868449"/>
          </a:xfrm>
        </p:spPr>
        <p:txBody>
          <a:bodyPr>
            <a:normAutofit/>
          </a:bodyPr>
          <a:lstStyle>
            <a:lvl1pPr marL="0" indent="0" algn="ctr">
              <a:buNone/>
              <a:defRPr sz="675"/>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b-NO"/>
              <a:t>Klikk på ikonet for å legge til et bilde</a:t>
            </a:r>
          </a:p>
        </p:txBody>
      </p:sp>
      <p:sp>
        <p:nvSpPr>
          <p:cNvPr id="13" name="Rubrik 1">
            <a:extLst>
              <a:ext uri="{FF2B5EF4-FFF2-40B4-BE49-F238E27FC236}">
                <a16:creationId xmlns:a16="http://schemas.microsoft.com/office/drawing/2014/main" id="{D6009B22-8BAF-4C08-8A0B-EF95DE057143}"/>
              </a:ext>
            </a:extLst>
          </p:cNvPr>
          <p:cNvSpPr>
            <a:spLocks noGrp="1"/>
          </p:cNvSpPr>
          <p:nvPr>
            <p:ph type="title" hasCustomPrompt="1"/>
          </p:nvPr>
        </p:nvSpPr>
        <p:spPr>
          <a:xfrm>
            <a:off x="567559" y="222674"/>
            <a:ext cx="6854798" cy="455830"/>
          </a:xfrm>
        </p:spPr>
        <p:txBody>
          <a:bodyPr lIns="0">
            <a:normAutofit/>
          </a:bodyPr>
          <a:lstStyle>
            <a:lvl1pPr>
              <a:defRPr sz="2100" b="1">
                <a:solidFill>
                  <a:schemeClr val="accent1"/>
                </a:solidFill>
              </a:defRPr>
            </a:lvl1pPr>
          </a:lstStyle>
          <a:p>
            <a:r>
              <a:rPr lang="nb-NO" noProof="0"/>
              <a:t>Overskrift</a:t>
            </a:r>
          </a:p>
        </p:txBody>
      </p:sp>
      <p:sp>
        <p:nvSpPr>
          <p:cNvPr id="14" name="Text Placeholder 6">
            <a:extLst>
              <a:ext uri="{FF2B5EF4-FFF2-40B4-BE49-F238E27FC236}">
                <a16:creationId xmlns:a16="http://schemas.microsoft.com/office/drawing/2014/main" id="{2E0F30A5-CA50-49C5-9E3B-23EFE9FCD2A6}"/>
              </a:ext>
            </a:extLst>
          </p:cNvPr>
          <p:cNvSpPr>
            <a:spLocks noGrp="1"/>
          </p:cNvSpPr>
          <p:nvPr>
            <p:ph type="body" sz="quarter" idx="13" hasCustomPrompt="1"/>
          </p:nvPr>
        </p:nvSpPr>
        <p:spPr>
          <a:xfrm>
            <a:off x="567047" y="576817"/>
            <a:ext cx="6854798" cy="292894"/>
          </a:xfrm>
          <a:prstGeom prst="rect">
            <a:avLst/>
          </a:prstGeom>
        </p:spPr>
        <p:txBody>
          <a:bodyPr lIns="0" anchor="b">
            <a:noAutofit/>
          </a:bodyPr>
          <a:lstStyle>
            <a:lvl1pPr marL="0" indent="0">
              <a:spcBef>
                <a:spcPts val="0"/>
              </a:spcBef>
              <a:spcAft>
                <a:spcPts val="0"/>
              </a:spcAft>
              <a:buNone/>
              <a:defRPr sz="1350" b="1" i="0" cap="none" spc="45" baseline="0">
                <a:solidFill>
                  <a:schemeClr val="tx1"/>
                </a:solidFill>
              </a:defRPr>
            </a:lvl1pPr>
            <a:lvl5pPr>
              <a:defRPr>
                <a:solidFill>
                  <a:schemeClr val="bg1"/>
                </a:solidFill>
              </a:defRPr>
            </a:lvl5pPr>
          </a:lstStyle>
          <a:p>
            <a:pPr lvl="0"/>
            <a:r>
              <a:rPr lang="nb-NO" noProof="0"/>
              <a:t>Underoverskrift</a:t>
            </a:r>
          </a:p>
        </p:txBody>
      </p:sp>
      <p:pic>
        <p:nvPicPr>
          <p:cNvPr id="16" name="Bilde 15" descr="Et bilde som inneholder tegning&#10;&#10;Automatisk generert beskrivelse">
            <a:extLst>
              <a:ext uri="{FF2B5EF4-FFF2-40B4-BE49-F238E27FC236}">
                <a16:creationId xmlns:a16="http://schemas.microsoft.com/office/drawing/2014/main" id="{B6A50FEE-309B-4D6F-8C56-81506FC4FC2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16591" y="6421"/>
            <a:ext cx="1620000" cy="653333"/>
          </a:xfrm>
          <a:prstGeom prst="rect">
            <a:avLst/>
          </a:prstGeom>
        </p:spPr>
      </p:pic>
      <p:sp>
        <p:nvSpPr>
          <p:cNvPr id="21" name="Plassholder for bilde 2">
            <a:extLst>
              <a:ext uri="{FF2B5EF4-FFF2-40B4-BE49-F238E27FC236}">
                <a16:creationId xmlns:a16="http://schemas.microsoft.com/office/drawing/2014/main" id="{9E5CB9BE-D632-4A00-BC4A-E653D17AB3F8}"/>
              </a:ext>
            </a:extLst>
          </p:cNvPr>
          <p:cNvSpPr>
            <a:spLocks noGrp="1"/>
          </p:cNvSpPr>
          <p:nvPr>
            <p:ph type="pic" idx="17"/>
          </p:nvPr>
        </p:nvSpPr>
        <p:spPr>
          <a:xfrm>
            <a:off x="3283144" y="1067192"/>
            <a:ext cx="2592000" cy="868449"/>
          </a:xfrm>
        </p:spPr>
        <p:txBody>
          <a:bodyPr>
            <a:normAutofit/>
          </a:bodyPr>
          <a:lstStyle>
            <a:lvl1pPr marL="0" indent="0" algn="ctr">
              <a:buNone/>
              <a:defRPr sz="675"/>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b-NO"/>
              <a:t>Klikk på ikonet for å legge til et bilde</a:t>
            </a:r>
          </a:p>
        </p:txBody>
      </p:sp>
      <p:sp>
        <p:nvSpPr>
          <p:cNvPr id="22" name="Plassholder for bilde 2">
            <a:extLst>
              <a:ext uri="{FF2B5EF4-FFF2-40B4-BE49-F238E27FC236}">
                <a16:creationId xmlns:a16="http://schemas.microsoft.com/office/drawing/2014/main" id="{C3354B15-AC7B-498F-8C00-C2FEF5B24933}"/>
              </a:ext>
            </a:extLst>
          </p:cNvPr>
          <p:cNvSpPr>
            <a:spLocks noGrp="1"/>
          </p:cNvSpPr>
          <p:nvPr>
            <p:ph type="pic" idx="18"/>
          </p:nvPr>
        </p:nvSpPr>
        <p:spPr>
          <a:xfrm>
            <a:off x="5992406" y="1067192"/>
            <a:ext cx="2592000" cy="868449"/>
          </a:xfrm>
        </p:spPr>
        <p:txBody>
          <a:bodyPr>
            <a:normAutofit/>
          </a:bodyPr>
          <a:lstStyle>
            <a:lvl1pPr marL="0" indent="0" algn="ctr">
              <a:buNone/>
              <a:defRPr sz="675"/>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b-NO"/>
              <a:t>Klikk på ikonet for å legge til et bilde</a:t>
            </a:r>
          </a:p>
        </p:txBody>
      </p:sp>
      <p:sp>
        <p:nvSpPr>
          <p:cNvPr id="2" name="TekstSylinder 1">
            <a:extLst>
              <a:ext uri="{FF2B5EF4-FFF2-40B4-BE49-F238E27FC236}">
                <a16:creationId xmlns:a16="http://schemas.microsoft.com/office/drawing/2014/main" id="{6F3BC52D-0FA8-468E-A37B-8008F7DA1470}"/>
              </a:ext>
            </a:extLst>
          </p:cNvPr>
          <p:cNvSpPr txBox="1"/>
          <p:nvPr userDrawn="1"/>
        </p:nvSpPr>
        <p:spPr>
          <a:xfrm>
            <a:off x="8246795" y="4828493"/>
            <a:ext cx="329277" cy="207749"/>
          </a:xfrm>
          <a:prstGeom prst="rect">
            <a:avLst/>
          </a:prstGeom>
          <a:noFill/>
        </p:spPr>
        <p:txBody>
          <a:bodyPr wrap="square" rIns="0" rtlCol="0">
            <a:spAutoFit/>
          </a:bodyPr>
          <a:lstStyle/>
          <a:p>
            <a:pPr algn="r"/>
            <a:fld id="{C25C054F-90E3-43D3-9F5F-0765C525DF5A}" type="slidenum">
              <a:rPr lang="nb-NO" sz="750" smtClean="0">
                <a:solidFill>
                  <a:schemeClr val="accent1"/>
                </a:solidFill>
              </a:rPr>
              <a:pPr algn="r"/>
              <a:t>‹#›</a:t>
            </a:fld>
            <a:endParaRPr lang="nb-NO" sz="750">
              <a:solidFill>
                <a:schemeClr val="accent1"/>
              </a:solidFill>
            </a:endParaRPr>
          </a:p>
        </p:txBody>
      </p:sp>
      <p:sp>
        <p:nvSpPr>
          <p:cNvPr id="12" name="Plassholder for innhold 2">
            <a:extLst>
              <a:ext uri="{FF2B5EF4-FFF2-40B4-BE49-F238E27FC236}">
                <a16:creationId xmlns:a16="http://schemas.microsoft.com/office/drawing/2014/main" id="{709B778C-48A8-4B45-84E6-0A332855818A}"/>
              </a:ext>
            </a:extLst>
          </p:cNvPr>
          <p:cNvSpPr>
            <a:spLocks noGrp="1"/>
          </p:cNvSpPr>
          <p:nvPr>
            <p:ph sz="half" idx="19"/>
          </p:nvPr>
        </p:nvSpPr>
        <p:spPr>
          <a:xfrm>
            <a:off x="5982743" y="1988398"/>
            <a:ext cx="2592000" cy="2730989"/>
          </a:xfrm>
        </p:spPr>
        <p:txBody>
          <a:bodyPr lIns="0">
            <a:normAutofit/>
          </a:bodyPr>
          <a:lstStyle>
            <a:lvl1pPr marL="271463" indent="-271463">
              <a:buClr>
                <a:schemeClr val="tx2"/>
              </a:buClr>
              <a:buSzPct val="130000"/>
              <a:buFont typeface="Arial" panose="020B0604020202020204" pitchFamily="34" charset="0"/>
              <a:buChar char="■"/>
              <a:defRPr sz="1500"/>
            </a:lvl1pPr>
            <a:lvl2pPr marL="407194" indent="-135731">
              <a:buFont typeface="Calibri" panose="020F0502020204030204" pitchFamily="34" charset="0"/>
              <a:buChar char="−"/>
              <a:defRPr sz="1200"/>
            </a:lvl2pPr>
            <a:lvl3pPr marL="534591" indent="-127397">
              <a:defRPr sz="1200"/>
            </a:lvl3pPr>
            <a:lvl4pPr marL="670322" indent="-135731">
              <a:buFont typeface="Arial" panose="020B0604020202020204" pitchFamily="34" charset="0"/>
              <a:buChar char="▪"/>
              <a:defRPr sz="1200"/>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sp>
        <p:nvSpPr>
          <p:cNvPr id="17" name="Plassholder for innhold 2">
            <a:extLst>
              <a:ext uri="{FF2B5EF4-FFF2-40B4-BE49-F238E27FC236}">
                <a16:creationId xmlns:a16="http://schemas.microsoft.com/office/drawing/2014/main" id="{8D1C574C-A9E4-48A4-B856-BDF82BCF5074}"/>
              </a:ext>
            </a:extLst>
          </p:cNvPr>
          <p:cNvSpPr>
            <a:spLocks noGrp="1"/>
          </p:cNvSpPr>
          <p:nvPr>
            <p:ph sz="half" idx="20"/>
          </p:nvPr>
        </p:nvSpPr>
        <p:spPr>
          <a:xfrm>
            <a:off x="3278865" y="1988398"/>
            <a:ext cx="2590850" cy="2730989"/>
          </a:xfrm>
        </p:spPr>
        <p:txBody>
          <a:bodyPr lIns="0">
            <a:normAutofit/>
          </a:bodyPr>
          <a:lstStyle>
            <a:lvl1pPr marL="271463" indent="-271463">
              <a:buClr>
                <a:schemeClr val="tx2"/>
              </a:buClr>
              <a:buSzPct val="130000"/>
              <a:buFont typeface="Arial" panose="020B0604020202020204" pitchFamily="34" charset="0"/>
              <a:buChar char="■"/>
              <a:defRPr sz="1500"/>
            </a:lvl1pPr>
            <a:lvl2pPr marL="407194" indent="-135731">
              <a:buFont typeface="Calibri" panose="020F0502020204030204" pitchFamily="34" charset="0"/>
              <a:buChar char="−"/>
              <a:defRPr sz="1200"/>
            </a:lvl2pPr>
            <a:lvl3pPr marL="534591" indent="-127397">
              <a:defRPr sz="1200"/>
            </a:lvl3pPr>
            <a:lvl4pPr marL="670322" indent="-135731">
              <a:buFont typeface="Arial" panose="020B0604020202020204" pitchFamily="34" charset="0"/>
              <a:buChar char="▪"/>
              <a:defRPr sz="1200"/>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sp>
        <p:nvSpPr>
          <p:cNvPr id="18" name="Plassholder for innhold 2">
            <a:extLst>
              <a:ext uri="{FF2B5EF4-FFF2-40B4-BE49-F238E27FC236}">
                <a16:creationId xmlns:a16="http://schemas.microsoft.com/office/drawing/2014/main" id="{829E5F3D-AB3D-42A4-B464-E39CF342F1B5}"/>
              </a:ext>
            </a:extLst>
          </p:cNvPr>
          <p:cNvSpPr>
            <a:spLocks noGrp="1"/>
          </p:cNvSpPr>
          <p:nvPr>
            <p:ph sz="half" idx="21"/>
          </p:nvPr>
        </p:nvSpPr>
        <p:spPr>
          <a:xfrm>
            <a:off x="559594" y="1998244"/>
            <a:ext cx="2590850" cy="2730989"/>
          </a:xfrm>
        </p:spPr>
        <p:txBody>
          <a:bodyPr lIns="0">
            <a:normAutofit/>
          </a:bodyPr>
          <a:lstStyle>
            <a:lvl1pPr marL="271463" indent="-271463">
              <a:buClr>
                <a:schemeClr val="tx2"/>
              </a:buClr>
              <a:buSzPct val="130000"/>
              <a:buFont typeface="Arial" panose="020B0604020202020204" pitchFamily="34" charset="0"/>
              <a:buChar char="■"/>
              <a:defRPr sz="1500"/>
            </a:lvl1pPr>
            <a:lvl2pPr marL="407194" indent="-135731">
              <a:buFont typeface="Calibri" panose="020F0502020204030204" pitchFamily="34" charset="0"/>
              <a:buChar char="−"/>
              <a:defRPr sz="1200"/>
            </a:lvl2pPr>
            <a:lvl3pPr marL="534591" indent="-127397">
              <a:defRPr sz="1200"/>
            </a:lvl3pPr>
            <a:lvl4pPr marL="670322" indent="-135731">
              <a:buFont typeface="Arial" panose="020B0604020202020204" pitchFamily="34" charset="0"/>
              <a:buChar char="▪"/>
              <a:defRPr sz="1200"/>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spTree>
    <p:extLst>
      <p:ext uri="{BB962C8B-B14F-4D97-AF65-F5344CB8AC3E}">
        <p14:creationId xmlns:p14="http://schemas.microsoft.com/office/powerpoint/2010/main" val="153854921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Fire bilder med tekst">
    <p:spTree>
      <p:nvGrpSpPr>
        <p:cNvPr id="1" name=""/>
        <p:cNvGrpSpPr/>
        <p:nvPr/>
      </p:nvGrpSpPr>
      <p:grpSpPr>
        <a:xfrm>
          <a:off x="0" y="0"/>
          <a:ext cx="0" cy="0"/>
          <a:chOff x="0" y="0"/>
          <a:chExt cx="0" cy="0"/>
        </a:xfrm>
      </p:grpSpPr>
      <p:sp>
        <p:nvSpPr>
          <p:cNvPr id="13" name="Rubrik 1">
            <a:extLst>
              <a:ext uri="{FF2B5EF4-FFF2-40B4-BE49-F238E27FC236}">
                <a16:creationId xmlns:a16="http://schemas.microsoft.com/office/drawing/2014/main" id="{D6009B22-8BAF-4C08-8A0B-EF95DE057143}"/>
              </a:ext>
            </a:extLst>
          </p:cNvPr>
          <p:cNvSpPr>
            <a:spLocks noGrp="1"/>
          </p:cNvSpPr>
          <p:nvPr>
            <p:ph type="title" hasCustomPrompt="1"/>
          </p:nvPr>
        </p:nvSpPr>
        <p:spPr>
          <a:xfrm>
            <a:off x="567559" y="222674"/>
            <a:ext cx="6854798" cy="455830"/>
          </a:xfrm>
        </p:spPr>
        <p:txBody>
          <a:bodyPr lIns="0">
            <a:normAutofit/>
          </a:bodyPr>
          <a:lstStyle>
            <a:lvl1pPr>
              <a:defRPr sz="2100" b="1">
                <a:solidFill>
                  <a:schemeClr val="accent1"/>
                </a:solidFill>
              </a:defRPr>
            </a:lvl1pPr>
          </a:lstStyle>
          <a:p>
            <a:r>
              <a:rPr lang="nb-NO" noProof="0"/>
              <a:t>Overskrift</a:t>
            </a:r>
          </a:p>
        </p:txBody>
      </p:sp>
      <p:sp>
        <p:nvSpPr>
          <p:cNvPr id="14" name="Text Placeholder 6">
            <a:extLst>
              <a:ext uri="{FF2B5EF4-FFF2-40B4-BE49-F238E27FC236}">
                <a16:creationId xmlns:a16="http://schemas.microsoft.com/office/drawing/2014/main" id="{2E0F30A5-CA50-49C5-9E3B-23EFE9FCD2A6}"/>
              </a:ext>
            </a:extLst>
          </p:cNvPr>
          <p:cNvSpPr>
            <a:spLocks noGrp="1"/>
          </p:cNvSpPr>
          <p:nvPr>
            <p:ph type="body" sz="quarter" idx="13" hasCustomPrompt="1"/>
          </p:nvPr>
        </p:nvSpPr>
        <p:spPr>
          <a:xfrm>
            <a:off x="567047" y="576817"/>
            <a:ext cx="6854798" cy="292894"/>
          </a:xfrm>
          <a:prstGeom prst="rect">
            <a:avLst/>
          </a:prstGeom>
        </p:spPr>
        <p:txBody>
          <a:bodyPr lIns="0" anchor="b">
            <a:noAutofit/>
          </a:bodyPr>
          <a:lstStyle>
            <a:lvl1pPr marL="0" indent="0">
              <a:spcBef>
                <a:spcPts val="0"/>
              </a:spcBef>
              <a:spcAft>
                <a:spcPts val="0"/>
              </a:spcAft>
              <a:buNone/>
              <a:defRPr sz="1350" b="1" i="0" cap="none" spc="45" baseline="0">
                <a:solidFill>
                  <a:schemeClr val="tx1"/>
                </a:solidFill>
              </a:defRPr>
            </a:lvl1pPr>
            <a:lvl5pPr>
              <a:defRPr>
                <a:solidFill>
                  <a:schemeClr val="bg1"/>
                </a:solidFill>
              </a:defRPr>
            </a:lvl5pPr>
          </a:lstStyle>
          <a:p>
            <a:pPr lvl="0"/>
            <a:r>
              <a:rPr lang="nb-NO" noProof="0"/>
              <a:t>Underoverskrift</a:t>
            </a:r>
          </a:p>
        </p:txBody>
      </p:sp>
      <p:pic>
        <p:nvPicPr>
          <p:cNvPr id="16" name="Bilde 15" descr="Et bilde som inneholder tegning&#10;&#10;Automatisk generert beskrivelse">
            <a:extLst>
              <a:ext uri="{FF2B5EF4-FFF2-40B4-BE49-F238E27FC236}">
                <a16:creationId xmlns:a16="http://schemas.microsoft.com/office/drawing/2014/main" id="{B6A50FEE-309B-4D6F-8C56-81506FC4FC2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16591" y="6421"/>
            <a:ext cx="1620000" cy="653333"/>
          </a:xfrm>
          <a:prstGeom prst="rect">
            <a:avLst/>
          </a:prstGeom>
        </p:spPr>
      </p:pic>
      <p:sp>
        <p:nvSpPr>
          <p:cNvPr id="12" name="Platshållare för bild 8">
            <a:extLst>
              <a:ext uri="{FF2B5EF4-FFF2-40B4-BE49-F238E27FC236}">
                <a16:creationId xmlns:a16="http://schemas.microsoft.com/office/drawing/2014/main" id="{6B4B7D82-A5D8-427C-913E-788AEE18F568}"/>
              </a:ext>
            </a:extLst>
          </p:cNvPr>
          <p:cNvSpPr>
            <a:spLocks noGrp="1"/>
          </p:cNvSpPr>
          <p:nvPr>
            <p:ph type="pic" sz="quarter" idx="14" hasCustomPrompt="1"/>
          </p:nvPr>
        </p:nvSpPr>
        <p:spPr>
          <a:xfrm>
            <a:off x="2663642" y="1742555"/>
            <a:ext cx="1713485" cy="1729978"/>
          </a:xfrm>
          <a:prstGeom prst="rect">
            <a:avLst/>
          </a:prstGeom>
        </p:spPr>
        <p:txBody>
          <a:bodyPr/>
          <a:lstStyle>
            <a:lvl1pPr marL="5953" indent="0">
              <a:buNone/>
              <a:defRPr sz="750">
                <a:latin typeface="+mn-lt"/>
              </a:defRPr>
            </a:lvl1pPr>
          </a:lstStyle>
          <a:p>
            <a:r>
              <a:rPr lang="en-GB" noProof="0"/>
              <a:t>Click to add an icon</a:t>
            </a:r>
          </a:p>
        </p:txBody>
      </p:sp>
      <p:sp>
        <p:nvSpPr>
          <p:cNvPr id="17" name="Platshållare för bild 8">
            <a:extLst>
              <a:ext uri="{FF2B5EF4-FFF2-40B4-BE49-F238E27FC236}">
                <a16:creationId xmlns:a16="http://schemas.microsoft.com/office/drawing/2014/main" id="{89519FE2-E1D7-4571-A621-38B1DB33BC4B}"/>
              </a:ext>
            </a:extLst>
          </p:cNvPr>
          <p:cNvSpPr>
            <a:spLocks noGrp="1"/>
          </p:cNvSpPr>
          <p:nvPr>
            <p:ph type="pic" sz="quarter" idx="15" hasCustomPrompt="1"/>
          </p:nvPr>
        </p:nvSpPr>
        <p:spPr>
          <a:xfrm>
            <a:off x="566853" y="1742555"/>
            <a:ext cx="1713485" cy="1729978"/>
          </a:xfrm>
          <a:prstGeom prst="rect">
            <a:avLst/>
          </a:prstGeom>
        </p:spPr>
        <p:txBody>
          <a:bodyPr/>
          <a:lstStyle>
            <a:lvl1pPr marL="5953" indent="0">
              <a:buNone/>
              <a:defRPr sz="750">
                <a:latin typeface="+mn-lt"/>
              </a:defRPr>
            </a:lvl1pPr>
          </a:lstStyle>
          <a:p>
            <a:r>
              <a:rPr lang="en-GB" noProof="0"/>
              <a:t>Click to add an icon</a:t>
            </a:r>
          </a:p>
        </p:txBody>
      </p:sp>
      <p:sp>
        <p:nvSpPr>
          <p:cNvPr id="18" name="Platshållare för bild 8">
            <a:extLst>
              <a:ext uri="{FF2B5EF4-FFF2-40B4-BE49-F238E27FC236}">
                <a16:creationId xmlns:a16="http://schemas.microsoft.com/office/drawing/2014/main" id="{9D4E3697-C3A5-4666-8925-925540144BA6}"/>
              </a:ext>
            </a:extLst>
          </p:cNvPr>
          <p:cNvSpPr>
            <a:spLocks noGrp="1"/>
          </p:cNvSpPr>
          <p:nvPr>
            <p:ph type="pic" sz="quarter" idx="16" hasCustomPrompt="1"/>
          </p:nvPr>
        </p:nvSpPr>
        <p:spPr>
          <a:xfrm>
            <a:off x="4764139" y="1742555"/>
            <a:ext cx="1713485" cy="1729978"/>
          </a:xfrm>
          <a:prstGeom prst="rect">
            <a:avLst/>
          </a:prstGeom>
        </p:spPr>
        <p:txBody>
          <a:bodyPr/>
          <a:lstStyle>
            <a:lvl1pPr marL="5953" indent="0">
              <a:buNone/>
              <a:defRPr sz="750">
                <a:latin typeface="+mn-lt"/>
              </a:defRPr>
            </a:lvl1pPr>
          </a:lstStyle>
          <a:p>
            <a:r>
              <a:rPr lang="en-GB" noProof="0"/>
              <a:t>Click to add an icon</a:t>
            </a:r>
          </a:p>
        </p:txBody>
      </p:sp>
      <p:sp>
        <p:nvSpPr>
          <p:cNvPr id="20" name="Platshållare för bild 8">
            <a:extLst>
              <a:ext uri="{FF2B5EF4-FFF2-40B4-BE49-F238E27FC236}">
                <a16:creationId xmlns:a16="http://schemas.microsoft.com/office/drawing/2014/main" id="{DD4D26E7-00A6-4955-BFDF-6F4A26609681}"/>
              </a:ext>
            </a:extLst>
          </p:cNvPr>
          <p:cNvSpPr>
            <a:spLocks noGrp="1"/>
          </p:cNvSpPr>
          <p:nvPr>
            <p:ph type="pic" sz="quarter" idx="17" hasCustomPrompt="1"/>
          </p:nvPr>
        </p:nvSpPr>
        <p:spPr>
          <a:xfrm>
            <a:off x="6859015" y="1742555"/>
            <a:ext cx="1713485" cy="1729978"/>
          </a:xfrm>
          <a:prstGeom prst="rect">
            <a:avLst/>
          </a:prstGeom>
        </p:spPr>
        <p:txBody>
          <a:bodyPr/>
          <a:lstStyle>
            <a:lvl1pPr marL="5953" indent="0">
              <a:buNone/>
              <a:defRPr sz="750">
                <a:latin typeface="+mn-lt"/>
              </a:defRPr>
            </a:lvl1pPr>
          </a:lstStyle>
          <a:p>
            <a:r>
              <a:rPr lang="en-GB" noProof="0"/>
              <a:t>Click to add an icon</a:t>
            </a:r>
          </a:p>
        </p:txBody>
      </p:sp>
      <p:sp>
        <p:nvSpPr>
          <p:cNvPr id="23" name="Text Placeholder 8">
            <a:extLst>
              <a:ext uri="{FF2B5EF4-FFF2-40B4-BE49-F238E27FC236}">
                <a16:creationId xmlns:a16="http://schemas.microsoft.com/office/drawing/2014/main" id="{3D0298B0-E168-4723-85AD-B4DA25B2E401}"/>
              </a:ext>
            </a:extLst>
          </p:cNvPr>
          <p:cNvSpPr>
            <a:spLocks noGrp="1"/>
          </p:cNvSpPr>
          <p:nvPr>
            <p:ph type="body" sz="quarter" idx="18" hasCustomPrompt="1"/>
          </p:nvPr>
        </p:nvSpPr>
        <p:spPr>
          <a:xfrm>
            <a:off x="567564" y="3592715"/>
            <a:ext cx="1712774" cy="458463"/>
          </a:xfrm>
          <a:prstGeom prst="rect">
            <a:avLst/>
          </a:prstGeom>
        </p:spPr>
        <p:txBody>
          <a:bodyPr>
            <a:normAutofit/>
          </a:bodyPr>
          <a:lstStyle>
            <a:lvl1pPr marL="0" indent="0" algn="ctr">
              <a:lnSpc>
                <a:spcPct val="118000"/>
              </a:lnSpc>
              <a:spcBef>
                <a:spcPts val="300"/>
              </a:spcBef>
              <a:buNone/>
              <a:defRPr sz="1050" spc="60" baseline="0">
                <a:solidFill>
                  <a:schemeClr val="tx1"/>
                </a:solidFill>
                <a:latin typeface="+mn-lt"/>
              </a:defRPr>
            </a:lvl1pPr>
            <a:lvl2pPr marL="167879" indent="0">
              <a:lnSpc>
                <a:spcPct val="118000"/>
              </a:lnSpc>
              <a:spcBef>
                <a:spcPts val="300"/>
              </a:spcBef>
              <a:buNone/>
              <a:tabLst/>
              <a:defRPr sz="900" spc="-23" baseline="0">
                <a:solidFill>
                  <a:schemeClr val="tx1"/>
                </a:solidFill>
              </a:defRPr>
            </a:lvl2pPr>
            <a:lvl3pPr marL="301228" indent="0">
              <a:lnSpc>
                <a:spcPct val="118000"/>
              </a:lnSpc>
              <a:spcBef>
                <a:spcPts val="300"/>
              </a:spcBef>
              <a:buNone/>
              <a:tabLst/>
              <a:defRPr sz="900" spc="-23" baseline="0">
                <a:solidFill>
                  <a:schemeClr val="tx1"/>
                </a:solidFill>
              </a:defRPr>
            </a:lvl3pPr>
            <a:lvl4pPr marL="433388" indent="0">
              <a:lnSpc>
                <a:spcPct val="118000"/>
              </a:lnSpc>
              <a:spcBef>
                <a:spcPts val="300"/>
              </a:spcBef>
              <a:buNone/>
              <a:tabLst/>
              <a:defRPr sz="900" spc="-23" baseline="0">
                <a:solidFill>
                  <a:schemeClr val="tx1"/>
                </a:solidFill>
              </a:defRPr>
            </a:lvl4pPr>
            <a:lvl5pPr marL="566738" indent="0">
              <a:lnSpc>
                <a:spcPct val="118000"/>
              </a:lnSpc>
              <a:spcBef>
                <a:spcPts val="300"/>
              </a:spcBef>
              <a:buNone/>
              <a:tabLst/>
              <a:defRPr sz="900" spc="-23" baseline="0">
                <a:solidFill>
                  <a:schemeClr val="tx1"/>
                </a:solidFill>
              </a:defRPr>
            </a:lvl5pPr>
          </a:lstStyle>
          <a:p>
            <a:pPr lvl="0"/>
            <a:r>
              <a:rPr lang="en-GB" noProof="0"/>
              <a:t>Click to add text</a:t>
            </a:r>
          </a:p>
        </p:txBody>
      </p:sp>
      <p:sp>
        <p:nvSpPr>
          <p:cNvPr id="24" name="Text Placeholder 8">
            <a:extLst>
              <a:ext uri="{FF2B5EF4-FFF2-40B4-BE49-F238E27FC236}">
                <a16:creationId xmlns:a16="http://schemas.microsoft.com/office/drawing/2014/main" id="{5A05ACC9-930E-456B-933B-4171174D8F3D}"/>
              </a:ext>
            </a:extLst>
          </p:cNvPr>
          <p:cNvSpPr>
            <a:spLocks noGrp="1"/>
          </p:cNvSpPr>
          <p:nvPr>
            <p:ph type="body" sz="quarter" idx="19" hasCustomPrompt="1"/>
          </p:nvPr>
        </p:nvSpPr>
        <p:spPr>
          <a:xfrm>
            <a:off x="2663642" y="3592715"/>
            <a:ext cx="1719049" cy="458463"/>
          </a:xfrm>
          <a:prstGeom prst="rect">
            <a:avLst/>
          </a:prstGeom>
        </p:spPr>
        <p:txBody>
          <a:bodyPr>
            <a:normAutofit/>
          </a:bodyPr>
          <a:lstStyle>
            <a:lvl1pPr marL="0" indent="0" algn="ctr">
              <a:lnSpc>
                <a:spcPct val="118000"/>
              </a:lnSpc>
              <a:spcBef>
                <a:spcPts val="300"/>
              </a:spcBef>
              <a:buNone/>
              <a:defRPr sz="1050" spc="60" baseline="0">
                <a:solidFill>
                  <a:schemeClr val="tx1"/>
                </a:solidFill>
                <a:latin typeface="+mn-lt"/>
              </a:defRPr>
            </a:lvl1pPr>
            <a:lvl2pPr marL="167879" indent="0">
              <a:lnSpc>
                <a:spcPct val="118000"/>
              </a:lnSpc>
              <a:spcBef>
                <a:spcPts val="300"/>
              </a:spcBef>
              <a:buNone/>
              <a:tabLst/>
              <a:defRPr sz="900" spc="-23" baseline="0">
                <a:solidFill>
                  <a:schemeClr val="tx1"/>
                </a:solidFill>
              </a:defRPr>
            </a:lvl2pPr>
            <a:lvl3pPr marL="301228" indent="0">
              <a:lnSpc>
                <a:spcPct val="118000"/>
              </a:lnSpc>
              <a:spcBef>
                <a:spcPts val="300"/>
              </a:spcBef>
              <a:buNone/>
              <a:tabLst/>
              <a:defRPr sz="900" spc="-23" baseline="0">
                <a:solidFill>
                  <a:schemeClr val="tx1"/>
                </a:solidFill>
              </a:defRPr>
            </a:lvl3pPr>
            <a:lvl4pPr marL="433388" indent="0">
              <a:lnSpc>
                <a:spcPct val="118000"/>
              </a:lnSpc>
              <a:spcBef>
                <a:spcPts val="300"/>
              </a:spcBef>
              <a:buNone/>
              <a:tabLst/>
              <a:defRPr sz="900" spc="-23" baseline="0">
                <a:solidFill>
                  <a:schemeClr val="tx1"/>
                </a:solidFill>
              </a:defRPr>
            </a:lvl4pPr>
            <a:lvl5pPr marL="566738" indent="0">
              <a:lnSpc>
                <a:spcPct val="118000"/>
              </a:lnSpc>
              <a:spcBef>
                <a:spcPts val="300"/>
              </a:spcBef>
              <a:buNone/>
              <a:tabLst/>
              <a:defRPr sz="900" spc="-23" baseline="0">
                <a:solidFill>
                  <a:schemeClr val="tx1"/>
                </a:solidFill>
              </a:defRPr>
            </a:lvl5pPr>
          </a:lstStyle>
          <a:p>
            <a:pPr lvl="0"/>
            <a:r>
              <a:rPr lang="en-GB" noProof="0"/>
              <a:t>Click to add text</a:t>
            </a:r>
          </a:p>
        </p:txBody>
      </p:sp>
      <p:sp>
        <p:nvSpPr>
          <p:cNvPr id="25" name="Text Placeholder 8">
            <a:extLst>
              <a:ext uri="{FF2B5EF4-FFF2-40B4-BE49-F238E27FC236}">
                <a16:creationId xmlns:a16="http://schemas.microsoft.com/office/drawing/2014/main" id="{3B1F89A4-0324-4FCF-AF39-114FDE1C4192}"/>
              </a:ext>
            </a:extLst>
          </p:cNvPr>
          <p:cNvSpPr>
            <a:spLocks noGrp="1"/>
          </p:cNvSpPr>
          <p:nvPr>
            <p:ph type="body" sz="quarter" idx="20" hasCustomPrompt="1"/>
          </p:nvPr>
        </p:nvSpPr>
        <p:spPr>
          <a:xfrm>
            <a:off x="4766013" y="3592715"/>
            <a:ext cx="1711612" cy="458463"/>
          </a:xfrm>
          <a:prstGeom prst="rect">
            <a:avLst/>
          </a:prstGeom>
        </p:spPr>
        <p:txBody>
          <a:bodyPr>
            <a:normAutofit/>
          </a:bodyPr>
          <a:lstStyle>
            <a:lvl1pPr marL="0" indent="0" algn="ctr">
              <a:lnSpc>
                <a:spcPct val="118000"/>
              </a:lnSpc>
              <a:spcBef>
                <a:spcPts val="300"/>
              </a:spcBef>
              <a:buNone/>
              <a:defRPr sz="1050" spc="60" baseline="0">
                <a:solidFill>
                  <a:schemeClr val="tx1"/>
                </a:solidFill>
                <a:latin typeface="+mn-lt"/>
              </a:defRPr>
            </a:lvl1pPr>
            <a:lvl2pPr marL="167879" indent="0">
              <a:lnSpc>
                <a:spcPct val="118000"/>
              </a:lnSpc>
              <a:spcBef>
                <a:spcPts val="300"/>
              </a:spcBef>
              <a:buNone/>
              <a:tabLst/>
              <a:defRPr sz="900" spc="-23" baseline="0">
                <a:solidFill>
                  <a:schemeClr val="tx1"/>
                </a:solidFill>
              </a:defRPr>
            </a:lvl2pPr>
            <a:lvl3pPr marL="301228" indent="0">
              <a:lnSpc>
                <a:spcPct val="118000"/>
              </a:lnSpc>
              <a:spcBef>
                <a:spcPts val="300"/>
              </a:spcBef>
              <a:buNone/>
              <a:tabLst/>
              <a:defRPr sz="900" spc="-23" baseline="0">
                <a:solidFill>
                  <a:schemeClr val="tx1"/>
                </a:solidFill>
              </a:defRPr>
            </a:lvl3pPr>
            <a:lvl4pPr marL="433388" indent="0">
              <a:lnSpc>
                <a:spcPct val="118000"/>
              </a:lnSpc>
              <a:spcBef>
                <a:spcPts val="300"/>
              </a:spcBef>
              <a:buNone/>
              <a:tabLst/>
              <a:defRPr sz="900" spc="-23" baseline="0">
                <a:solidFill>
                  <a:schemeClr val="tx1"/>
                </a:solidFill>
              </a:defRPr>
            </a:lvl4pPr>
            <a:lvl5pPr marL="566738" indent="0">
              <a:lnSpc>
                <a:spcPct val="118000"/>
              </a:lnSpc>
              <a:spcBef>
                <a:spcPts val="300"/>
              </a:spcBef>
              <a:buNone/>
              <a:tabLst/>
              <a:defRPr sz="900" spc="-23" baseline="0">
                <a:solidFill>
                  <a:schemeClr val="tx1"/>
                </a:solidFill>
              </a:defRPr>
            </a:lvl5pPr>
          </a:lstStyle>
          <a:p>
            <a:pPr lvl="0"/>
            <a:r>
              <a:rPr lang="en-GB" noProof="0"/>
              <a:t>Click to add text</a:t>
            </a:r>
          </a:p>
        </p:txBody>
      </p:sp>
      <p:sp>
        <p:nvSpPr>
          <p:cNvPr id="26" name="Text Placeholder 8">
            <a:extLst>
              <a:ext uri="{FF2B5EF4-FFF2-40B4-BE49-F238E27FC236}">
                <a16:creationId xmlns:a16="http://schemas.microsoft.com/office/drawing/2014/main" id="{D1A7A4E8-073C-4034-8A89-3CDB7B150FE8}"/>
              </a:ext>
            </a:extLst>
          </p:cNvPr>
          <p:cNvSpPr>
            <a:spLocks noGrp="1"/>
          </p:cNvSpPr>
          <p:nvPr>
            <p:ph type="body" sz="quarter" idx="21" hasCustomPrompt="1"/>
          </p:nvPr>
        </p:nvSpPr>
        <p:spPr>
          <a:xfrm>
            <a:off x="6857140" y="3592715"/>
            <a:ext cx="1715360" cy="458463"/>
          </a:xfrm>
          <a:prstGeom prst="rect">
            <a:avLst/>
          </a:prstGeom>
        </p:spPr>
        <p:txBody>
          <a:bodyPr>
            <a:normAutofit/>
          </a:bodyPr>
          <a:lstStyle>
            <a:lvl1pPr marL="0" indent="0" algn="ctr">
              <a:lnSpc>
                <a:spcPct val="118000"/>
              </a:lnSpc>
              <a:spcBef>
                <a:spcPts val="300"/>
              </a:spcBef>
              <a:buNone/>
              <a:defRPr sz="1050" spc="60" baseline="0">
                <a:solidFill>
                  <a:schemeClr val="tx1"/>
                </a:solidFill>
                <a:latin typeface="+mn-lt"/>
              </a:defRPr>
            </a:lvl1pPr>
            <a:lvl2pPr marL="167879" indent="0">
              <a:lnSpc>
                <a:spcPct val="118000"/>
              </a:lnSpc>
              <a:spcBef>
                <a:spcPts val="300"/>
              </a:spcBef>
              <a:buNone/>
              <a:tabLst/>
              <a:defRPr sz="900" spc="-23" baseline="0">
                <a:solidFill>
                  <a:schemeClr val="tx1"/>
                </a:solidFill>
              </a:defRPr>
            </a:lvl2pPr>
            <a:lvl3pPr marL="301228" indent="0">
              <a:lnSpc>
                <a:spcPct val="118000"/>
              </a:lnSpc>
              <a:spcBef>
                <a:spcPts val="300"/>
              </a:spcBef>
              <a:buNone/>
              <a:tabLst/>
              <a:defRPr sz="900" spc="-23" baseline="0">
                <a:solidFill>
                  <a:schemeClr val="tx1"/>
                </a:solidFill>
              </a:defRPr>
            </a:lvl3pPr>
            <a:lvl4pPr marL="433388" indent="0">
              <a:lnSpc>
                <a:spcPct val="118000"/>
              </a:lnSpc>
              <a:spcBef>
                <a:spcPts val="300"/>
              </a:spcBef>
              <a:buNone/>
              <a:tabLst/>
              <a:defRPr sz="900" spc="-23" baseline="0">
                <a:solidFill>
                  <a:schemeClr val="tx1"/>
                </a:solidFill>
              </a:defRPr>
            </a:lvl4pPr>
            <a:lvl5pPr marL="566738" indent="0">
              <a:lnSpc>
                <a:spcPct val="118000"/>
              </a:lnSpc>
              <a:spcBef>
                <a:spcPts val="300"/>
              </a:spcBef>
              <a:buNone/>
              <a:tabLst/>
              <a:defRPr sz="900" spc="-23" baseline="0">
                <a:solidFill>
                  <a:schemeClr val="tx1"/>
                </a:solidFill>
              </a:defRPr>
            </a:lvl5pPr>
          </a:lstStyle>
          <a:p>
            <a:pPr lvl="0"/>
            <a:r>
              <a:rPr lang="en-GB" noProof="0"/>
              <a:t>Click to add text</a:t>
            </a:r>
          </a:p>
        </p:txBody>
      </p:sp>
      <p:sp>
        <p:nvSpPr>
          <p:cNvPr id="2" name="TekstSylinder 1">
            <a:extLst>
              <a:ext uri="{FF2B5EF4-FFF2-40B4-BE49-F238E27FC236}">
                <a16:creationId xmlns:a16="http://schemas.microsoft.com/office/drawing/2014/main" id="{16C10037-3921-4BC0-A0A4-1113EFD2EC8C}"/>
              </a:ext>
            </a:extLst>
          </p:cNvPr>
          <p:cNvSpPr txBox="1"/>
          <p:nvPr userDrawn="1"/>
        </p:nvSpPr>
        <p:spPr>
          <a:xfrm>
            <a:off x="8246795" y="4828493"/>
            <a:ext cx="329277" cy="207749"/>
          </a:xfrm>
          <a:prstGeom prst="rect">
            <a:avLst/>
          </a:prstGeom>
          <a:noFill/>
        </p:spPr>
        <p:txBody>
          <a:bodyPr wrap="square" rIns="0" rtlCol="0">
            <a:spAutoFit/>
          </a:bodyPr>
          <a:lstStyle/>
          <a:p>
            <a:pPr algn="r"/>
            <a:fld id="{C25C054F-90E3-43D3-9F5F-0765C525DF5A}" type="slidenum">
              <a:rPr lang="nb-NO" sz="750" smtClean="0">
                <a:solidFill>
                  <a:schemeClr val="accent1"/>
                </a:solidFill>
              </a:rPr>
              <a:pPr algn="r"/>
              <a:t>‹#›</a:t>
            </a:fld>
            <a:endParaRPr lang="nb-NO" sz="750">
              <a:solidFill>
                <a:schemeClr val="accent1"/>
              </a:solidFill>
            </a:endParaRPr>
          </a:p>
        </p:txBody>
      </p:sp>
    </p:spTree>
    <p:extLst>
      <p:ext uri="{BB962C8B-B14F-4D97-AF65-F5344CB8AC3E}">
        <p14:creationId xmlns:p14="http://schemas.microsoft.com/office/powerpoint/2010/main" val="303156704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Fire tekstspalter">
    <p:spTree>
      <p:nvGrpSpPr>
        <p:cNvPr id="1" name=""/>
        <p:cNvGrpSpPr/>
        <p:nvPr/>
      </p:nvGrpSpPr>
      <p:grpSpPr>
        <a:xfrm>
          <a:off x="0" y="0"/>
          <a:ext cx="0" cy="0"/>
          <a:chOff x="0" y="0"/>
          <a:chExt cx="0" cy="0"/>
        </a:xfrm>
      </p:grpSpPr>
      <p:sp>
        <p:nvSpPr>
          <p:cNvPr id="13" name="Rubrik 1">
            <a:extLst>
              <a:ext uri="{FF2B5EF4-FFF2-40B4-BE49-F238E27FC236}">
                <a16:creationId xmlns:a16="http://schemas.microsoft.com/office/drawing/2014/main" id="{D6009B22-8BAF-4C08-8A0B-EF95DE057143}"/>
              </a:ext>
            </a:extLst>
          </p:cNvPr>
          <p:cNvSpPr>
            <a:spLocks noGrp="1"/>
          </p:cNvSpPr>
          <p:nvPr>
            <p:ph type="title" hasCustomPrompt="1"/>
          </p:nvPr>
        </p:nvSpPr>
        <p:spPr>
          <a:xfrm>
            <a:off x="567559" y="222674"/>
            <a:ext cx="6854798" cy="455830"/>
          </a:xfrm>
        </p:spPr>
        <p:txBody>
          <a:bodyPr lIns="0">
            <a:normAutofit/>
          </a:bodyPr>
          <a:lstStyle>
            <a:lvl1pPr>
              <a:defRPr sz="2100" b="1">
                <a:solidFill>
                  <a:schemeClr val="accent1"/>
                </a:solidFill>
              </a:defRPr>
            </a:lvl1pPr>
          </a:lstStyle>
          <a:p>
            <a:r>
              <a:rPr lang="nb-NO" noProof="0"/>
              <a:t>Overskrift</a:t>
            </a:r>
          </a:p>
        </p:txBody>
      </p:sp>
      <p:sp>
        <p:nvSpPr>
          <p:cNvPr id="14" name="Text Placeholder 6">
            <a:extLst>
              <a:ext uri="{FF2B5EF4-FFF2-40B4-BE49-F238E27FC236}">
                <a16:creationId xmlns:a16="http://schemas.microsoft.com/office/drawing/2014/main" id="{2E0F30A5-CA50-49C5-9E3B-23EFE9FCD2A6}"/>
              </a:ext>
            </a:extLst>
          </p:cNvPr>
          <p:cNvSpPr>
            <a:spLocks noGrp="1"/>
          </p:cNvSpPr>
          <p:nvPr>
            <p:ph type="body" sz="quarter" idx="13" hasCustomPrompt="1"/>
          </p:nvPr>
        </p:nvSpPr>
        <p:spPr>
          <a:xfrm>
            <a:off x="567047" y="576817"/>
            <a:ext cx="6854798" cy="292894"/>
          </a:xfrm>
          <a:prstGeom prst="rect">
            <a:avLst/>
          </a:prstGeom>
        </p:spPr>
        <p:txBody>
          <a:bodyPr lIns="0" anchor="b">
            <a:noAutofit/>
          </a:bodyPr>
          <a:lstStyle>
            <a:lvl1pPr marL="0" indent="0">
              <a:spcBef>
                <a:spcPts val="0"/>
              </a:spcBef>
              <a:spcAft>
                <a:spcPts val="0"/>
              </a:spcAft>
              <a:buNone/>
              <a:defRPr sz="1350" b="1" i="0" cap="none" spc="45" baseline="0">
                <a:solidFill>
                  <a:schemeClr val="tx1"/>
                </a:solidFill>
              </a:defRPr>
            </a:lvl1pPr>
            <a:lvl5pPr>
              <a:defRPr>
                <a:solidFill>
                  <a:schemeClr val="bg1"/>
                </a:solidFill>
              </a:defRPr>
            </a:lvl5pPr>
          </a:lstStyle>
          <a:p>
            <a:pPr lvl="0"/>
            <a:r>
              <a:rPr lang="nb-NO" noProof="0"/>
              <a:t>Underoverskrift</a:t>
            </a:r>
          </a:p>
        </p:txBody>
      </p:sp>
      <p:pic>
        <p:nvPicPr>
          <p:cNvPr id="16" name="Bilde 15" descr="Et bilde som inneholder tegning&#10;&#10;Automatisk generert beskrivelse">
            <a:extLst>
              <a:ext uri="{FF2B5EF4-FFF2-40B4-BE49-F238E27FC236}">
                <a16:creationId xmlns:a16="http://schemas.microsoft.com/office/drawing/2014/main" id="{B6A50FEE-309B-4D6F-8C56-81506FC4FC2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16591" y="6421"/>
            <a:ext cx="1620000" cy="653333"/>
          </a:xfrm>
          <a:prstGeom prst="rect">
            <a:avLst/>
          </a:prstGeom>
        </p:spPr>
      </p:pic>
      <p:sp>
        <p:nvSpPr>
          <p:cNvPr id="2" name="TekstSylinder 1">
            <a:extLst>
              <a:ext uri="{FF2B5EF4-FFF2-40B4-BE49-F238E27FC236}">
                <a16:creationId xmlns:a16="http://schemas.microsoft.com/office/drawing/2014/main" id="{AD77EB79-8743-4876-8E13-23C0F861E58E}"/>
              </a:ext>
            </a:extLst>
          </p:cNvPr>
          <p:cNvSpPr txBox="1"/>
          <p:nvPr userDrawn="1"/>
        </p:nvSpPr>
        <p:spPr>
          <a:xfrm>
            <a:off x="8246795" y="4828493"/>
            <a:ext cx="329277" cy="207749"/>
          </a:xfrm>
          <a:prstGeom prst="rect">
            <a:avLst/>
          </a:prstGeom>
          <a:noFill/>
        </p:spPr>
        <p:txBody>
          <a:bodyPr wrap="square" rIns="0" rtlCol="0">
            <a:spAutoFit/>
          </a:bodyPr>
          <a:lstStyle/>
          <a:p>
            <a:pPr algn="r"/>
            <a:fld id="{C25C054F-90E3-43D3-9F5F-0765C525DF5A}" type="slidenum">
              <a:rPr lang="nb-NO" sz="750" smtClean="0">
                <a:solidFill>
                  <a:schemeClr val="accent1"/>
                </a:solidFill>
              </a:rPr>
              <a:pPr algn="r"/>
              <a:t>‹#›</a:t>
            </a:fld>
            <a:endParaRPr lang="nb-NO" sz="750">
              <a:solidFill>
                <a:schemeClr val="accent1"/>
              </a:solidFill>
            </a:endParaRPr>
          </a:p>
        </p:txBody>
      </p:sp>
      <p:sp>
        <p:nvSpPr>
          <p:cNvPr id="10" name="Plassholder for innhold 2">
            <a:extLst>
              <a:ext uri="{FF2B5EF4-FFF2-40B4-BE49-F238E27FC236}">
                <a16:creationId xmlns:a16="http://schemas.microsoft.com/office/drawing/2014/main" id="{191B9173-5B50-4F08-B1C1-E070CDF56860}"/>
              </a:ext>
            </a:extLst>
          </p:cNvPr>
          <p:cNvSpPr>
            <a:spLocks noGrp="1"/>
          </p:cNvSpPr>
          <p:nvPr>
            <p:ph sz="half" idx="1"/>
          </p:nvPr>
        </p:nvSpPr>
        <p:spPr>
          <a:xfrm>
            <a:off x="572513" y="1067192"/>
            <a:ext cx="1809000" cy="3601538"/>
          </a:xfrm>
        </p:spPr>
        <p:txBody>
          <a:bodyPr lIns="0">
            <a:normAutofit/>
          </a:bodyPr>
          <a:lstStyle>
            <a:lvl1pPr marL="271463" indent="-271463">
              <a:buClr>
                <a:schemeClr val="tx2"/>
              </a:buClr>
              <a:buSzPct val="130000"/>
              <a:buFont typeface="Arial" panose="020B0604020202020204" pitchFamily="34" charset="0"/>
              <a:buChar char="■"/>
              <a:defRPr sz="1200"/>
            </a:lvl1pPr>
            <a:lvl2pPr marL="407194" indent="-135731">
              <a:buFont typeface="Calibri" panose="020F0502020204030204" pitchFamily="34" charset="0"/>
              <a:buChar char="−"/>
              <a:defRPr sz="1200"/>
            </a:lvl2pPr>
            <a:lvl3pPr marL="534591" indent="-127397">
              <a:defRPr sz="1200"/>
            </a:lvl3pPr>
            <a:lvl4pPr marL="670322" indent="-135731">
              <a:buFont typeface="Arial" panose="020B0604020202020204" pitchFamily="34" charset="0"/>
              <a:buChar char="▪"/>
              <a:defRPr sz="1200"/>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sp>
        <p:nvSpPr>
          <p:cNvPr id="12" name="Plassholder for innhold 2">
            <a:extLst>
              <a:ext uri="{FF2B5EF4-FFF2-40B4-BE49-F238E27FC236}">
                <a16:creationId xmlns:a16="http://schemas.microsoft.com/office/drawing/2014/main" id="{7A2E4055-F2C3-4E98-9841-5A05708933D8}"/>
              </a:ext>
            </a:extLst>
          </p:cNvPr>
          <p:cNvSpPr>
            <a:spLocks noGrp="1"/>
          </p:cNvSpPr>
          <p:nvPr>
            <p:ph sz="half" idx="22"/>
          </p:nvPr>
        </p:nvSpPr>
        <p:spPr>
          <a:xfrm>
            <a:off x="2624167" y="1067192"/>
            <a:ext cx="1809000" cy="3601538"/>
          </a:xfrm>
        </p:spPr>
        <p:txBody>
          <a:bodyPr lIns="0">
            <a:normAutofit/>
          </a:bodyPr>
          <a:lstStyle>
            <a:lvl1pPr marL="271463" indent="-271463">
              <a:buClr>
                <a:schemeClr val="tx2"/>
              </a:buClr>
              <a:buSzPct val="130000"/>
              <a:buFont typeface="Arial" panose="020B0604020202020204" pitchFamily="34" charset="0"/>
              <a:buChar char="■"/>
              <a:defRPr sz="1200"/>
            </a:lvl1pPr>
            <a:lvl2pPr marL="407194" indent="-135731">
              <a:buFont typeface="Calibri" panose="020F0502020204030204" pitchFamily="34" charset="0"/>
              <a:buChar char="−"/>
              <a:defRPr sz="1200"/>
            </a:lvl2pPr>
            <a:lvl3pPr marL="534591" indent="-127397">
              <a:defRPr sz="1200"/>
            </a:lvl3pPr>
            <a:lvl4pPr marL="670322" indent="-135731">
              <a:buFont typeface="Arial" panose="020B0604020202020204" pitchFamily="34" charset="0"/>
              <a:buChar char="▪"/>
              <a:defRPr sz="1200"/>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sp>
        <p:nvSpPr>
          <p:cNvPr id="15" name="Plassholder for innhold 2">
            <a:extLst>
              <a:ext uri="{FF2B5EF4-FFF2-40B4-BE49-F238E27FC236}">
                <a16:creationId xmlns:a16="http://schemas.microsoft.com/office/drawing/2014/main" id="{15905CB2-26C5-4D6B-93F4-B61D9697995D}"/>
              </a:ext>
            </a:extLst>
          </p:cNvPr>
          <p:cNvSpPr>
            <a:spLocks noGrp="1"/>
          </p:cNvSpPr>
          <p:nvPr>
            <p:ph sz="half" idx="23"/>
          </p:nvPr>
        </p:nvSpPr>
        <p:spPr>
          <a:xfrm>
            <a:off x="4710833" y="1059656"/>
            <a:ext cx="1809000" cy="3601538"/>
          </a:xfrm>
        </p:spPr>
        <p:txBody>
          <a:bodyPr lIns="0">
            <a:normAutofit/>
          </a:bodyPr>
          <a:lstStyle>
            <a:lvl1pPr marL="271463" indent="-271463">
              <a:buClr>
                <a:schemeClr val="tx2"/>
              </a:buClr>
              <a:buSzPct val="130000"/>
              <a:buFont typeface="Arial" panose="020B0604020202020204" pitchFamily="34" charset="0"/>
              <a:buChar char="■"/>
              <a:defRPr sz="1200"/>
            </a:lvl1pPr>
            <a:lvl2pPr marL="407194" indent="-135731">
              <a:buFont typeface="Calibri" panose="020F0502020204030204" pitchFamily="34" charset="0"/>
              <a:buChar char="−"/>
              <a:defRPr sz="1200"/>
            </a:lvl2pPr>
            <a:lvl3pPr marL="534591" indent="-127397">
              <a:defRPr sz="1200"/>
            </a:lvl3pPr>
            <a:lvl4pPr marL="670322" indent="-135731">
              <a:buFont typeface="Arial" panose="020B0604020202020204" pitchFamily="34" charset="0"/>
              <a:buChar char="▪"/>
              <a:defRPr sz="1200"/>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sp>
        <p:nvSpPr>
          <p:cNvPr id="17" name="Plassholder for innhold 2">
            <a:extLst>
              <a:ext uri="{FF2B5EF4-FFF2-40B4-BE49-F238E27FC236}">
                <a16:creationId xmlns:a16="http://schemas.microsoft.com/office/drawing/2014/main" id="{FDF42647-5E3E-4F62-8DCA-4A3CA3432401}"/>
              </a:ext>
            </a:extLst>
          </p:cNvPr>
          <p:cNvSpPr>
            <a:spLocks noGrp="1"/>
          </p:cNvSpPr>
          <p:nvPr>
            <p:ph sz="half" idx="24"/>
          </p:nvPr>
        </p:nvSpPr>
        <p:spPr>
          <a:xfrm>
            <a:off x="6762487" y="1059656"/>
            <a:ext cx="1809000" cy="3601538"/>
          </a:xfrm>
        </p:spPr>
        <p:txBody>
          <a:bodyPr lIns="0">
            <a:normAutofit/>
          </a:bodyPr>
          <a:lstStyle>
            <a:lvl1pPr marL="271463" indent="-271463">
              <a:buClr>
                <a:schemeClr val="tx2"/>
              </a:buClr>
              <a:buSzPct val="130000"/>
              <a:buFont typeface="Arial" panose="020B0604020202020204" pitchFamily="34" charset="0"/>
              <a:buChar char="■"/>
              <a:defRPr sz="1200"/>
            </a:lvl1pPr>
            <a:lvl2pPr marL="407194" indent="-135731">
              <a:buFont typeface="Calibri" panose="020F0502020204030204" pitchFamily="34" charset="0"/>
              <a:buChar char="−"/>
              <a:defRPr sz="1200"/>
            </a:lvl2pPr>
            <a:lvl3pPr marL="534591" indent="-127397">
              <a:defRPr sz="1200"/>
            </a:lvl3pPr>
            <a:lvl4pPr marL="670322" indent="-135731">
              <a:buFont typeface="Arial" panose="020B0604020202020204" pitchFamily="34" charset="0"/>
              <a:buChar char="▪"/>
              <a:defRPr sz="1200"/>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spTree>
    <p:extLst>
      <p:ext uri="{BB962C8B-B14F-4D97-AF65-F5344CB8AC3E}">
        <p14:creationId xmlns:p14="http://schemas.microsoft.com/office/powerpoint/2010/main" val="244200848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4 tekstbokser og bilder">
    <p:spTree>
      <p:nvGrpSpPr>
        <p:cNvPr id="1" name=""/>
        <p:cNvGrpSpPr/>
        <p:nvPr/>
      </p:nvGrpSpPr>
      <p:grpSpPr>
        <a:xfrm>
          <a:off x="0" y="0"/>
          <a:ext cx="0" cy="0"/>
          <a:chOff x="0" y="0"/>
          <a:chExt cx="0" cy="0"/>
        </a:xfrm>
      </p:grpSpPr>
      <p:sp>
        <p:nvSpPr>
          <p:cNvPr id="28" name="Text Placeholder 6">
            <a:extLst>
              <a:ext uri="{FF2B5EF4-FFF2-40B4-BE49-F238E27FC236}">
                <a16:creationId xmlns:a16="http://schemas.microsoft.com/office/drawing/2014/main" id="{67887952-9F58-441B-8468-DB355939FBC4}"/>
              </a:ext>
            </a:extLst>
          </p:cNvPr>
          <p:cNvSpPr>
            <a:spLocks noGrp="1"/>
          </p:cNvSpPr>
          <p:nvPr>
            <p:ph type="body" sz="quarter" idx="25" hasCustomPrompt="1"/>
          </p:nvPr>
        </p:nvSpPr>
        <p:spPr>
          <a:xfrm>
            <a:off x="263889" y="3111067"/>
            <a:ext cx="1823751" cy="255825"/>
          </a:xfrm>
          <a:prstGeom prst="rect">
            <a:avLst/>
          </a:prstGeom>
        </p:spPr>
        <p:txBody>
          <a:bodyPr lIns="0" rIns="0" anchor="b">
            <a:noAutofit/>
          </a:bodyPr>
          <a:lstStyle>
            <a:lvl1pPr marL="0" indent="0">
              <a:spcBef>
                <a:spcPts val="0"/>
              </a:spcBef>
              <a:spcAft>
                <a:spcPts val="0"/>
              </a:spcAft>
              <a:buNone/>
              <a:defRPr sz="1050" b="1" cap="none" spc="23" baseline="0">
                <a:solidFill>
                  <a:schemeClr val="tx1"/>
                </a:solidFill>
              </a:defRPr>
            </a:lvl1pPr>
            <a:lvl5pPr>
              <a:defRPr>
                <a:solidFill>
                  <a:schemeClr val="bg1"/>
                </a:solidFill>
              </a:defRPr>
            </a:lvl5pPr>
          </a:lstStyle>
          <a:p>
            <a:pPr lvl="0"/>
            <a:r>
              <a:rPr lang="nb-NO" noProof="0"/>
              <a:t>Overskrift</a:t>
            </a:r>
          </a:p>
        </p:txBody>
      </p:sp>
      <p:sp>
        <p:nvSpPr>
          <p:cNvPr id="9" name="Picture Placeholder 8">
            <a:extLst>
              <a:ext uri="{FF2B5EF4-FFF2-40B4-BE49-F238E27FC236}">
                <a16:creationId xmlns:a16="http://schemas.microsoft.com/office/drawing/2014/main" id="{406C2A58-2EDD-40D8-AFD7-5FD18C644B78}"/>
              </a:ext>
            </a:extLst>
          </p:cNvPr>
          <p:cNvSpPr>
            <a:spLocks noGrp="1"/>
          </p:cNvSpPr>
          <p:nvPr>
            <p:ph type="pic" sz="quarter" idx="13" hasCustomPrompt="1"/>
          </p:nvPr>
        </p:nvSpPr>
        <p:spPr>
          <a:xfrm>
            <a:off x="2286000" y="2568113"/>
            <a:ext cx="2283374" cy="2571750"/>
          </a:xfrm>
          <a:prstGeom prst="rect">
            <a:avLst/>
          </a:prstGeom>
          <a:solidFill>
            <a:srgbClr val="C1DAF3"/>
          </a:solidFill>
          <a:ln>
            <a:solidFill>
              <a:schemeClr val="tx2"/>
            </a:solidFill>
          </a:ln>
        </p:spPr>
        <p:txBody>
          <a:bodyPr/>
          <a:lstStyle>
            <a:lvl1pPr marL="0" indent="0">
              <a:buNone/>
              <a:defRPr sz="750"/>
            </a:lvl1pPr>
          </a:lstStyle>
          <a:p>
            <a:r>
              <a:rPr lang="en-GB" noProof="0"/>
              <a:t>Click on icon to add an image</a:t>
            </a:r>
          </a:p>
        </p:txBody>
      </p:sp>
      <p:sp>
        <p:nvSpPr>
          <p:cNvPr id="12" name="Picture Placeholder 8">
            <a:extLst>
              <a:ext uri="{FF2B5EF4-FFF2-40B4-BE49-F238E27FC236}">
                <a16:creationId xmlns:a16="http://schemas.microsoft.com/office/drawing/2014/main" id="{59BBAAEA-674E-40DB-BD2B-670EDCC2959B}"/>
              </a:ext>
            </a:extLst>
          </p:cNvPr>
          <p:cNvSpPr>
            <a:spLocks noGrp="1"/>
          </p:cNvSpPr>
          <p:nvPr>
            <p:ph type="pic" sz="quarter" idx="16" hasCustomPrompt="1"/>
          </p:nvPr>
        </p:nvSpPr>
        <p:spPr>
          <a:xfrm>
            <a:off x="6852989" y="2568113"/>
            <a:ext cx="2297360" cy="2571750"/>
          </a:xfrm>
          <a:prstGeom prst="rect">
            <a:avLst/>
          </a:prstGeom>
          <a:solidFill>
            <a:srgbClr val="C1DAF3"/>
          </a:solidFill>
          <a:ln>
            <a:solidFill>
              <a:schemeClr val="tx2"/>
            </a:solidFill>
          </a:ln>
        </p:spPr>
        <p:txBody>
          <a:bodyPr/>
          <a:lstStyle>
            <a:lvl1pPr marL="0" indent="0">
              <a:buNone/>
              <a:defRPr sz="750"/>
            </a:lvl1pPr>
          </a:lstStyle>
          <a:p>
            <a:r>
              <a:rPr lang="en-GB" noProof="0"/>
              <a:t>Click on icon to add an image</a:t>
            </a:r>
          </a:p>
        </p:txBody>
      </p:sp>
      <p:sp>
        <p:nvSpPr>
          <p:cNvPr id="24" name="Platshållare för text 7">
            <a:extLst>
              <a:ext uri="{FF2B5EF4-FFF2-40B4-BE49-F238E27FC236}">
                <a16:creationId xmlns:a16="http://schemas.microsoft.com/office/drawing/2014/main" id="{1EA55394-10BD-904F-A822-C9A3D10EF29C}"/>
              </a:ext>
            </a:extLst>
          </p:cNvPr>
          <p:cNvSpPr>
            <a:spLocks noGrp="1" noChangeAspect="1"/>
          </p:cNvSpPr>
          <p:nvPr>
            <p:ph type="body" sz="quarter" idx="20" hasCustomPrompt="1"/>
          </p:nvPr>
        </p:nvSpPr>
        <p:spPr>
          <a:xfrm>
            <a:off x="263889" y="3478776"/>
            <a:ext cx="1823752" cy="1014413"/>
          </a:xfrm>
        </p:spPr>
        <p:txBody>
          <a:bodyPr lIns="0" rIns="0">
            <a:noAutofit/>
          </a:bodyPr>
          <a:lstStyle>
            <a:lvl1pPr marL="0" indent="0">
              <a:buClr>
                <a:schemeClr val="bg2"/>
              </a:buClr>
              <a:buFont typeface="Arial" panose="020B0604020202020204" pitchFamily="34" charset="0"/>
              <a:buNone/>
              <a:tabLst/>
              <a:defRPr sz="1050"/>
            </a:lvl1pPr>
            <a:lvl2pPr>
              <a:defRPr sz="1200"/>
            </a:lvl2pPr>
            <a:lvl3pPr>
              <a:defRPr sz="1200"/>
            </a:lvl3pPr>
            <a:lvl4pPr>
              <a:defRPr sz="1200"/>
            </a:lvl4pPr>
            <a:lvl5pPr>
              <a:defRPr sz="1200"/>
            </a:lvl5pPr>
          </a:lstStyle>
          <a:p>
            <a:r>
              <a:rPr lang="nb-NO" noProof="0"/>
              <a:t>Klikk og skriv tekst</a:t>
            </a:r>
          </a:p>
        </p:txBody>
      </p:sp>
      <p:sp>
        <p:nvSpPr>
          <p:cNvPr id="17" name="Text Placeholder 6">
            <a:extLst>
              <a:ext uri="{FF2B5EF4-FFF2-40B4-BE49-F238E27FC236}">
                <a16:creationId xmlns:a16="http://schemas.microsoft.com/office/drawing/2014/main" id="{7FC95FFB-3611-4BBD-8696-EF14668C8B7B}"/>
              </a:ext>
            </a:extLst>
          </p:cNvPr>
          <p:cNvSpPr>
            <a:spLocks noGrp="1"/>
          </p:cNvSpPr>
          <p:nvPr>
            <p:ph type="body" sz="quarter" idx="26" hasCustomPrompt="1"/>
          </p:nvPr>
        </p:nvSpPr>
        <p:spPr>
          <a:xfrm>
            <a:off x="4799306" y="3111067"/>
            <a:ext cx="1823751" cy="255825"/>
          </a:xfrm>
          <a:prstGeom prst="rect">
            <a:avLst/>
          </a:prstGeom>
        </p:spPr>
        <p:txBody>
          <a:bodyPr anchor="b">
            <a:noAutofit/>
          </a:bodyPr>
          <a:lstStyle>
            <a:lvl1pPr marL="0" indent="0">
              <a:spcBef>
                <a:spcPts val="0"/>
              </a:spcBef>
              <a:spcAft>
                <a:spcPts val="0"/>
              </a:spcAft>
              <a:buNone/>
              <a:defRPr sz="1050" b="1" cap="none" spc="23" baseline="0">
                <a:solidFill>
                  <a:schemeClr val="tx1"/>
                </a:solidFill>
              </a:defRPr>
            </a:lvl1pPr>
            <a:lvl5pPr>
              <a:defRPr>
                <a:solidFill>
                  <a:schemeClr val="bg1"/>
                </a:solidFill>
              </a:defRPr>
            </a:lvl5pPr>
          </a:lstStyle>
          <a:p>
            <a:pPr lvl="0"/>
            <a:r>
              <a:rPr lang="nb-NO" noProof="0"/>
              <a:t>Overskrift</a:t>
            </a:r>
          </a:p>
        </p:txBody>
      </p:sp>
      <p:sp>
        <p:nvSpPr>
          <p:cNvPr id="20" name="Platshållare för text 7">
            <a:extLst>
              <a:ext uri="{FF2B5EF4-FFF2-40B4-BE49-F238E27FC236}">
                <a16:creationId xmlns:a16="http://schemas.microsoft.com/office/drawing/2014/main" id="{E0F5BC4A-FA36-4048-AC8F-D4826C0D1C06}"/>
              </a:ext>
            </a:extLst>
          </p:cNvPr>
          <p:cNvSpPr>
            <a:spLocks noGrp="1" noChangeAspect="1"/>
          </p:cNvSpPr>
          <p:nvPr>
            <p:ph type="body" sz="quarter" idx="27" hasCustomPrompt="1"/>
          </p:nvPr>
        </p:nvSpPr>
        <p:spPr>
          <a:xfrm>
            <a:off x="4799305" y="3478776"/>
            <a:ext cx="1823752" cy="1014413"/>
          </a:xfrm>
        </p:spPr>
        <p:txBody>
          <a:bodyPr lIns="0" rIns="0">
            <a:noAutofit/>
          </a:bodyPr>
          <a:lstStyle>
            <a:lvl1pPr marL="0" indent="0">
              <a:buClr>
                <a:schemeClr val="bg2"/>
              </a:buClr>
              <a:buFont typeface="Arial" panose="020B0604020202020204" pitchFamily="34" charset="0"/>
              <a:buNone/>
              <a:tabLst/>
              <a:defRPr sz="1050"/>
            </a:lvl1pPr>
            <a:lvl2pPr>
              <a:defRPr sz="1200"/>
            </a:lvl2pPr>
            <a:lvl3pPr>
              <a:defRPr sz="1200"/>
            </a:lvl3pPr>
            <a:lvl4pPr>
              <a:defRPr sz="1200"/>
            </a:lvl4pPr>
            <a:lvl5pPr>
              <a:defRPr sz="1200"/>
            </a:lvl5pPr>
          </a:lstStyle>
          <a:p>
            <a:r>
              <a:rPr lang="nb-NO" noProof="0"/>
              <a:t>Klikk og skriv tekst</a:t>
            </a:r>
          </a:p>
        </p:txBody>
      </p:sp>
      <p:sp>
        <p:nvSpPr>
          <p:cNvPr id="30" name="Picture Placeholder 8">
            <a:extLst>
              <a:ext uri="{FF2B5EF4-FFF2-40B4-BE49-F238E27FC236}">
                <a16:creationId xmlns:a16="http://schemas.microsoft.com/office/drawing/2014/main" id="{829ACD38-ABF3-41DD-A312-EFED19CCAD61}"/>
              </a:ext>
            </a:extLst>
          </p:cNvPr>
          <p:cNvSpPr>
            <a:spLocks noGrp="1"/>
          </p:cNvSpPr>
          <p:nvPr>
            <p:ph type="pic" sz="quarter" idx="15" hasCustomPrompt="1"/>
          </p:nvPr>
        </p:nvSpPr>
        <p:spPr>
          <a:xfrm>
            <a:off x="1" y="-10948"/>
            <a:ext cx="2282252" cy="2576491"/>
          </a:xfrm>
          <a:prstGeom prst="rect">
            <a:avLst/>
          </a:prstGeom>
          <a:solidFill>
            <a:srgbClr val="C1DAF3"/>
          </a:solidFill>
          <a:ln>
            <a:solidFill>
              <a:schemeClr val="tx2"/>
            </a:solidFill>
          </a:ln>
        </p:spPr>
        <p:txBody>
          <a:bodyPr/>
          <a:lstStyle>
            <a:lvl1pPr marL="0" indent="0">
              <a:buNone/>
              <a:defRPr sz="750"/>
            </a:lvl1pPr>
          </a:lstStyle>
          <a:p>
            <a:r>
              <a:rPr lang="en-GB" noProof="0"/>
              <a:t>Click on icon to add an image</a:t>
            </a:r>
          </a:p>
        </p:txBody>
      </p:sp>
      <p:sp>
        <p:nvSpPr>
          <p:cNvPr id="32" name="Picture Placeholder 8">
            <a:extLst>
              <a:ext uri="{FF2B5EF4-FFF2-40B4-BE49-F238E27FC236}">
                <a16:creationId xmlns:a16="http://schemas.microsoft.com/office/drawing/2014/main" id="{6CFF5075-8C4F-4F9F-9DF7-DED0179B5B4C}"/>
              </a:ext>
            </a:extLst>
          </p:cNvPr>
          <p:cNvSpPr>
            <a:spLocks noGrp="1"/>
          </p:cNvSpPr>
          <p:nvPr>
            <p:ph type="pic" sz="quarter" idx="14" hasCustomPrompt="1"/>
          </p:nvPr>
        </p:nvSpPr>
        <p:spPr>
          <a:xfrm>
            <a:off x="4572002" y="-10949"/>
            <a:ext cx="2280377" cy="2571750"/>
          </a:xfrm>
          <a:prstGeom prst="rect">
            <a:avLst/>
          </a:prstGeom>
          <a:solidFill>
            <a:srgbClr val="C1DAF3"/>
          </a:solidFill>
          <a:ln>
            <a:solidFill>
              <a:schemeClr val="tx2"/>
            </a:solidFill>
          </a:ln>
        </p:spPr>
        <p:txBody>
          <a:bodyPr/>
          <a:lstStyle>
            <a:lvl1pPr marL="0" indent="0">
              <a:buNone/>
              <a:defRPr sz="750"/>
            </a:lvl1pPr>
          </a:lstStyle>
          <a:p>
            <a:r>
              <a:rPr lang="en-GB" noProof="0"/>
              <a:t>Click on icon to add an image</a:t>
            </a:r>
          </a:p>
        </p:txBody>
      </p:sp>
      <p:sp>
        <p:nvSpPr>
          <p:cNvPr id="34" name="Text Placeholder 6">
            <a:extLst>
              <a:ext uri="{FF2B5EF4-FFF2-40B4-BE49-F238E27FC236}">
                <a16:creationId xmlns:a16="http://schemas.microsoft.com/office/drawing/2014/main" id="{3D7B2AEC-AEFA-4751-88D8-E782BE9E8357}"/>
              </a:ext>
            </a:extLst>
          </p:cNvPr>
          <p:cNvSpPr>
            <a:spLocks noGrp="1"/>
          </p:cNvSpPr>
          <p:nvPr>
            <p:ph type="body" sz="quarter" idx="28" hasCustomPrompt="1"/>
          </p:nvPr>
        </p:nvSpPr>
        <p:spPr>
          <a:xfrm>
            <a:off x="2486659" y="517413"/>
            <a:ext cx="1823751" cy="255825"/>
          </a:xfrm>
          <a:prstGeom prst="rect">
            <a:avLst/>
          </a:prstGeom>
        </p:spPr>
        <p:txBody>
          <a:bodyPr lIns="0" rIns="0" anchor="b">
            <a:noAutofit/>
          </a:bodyPr>
          <a:lstStyle>
            <a:lvl1pPr marL="0" indent="0">
              <a:spcBef>
                <a:spcPts val="0"/>
              </a:spcBef>
              <a:spcAft>
                <a:spcPts val="0"/>
              </a:spcAft>
              <a:buNone/>
              <a:defRPr sz="1050" b="1" cap="none" spc="23" baseline="0">
                <a:solidFill>
                  <a:schemeClr val="tx1"/>
                </a:solidFill>
              </a:defRPr>
            </a:lvl1pPr>
            <a:lvl5pPr>
              <a:defRPr>
                <a:solidFill>
                  <a:schemeClr val="bg1"/>
                </a:solidFill>
              </a:defRPr>
            </a:lvl5pPr>
          </a:lstStyle>
          <a:p>
            <a:pPr lvl="0"/>
            <a:r>
              <a:rPr lang="nb-NO" noProof="0"/>
              <a:t>Overskrift</a:t>
            </a:r>
          </a:p>
        </p:txBody>
      </p:sp>
      <p:sp>
        <p:nvSpPr>
          <p:cNvPr id="35" name="Platshållare för text 7">
            <a:extLst>
              <a:ext uri="{FF2B5EF4-FFF2-40B4-BE49-F238E27FC236}">
                <a16:creationId xmlns:a16="http://schemas.microsoft.com/office/drawing/2014/main" id="{A8ADECCE-92D6-4F05-99D9-FAA276BE46AB}"/>
              </a:ext>
            </a:extLst>
          </p:cNvPr>
          <p:cNvSpPr>
            <a:spLocks noGrp="1" noChangeAspect="1"/>
          </p:cNvSpPr>
          <p:nvPr>
            <p:ph type="body" sz="quarter" idx="29" hasCustomPrompt="1"/>
          </p:nvPr>
        </p:nvSpPr>
        <p:spPr>
          <a:xfrm>
            <a:off x="2486658" y="885122"/>
            <a:ext cx="1823752" cy="1014413"/>
          </a:xfrm>
        </p:spPr>
        <p:txBody>
          <a:bodyPr lIns="0" rIns="0">
            <a:noAutofit/>
          </a:bodyPr>
          <a:lstStyle>
            <a:lvl1pPr marL="0" indent="0">
              <a:buClr>
                <a:schemeClr val="bg2"/>
              </a:buClr>
              <a:buFont typeface="Arial" panose="020B0604020202020204" pitchFamily="34" charset="0"/>
              <a:buNone/>
              <a:tabLst/>
              <a:defRPr sz="1050"/>
            </a:lvl1pPr>
            <a:lvl2pPr>
              <a:defRPr sz="1200"/>
            </a:lvl2pPr>
            <a:lvl3pPr>
              <a:defRPr sz="1200"/>
            </a:lvl3pPr>
            <a:lvl4pPr>
              <a:defRPr sz="1200"/>
            </a:lvl4pPr>
            <a:lvl5pPr>
              <a:defRPr sz="1200"/>
            </a:lvl5pPr>
          </a:lstStyle>
          <a:p>
            <a:r>
              <a:rPr lang="nb-NO" noProof="0"/>
              <a:t>Klikk og skriv tekst</a:t>
            </a:r>
          </a:p>
        </p:txBody>
      </p:sp>
      <p:sp>
        <p:nvSpPr>
          <p:cNvPr id="36" name="Text Placeholder 6">
            <a:extLst>
              <a:ext uri="{FF2B5EF4-FFF2-40B4-BE49-F238E27FC236}">
                <a16:creationId xmlns:a16="http://schemas.microsoft.com/office/drawing/2014/main" id="{DBE44B5E-6AB5-4FBE-8A9C-C85BE6183460}"/>
              </a:ext>
            </a:extLst>
          </p:cNvPr>
          <p:cNvSpPr>
            <a:spLocks noGrp="1"/>
          </p:cNvSpPr>
          <p:nvPr>
            <p:ph type="body" sz="quarter" idx="30" hasCustomPrompt="1"/>
          </p:nvPr>
        </p:nvSpPr>
        <p:spPr>
          <a:xfrm>
            <a:off x="7022075" y="517413"/>
            <a:ext cx="1823751" cy="255825"/>
          </a:xfrm>
          <a:prstGeom prst="rect">
            <a:avLst/>
          </a:prstGeom>
        </p:spPr>
        <p:txBody>
          <a:bodyPr lIns="0" rIns="0" anchor="b">
            <a:noAutofit/>
          </a:bodyPr>
          <a:lstStyle>
            <a:lvl1pPr marL="0" indent="0">
              <a:spcBef>
                <a:spcPts val="0"/>
              </a:spcBef>
              <a:spcAft>
                <a:spcPts val="0"/>
              </a:spcAft>
              <a:buNone/>
              <a:defRPr sz="1050" b="1" cap="none" spc="23" baseline="0">
                <a:solidFill>
                  <a:schemeClr val="tx1"/>
                </a:solidFill>
              </a:defRPr>
            </a:lvl1pPr>
            <a:lvl5pPr>
              <a:defRPr>
                <a:solidFill>
                  <a:schemeClr val="bg1"/>
                </a:solidFill>
              </a:defRPr>
            </a:lvl5pPr>
          </a:lstStyle>
          <a:p>
            <a:pPr lvl="0"/>
            <a:r>
              <a:rPr lang="nb-NO" noProof="0"/>
              <a:t>Overskrift</a:t>
            </a:r>
          </a:p>
        </p:txBody>
      </p:sp>
      <p:sp>
        <p:nvSpPr>
          <p:cNvPr id="38" name="Platshållare för text 7">
            <a:extLst>
              <a:ext uri="{FF2B5EF4-FFF2-40B4-BE49-F238E27FC236}">
                <a16:creationId xmlns:a16="http://schemas.microsoft.com/office/drawing/2014/main" id="{C8E84FE3-A77D-4139-A84A-90AAC12EB88D}"/>
              </a:ext>
            </a:extLst>
          </p:cNvPr>
          <p:cNvSpPr>
            <a:spLocks noGrp="1" noChangeAspect="1"/>
          </p:cNvSpPr>
          <p:nvPr>
            <p:ph type="body" sz="quarter" idx="31" hasCustomPrompt="1"/>
          </p:nvPr>
        </p:nvSpPr>
        <p:spPr>
          <a:xfrm>
            <a:off x="7022075" y="885122"/>
            <a:ext cx="1823752" cy="1014413"/>
          </a:xfrm>
        </p:spPr>
        <p:txBody>
          <a:bodyPr lIns="0" rIns="0">
            <a:noAutofit/>
          </a:bodyPr>
          <a:lstStyle>
            <a:lvl1pPr marL="0" indent="0">
              <a:buClr>
                <a:schemeClr val="bg2"/>
              </a:buClr>
              <a:buFont typeface="Arial" panose="020B0604020202020204" pitchFamily="34" charset="0"/>
              <a:buNone/>
              <a:tabLst/>
              <a:defRPr sz="1050"/>
            </a:lvl1pPr>
            <a:lvl2pPr>
              <a:defRPr sz="1200"/>
            </a:lvl2pPr>
            <a:lvl3pPr>
              <a:defRPr sz="1200"/>
            </a:lvl3pPr>
            <a:lvl4pPr>
              <a:defRPr sz="1200"/>
            </a:lvl4pPr>
            <a:lvl5pPr>
              <a:defRPr sz="1200"/>
            </a:lvl5pPr>
          </a:lstStyle>
          <a:p>
            <a:r>
              <a:rPr lang="nb-NO" noProof="0"/>
              <a:t>Klikk og skriv tekst</a:t>
            </a:r>
          </a:p>
        </p:txBody>
      </p:sp>
    </p:spTree>
    <p:extLst>
      <p:ext uri="{BB962C8B-B14F-4D97-AF65-F5344CB8AC3E}">
        <p14:creationId xmlns:p14="http://schemas.microsoft.com/office/powerpoint/2010/main" val="374005220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Graf med tekst">
    <p:spTree>
      <p:nvGrpSpPr>
        <p:cNvPr id="1" name=""/>
        <p:cNvGrpSpPr/>
        <p:nvPr/>
      </p:nvGrpSpPr>
      <p:grpSpPr>
        <a:xfrm>
          <a:off x="0" y="0"/>
          <a:ext cx="0" cy="0"/>
          <a:chOff x="0" y="0"/>
          <a:chExt cx="0" cy="0"/>
        </a:xfrm>
      </p:grpSpPr>
      <p:sp>
        <p:nvSpPr>
          <p:cNvPr id="4" name="Chart Placeholder 8">
            <a:extLst>
              <a:ext uri="{FF2B5EF4-FFF2-40B4-BE49-F238E27FC236}">
                <a16:creationId xmlns:a16="http://schemas.microsoft.com/office/drawing/2014/main" id="{E2CD9C5D-EA94-47C5-AF8A-0593C1CB4591}"/>
              </a:ext>
            </a:extLst>
          </p:cNvPr>
          <p:cNvSpPr>
            <a:spLocks noGrp="1"/>
          </p:cNvSpPr>
          <p:nvPr>
            <p:ph type="chart" sz="quarter" idx="14" hasCustomPrompt="1"/>
          </p:nvPr>
        </p:nvSpPr>
        <p:spPr>
          <a:xfrm>
            <a:off x="567046" y="1799135"/>
            <a:ext cx="2283014" cy="2278817"/>
          </a:xfrm>
          <a:prstGeom prst="rect">
            <a:avLst/>
          </a:prstGeom>
        </p:spPr>
        <p:txBody>
          <a:bodyPr/>
          <a:lstStyle>
            <a:lvl1pPr marL="0" indent="0">
              <a:buNone/>
              <a:defRPr/>
            </a:lvl1pPr>
          </a:lstStyle>
          <a:p>
            <a:r>
              <a:rPr lang="en-GB" noProof="0"/>
              <a:t> </a:t>
            </a:r>
          </a:p>
        </p:txBody>
      </p:sp>
      <p:sp>
        <p:nvSpPr>
          <p:cNvPr id="7" name="Rubrik 1">
            <a:extLst>
              <a:ext uri="{FF2B5EF4-FFF2-40B4-BE49-F238E27FC236}">
                <a16:creationId xmlns:a16="http://schemas.microsoft.com/office/drawing/2014/main" id="{BCBBA181-711A-4804-8D47-71EB0F77F1DD}"/>
              </a:ext>
            </a:extLst>
          </p:cNvPr>
          <p:cNvSpPr>
            <a:spLocks noGrp="1"/>
          </p:cNvSpPr>
          <p:nvPr>
            <p:ph type="title" hasCustomPrompt="1"/>
          </p:nvPr>
        </p:nvSpPr>
        <p:spPr>
          <a:xfrm>
            <a:off x="567559" y="222674"/>
            <a:ext cx="6854798" cy="455830"/>
          </a:xfrm>
        </p:spPr>
        <p:txBody>
          <a:bodyPr lIns="0">
            <a:normAutofit/>
          </a:bodyPr>
          <a:lstStyle>
            <a:lvl1pPr>
              <a:defRPr sz="2100" b="1">
                <a:solidFill>
                  <a:schemeClr val="accent1"/>
                </a:solidFill>
              </a:defRPr>
            </a:lvl1pPr>
          </a:lstStyle>
          <a:p>
            <a:r>
              <a:rPr lang="nb-NO" noProof="0"/>
              <a:t>Overskrift</a:t>
            </a:r>
          </a:p>
        </p:txBody>
      </p:sp>
      <p:sp>
        <p:nvSpPr>
          <p:cNvPr id="8" name="Text Placeholder 6">
            <a:extLst>
              <a:ext uri="{FF2B5EF4-FFF2-40B4-BE49-F238E27FC236}">
                <a16:creationId xmlns:a16="http://schemas.microsoft.com/office/drawing/2014/main" id="{9E0E4571-ECD0-44DB-9C5B-610B16B227A6}"/>
              </a:ext>
            </a:extLst>
          </p:cNvPr>
          <p:cNvSpPr>
            <a:spLocks noGrp="1"/>
          </p:cNvSpPr>
          <p:nvPr>
            <p:ph type="body" sz="quarter" idx="13" hasCustomPrompt="1"/>
          </p:nvPr>
        </p:nvSpPr>
        <p:spPr>
          <a:xfrm>
            <a:off x="567047" y="576817"/>
            <a:ext cx="6854798" cy="292894"/>
          </a:xfrm>
          <a:prstGeom prst="rect">
            <a:avLst/>
          </a:prstGeom>
        </p:spPr>
        <p:txBody>
          <a:bodyPr lIns="0" anchor="b">
            <a:noAutofit/>
          </a:bodyPr>
          <a:lstStyle>
            <a:lvl1pPr marL="0" indent="0">
              <a:spcBef>
                <a:spcPts val="0"/>
              </a:spcBef>
              <a:spcAft>
                <a:spcPts val="0"/>
              </a:spcAft>
              <a:buNone/>
              <a:defRPr sz="1350" b="1" i="0" cap="none" spc="45" baseline="0">
                <a:solidFill>
                  <a:schemeClr val="tx1"/>
                </a:solidFill>
              </a:defRPr>
            </a:lvl1pPr>
            <a:lvl5pPr>
              <a:defRPr>
                <a:solidFill>
                  <a:schemeClr val="bg1"/>
                </a:solidFill>
              </a:defRPr>
            </a:lvl5pPr>
          </a:lstStyle>
          <a:p>
            <a:pPr lvl="0"/>
            <a:r>
              <a:rPr lang="nb-NO" noProof="0"/>
              <a:t>Underoverskrift</a:t>
            </a:r>
          </a:p>
        </p:txBody>
      </p:sp>
      <p:pic>
        <p:nvPicPr>
          <p:cNvPr id="9" name="Bilde 8" descr="Et bilde som inneholder tegning&#10;&#10;Automatisk generert beskrivelse">
            <a:extLst>
              <a:ext uri="{FF2B5EF4-FFF2-40B4-BE49-F238E27FC236}">
                <a16:creationId xmlns:a16="http://schemas.microsoft.com/office/drawing/2014/main" id="{88BD65A5-06E9-48BF-BCFE-3B73F9C98A2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16591" y="6421"/>
            <a:ext cx="1620000" cy="653333"/>
          </a:xfrm>
          <a:prstGeom prst="rect">
            <a:avLst/>
          </a:prstGeom>
        </p:spPr>
      </p:pic>
      <p:sp>
        <p:nvSpPr>
          <p:cNvPr id="10" name="Text Placeholder 6">
            <a:extLst>
              <a:ext uri="{FF2B5EF4-FFF2-40B4-BE49-F238E27FC236}">
                <a16:creationId xmlns:a16="http://schemas.microsoft.com/office/drawing/2014/main" id="{94BE7452-18CB-4018-8B40-F3A60ED10DF2}"/>
              </a:ext>
            </a:extLst>
          </p:cNvPr>
          <p:cNvSpPr>
            <a:spLocks noGrp="1"/>
          </p:cNvSpPr>
          <p:nvPr>
            <p:ph type="body" sz="quarter" idx="25" hasCustomPrompt="1"/>
          </p:nvPr>
        </p:nvSpPr>
        <p:spPr>
          <a:xfrm>
            <a:off x="3204074" y="2198915"/>
            <a:ext cx="2976009" cy="255825"/>
          </a:xfrm>
          <a:prstGeom prst="rect">
            <a:avLst/>
          </a:prstGeom>
        </p:spPr>
        <p:txBody>
          <a:bodyPr anchor="b">
            <a:noAutofit/>
          </a:bodyPr>
          <a:lstStyle>
            <a:lvl1pPr marL="0" indent="0">
              <a:spcBef>
                <a:spcPts val="0"/>
              </a:spcBef>
              <a:spcAft>
                <a:spcPts val="0"/>
              </a:spcAft>
              <a:buNone/>
              <a:defRPr sz="1500" b="1" cap="none" spc="23" baseline="0">
                <a:solidFill>
                  <a:schemeClr val="tx1"/>
                </a:solidFill>
              </a:defRPr>
            </a:lvl1pPr>
            <a:lvl5pPr>
              <a:defRPr>
                <a:solidFill>
                  <a:schemeClr val="bg1"/>
                </a:solidFill>
              </a:defRPr>
            </a:lvl5pPr>
          </a:lstStyle>
          <a:p>
            <a:pPr lvl="0"/>
            <a:r>
              <a:rPr lang="nb-NO" noProof="0"/>
              <a:t>Overskrift</a:t>
            </a:r>
          </a:p>
        </p:txBody>
      </p:sp>
      <p:sp>
        <p:nvSpPr>
          <p:cNvPr id="11" name="Platshållare för text 7">
            <a:extLst>
              <a:ext uri="{FF2B5EF4-FFF2-40B4-BE49-F238E27FC236}">
                <a16:creationId xmlns:a16="http://schemas.microsoft.com/office/drawing/2014/main" id="{A9617AC8-23AC-4A36-AA8B-7A4937F04A5E}"/>
              </a:ext>
            </a:extLst>
          </p:cNvPr>
          <p:cNvSpPr>
            <a:spLocks noGrp="1"/>
          </p:cNvSpPr>
          <p:nvPr>
            <p:ph type="body" sz="quarter" idx="20" hasCustomPrompt="1"/>
          </p:nvPr>
        </p:nvSpPr>
        <p:spPr>
          <a:xfrm>
            <a:off x="3204074" y="2566625"/>
            <a:ext cx="2976009" cy="1343223"/>
          </a:xfrm>
        </p:spPr>
        <p:txBody>
          <a:bodyPr>
            <a:noAutofit/>
          </a:bodyPr>
          <a:lstStyle>
            <a:lvl1pPr marL="201216" indent="-195263">
              <a:buClr>
                <a:schemeClr val="tx2"/>
              </a:buClr>
              <a:buSzPct val="130000"/>
              <a:buFont typeface="Arial" panose="020B0604020202020204" pitchFamily="34" charset="0"/>
              <a:buChar char="■"/>
              <a:tabLst/>
              <a:defRPr sz="1500"/>
            </a:lvl1pPr>
            <a:lvl2pPr>
              <a:defRPr sz="1200"/>
            </a:lvl2pPr>
            <a:lvl3pPr>
              <a:defRPr sz="1200"/>
            </a:lvl3pPr>
            <a:lvl4pPr>
              <a:defRPr sz="1200"/>
            </a:lvl4pPr>
            <a:lvl5pPr>
              <a:defRPr sz="1200"/>
            </a:lvl5pPr>
          </a:lstStyle>
          <a:p>
            <a:r>
              <a:rPr lang="nb-NO" noProof="0"/>
              <a:t>Klikk og skriv tekst</a:t>
            </a:r>
          </a:p>
        </p:txBody>
      </p:sp>
      <p:sp>
        <p:nvSpPr>
          <p:cNvPr id="13" name="TekstSylinder 12">
            <a:extLst>
              <a:ext uri="{FF2B5EF4-FFF2-40B4-BE49-F238E27FC236}">
                <a16:creationId xmlns:a16="http://schemas.microsoft.com/office/drawing/2014/main" id="{1D71D564-E88D-4498-9F95-91A6662422D5}"/>
              </a:ext>
            </a:extLst>
          </p:cNvPr>
          <p:cNvSpPr txBox="1"/>
          <p:nvPr userDrawn="1"/>
        </p:nvSpPr>
        <p:spPr>
          <a:xfrm>
            <a:off x="8246795" y="4828493"/>
            <a:ext cx="329277" cy="207749"/>
          </a:xfrm>
          <a:prstGeom prst="rect">
            <a:avLst/>
          </a:prstGeom>
          <a:noFill/>
        </p:spPr>
        <p:txBody>
          <a:bodyPr wrap="square" rIns="0" rtlCol="0">
            <a:spAutoFit/>
          </a:bodyPr>
          <a:lstStyle/>
          <a:p>
            <a:pPr algn="r"/>
            <a:fld id="{C25C054F-90E3-43D3-9F5F-0765C525DF5A}" type="slidenum">
              <a:rPr lang="nb-NO" sz="750" smtClean="0">
                <a:solidFill>
                  <a:schemeClr val="accent1"/>
                </a:solidFill>
              </a:rPr>
              <a:pPr algn="r"/>
              <a:t>‹#›</a:t>
            </a:fld>
            <a:endParaRPr lang="nb-NO" sz="750">
              <a:solidFill>
                <a:schemeClr val="accent1"/>
              </a:solidFill>
            </a:endParaRPr>
          </a:p>
        </p:txBody>
      </p:sp>
    </p:spTree>
    <p:extLst>
      <p:ext uri="{BB962C8B-B14F-4D97-AF65-F5344CB8AC3E}">
        <p14:creationId xmlns:p14="http://schemas.microsoft.com/office/powerpoint/2010/main" val="346328931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o grafer">
    <p:spTree>
      <p:nvGrpSpPr>
        <p:cNvPr id="1" name=""/>
        <p:cNvGrpSpPr/>
        <p:nvPr/>
      </p:nvGrpSpPr>
      <p:grpSpPr>
        <a:xfrm>
          <a:off x="0" y="0"/>
          <a:ext cx="0" cy="0"/>
          <a:chOff x="0" y="0"/>
          <a:chExt cx="0" cy="0"/>
        </a:xfrm>
      </p:grpSpPr>
      <p:sp>
        <p:nvSpPr>
          <p:cNvPr id="4" name="Chart Placeholder 8">
            <a:extLst>
              <a:ext uri="{FF2B5EF4-FFF2-40B4-BE49-F238E27FC236}">
                <a16:creationId xmlns:a16="http://schemas.microsoft.com/office/drawing/2014/main" id="{E2CD9C5D-EA94-47C5-AF8A-0593C1CB4591}"/>
              </a:ext>
            </a:extLst>
          </p:cNvPr>
          <p:cNvSpPr>
            <a:spLocks noGrp="1"/>
          </p:cNvSpPr>
          <p:nvPr>
            <p:ph type="chart" sz="quarter" idx="14" hasCustomPrompt="1"/>
          </p:nvPr>
        </p:nvSpPr>
        <p:spPr>
          <a:xfrm>
            <a:off x="1129579" y="1693872"/>
            <a:ext cx="2853900" cy="2848654"/>
          </a:xfrm>
          <a:prstGeom prst="rect">
            <a:avLst/>
          </a:prstGeom>
        </p:spPr>
        <p:txBody>
          <a:bodyPr/>
          <a:lstStyle>
            <a:lvl1pPr marL="0" indent="0">
              <a:buNone/>
              <a:defRPr/>
            </a:lvl1pPr>
          </a:lstStyle>
          <a:p>
            <a:r>
              <a:rPr lang="en-GB" noProof="0"/>
              <a:t> </a:t>
            </a:r>
          </a:p>
        </p:txBody>
      </p:sp>
      <p:sp>
        <p:nvSpPr>
          <p:cNvPr id="7" name="Rubrik 1">
            <a:extLst>
              <a:ext uri="{FF2B5EF4-FFF2-40B4-BE49-F238E27FC236}">
                <a16:creationId xmlns:a16="http://schemas.microsoft.com/office/drawing/2014/main" id="{BCBBA181-711A-4804-8D47-71EB0F77F1DD}"/>
              </a:ext>
            </a:extLst>
          </p:cNvPr>
          <p:cNvSpPr>
            <a:spLocks noGrp="1"/>
          </p:cNvSpPr>
          <p:nvPr>
            <p:ph type="title" hasCustomPrompt="1"/>
          </p:nvPr>
        </p:nvSpPr>
        <p:spPr>
          <a:xfrm>
            <a:off x="567559" y="222674"/>
            <a:ext cx="6854798" cy="455830"/>
          </a:xfrm>
        </p:spPr>
        <p:txBody>
          <a:bodyPr lIns="0">
            <a:normAutofit/>
          </a:bodyPr>
          <a:lstStyle>
            <a:lvl1pPr>
              <a:defRPr sz="2100" b="1">
                <a:solidFill>
                  <a:schemeClr val="accent1"/>
                </a:solidFill>
              </a:defRPr>
            </a:lvl1pPr>
          </a:lstStyle>
          <a:p>
            <a:r>
              <a:rPr lang="nb-NO" noProof="0"/>
              <a:t>Overskrift</a:t>
            </a:r>
          </a:p>
        </p:txBody>
      </p:sp>
      <p:sp>
        <p:nvSpPr>
          <p:cNvPr id="8" name="Text Placeholder 6">
            <a:extLst>
              <a:ext uri="{FF2B5EF4-FFF2-40B4-BE49-F238E27FC236}">
                <a16:creationId xmlns:a16="http://schemas.microsoft.com/office/drawing/2014/main" id="{9E0E4571-ECD0-44DB-9C5B-610B16B227A6}"/>
              </a:ext>
            </a:extLst>
          </p:cNvPr>
          <p:cNvSpPr>
            <a:spLocks noGrp="1"/>
          </p:cNvSpPr>
          <p:nvPr>
            <p:ph type="body" sz="quarter" idx="13" hasCustomPrompt="1"/>
          </p:nvPr>
        </p:nvSpPr>
        <p:spPr>
          <a:xfrm>
            <a:off x="567047" y="576817"/>
            <a:ext cx="6854798" cy="292894"/>
          </a:xfrm>
          <a:prstGeom prst="rect">
            <a:avLst/>
          </a:prstGeom>
        </p:spPr>
        <p:txBody>
          <a:bodyPr lIns="0" anchor="b">
            <a:noAutofit/>
          </a:bodyPr>
          <a:lstStyle>
            <a:lvl1pPr marL="0" indent="0">
              <a:spcBef>
                <a:spcPts val="0"/>
              </a:spcBef>
              <a:spcAft>
                <a:spcPts val="0"/>
              </a:spcAft>
              <a:buNone/>
              <a:defRPr sz="1350" b="1" i="0" cap="none" spc="45" baseline="0">
                <a:solidFill>
                  <a:schemeClr val="tx1"/>
                </a:solidFill>
              </a:defRPr>
            </a:lvl1pPr>
            <a:lvl5pPr>
              <a:defRPr>
                <a:solidFill>
                  <a:schemeClr val="bg1"/>
                </a:solidFill>
              </a:defRPr>
            </a:lvl5pPr>
          </a:lstStyle>
          <a:p>
            <a:pPr lvl="0"/>
            <a:r>
              <a:rPr lang="nb-NO" noProof="0"/>
              <a:t>Underoverskrift</a:t>
            </a:r>
          </a:p>
        </p:txBody>
      </p:sp>
      <p:pic>
        <p:nvPicPr>
          <p:cNvPr id="9" name="Bilde 8" descr="Et bilde som inneholder tegning&#10;&#10;Automatisk generert beskrivelse">
            <a:extLst>
              <a:ext uri="{FF2B5EF4-FFF2-40B4-BE49-F238E27FC236}">
                <a16:creationId xmlns:a16="http://schemas.microsoft.com/office/drawing/2014/main" id="{88BD65A5-06E9-48BF-BCFE-3B73F9C98A2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16591" y="6421"/>
            <a:ext cx="1620000" cy="653333"/>
          </a:xfrm>
          <a:prstGeom prst="rect">
            <a:avLst/>
          </a:prstGeom>
        </p:spPr>
      </p:pic>
      <p:sp>
        <p:nvSpPr>
          <p:cNvPr id="12" name="Chart Placeholder 8">
            <a:extLst>
              <a:ext uri="{FF2B5EF4-FFF2-40B4-BE49-F238E27FC236}">
                <a16:creationId xmlns:a16="http://schemas.microsoft.com/office/drawing/2014/main" id="{CC9E889F-78C0-4188-B776-EF3342F197BC}"/>
              </a:ext>
            </a:extLst>
          </p:cNvPr>
          <p:cNvSpPr>
            <a:spLocks noGrp="1"/>
          </p:cNvSpPr>
          <p:nvPr>
            <p:ph type="chart" sz="quarter" idx="26" hasCustomPrompt="1"/>
          </p:nvPr>
        </p:nvSpPr>
        <p:spPr>
          <a:xfrm>
            <a:off x="5319839" y="1693872"/>
            <a:ext cx="2853900" cy="2848654"/>
          </a:xfrm>
          <a:prstGeom prst="rect">
            <a:avLst/>
          </a:prstGeom>
        </p:spPr>
        <p:txBody>
          <a:bodyPr/>
          <a:lstStyle>
            <a:lvl1pPr marL="0" indent="0">
              <a:buNone/>
              <a:defRPr/>
            </a:lvl1pPr>
          </a:lstStyle>
          <a:p>
            <a:r>
              <a:rPr lang="en-GB" noProof="0"/>
              <a:t> </a:t>
            </a:r>
          </a:p>
        </p:txBody>
      </p:sp>
      <p:sp>
        <p:nvSpPr>
          <p:cNvPr id="2" name="TekstSylinder 1">
            <a:extLst>
              <a:ext uri="{FF2B5EF4-FFF2-40B4-BE49-F238E27FC236}">
                <a16:creationId xmlns:a16="http://schemas.microsoft.com/office/drawing/2014/main" id="{51E20DAB-AD99-4DCE-8CCE-A895C8846A1C}"/>
              </a:ext>
            </a:extLst>
          </p:cNvPr>
          <p:cNvSpPr txBox="1"/>
          <p:nvPr userDrawn="1"/>
        </p:nvSpPr>
        <p:spPr>
          <a:xfrm>
            <a:off x="8246795" y="4828493"/>
            <a:ext cx="329277" cy="207749"/>
          </a:xfrm>
          <a:prstGeom prst="rect">
            <a:avLst/>
          </a:prstGeom>
          <a:noFill/>
        </p:spPr>
        <p:txBody>
          <a:bodyPr wrap="square" rIns="0" rtlCol="0">
            <a:spAutoFit/>
          </a:bodyPr>
          <a:lstStyle/>
          <a:p>
            <a:pPr algn="r"/>
            <a:fld id="{C25C054F-90E3-43D3-9F5F-0765C525DF5A}" type="slidenum">
              <a:rPr lang="nb-NO" sz="750" smtClean="0">
                <a:solidFill>
                  <a:schemeClr val="accent1"/>
                </a:solidFill>
              </a:rPr>
              <a:pPr algn="r"/>
              <a:t>‹#›</a:t>
            </a:fld>
            <a:endParaRPr lang="nb-NO" sz="750">
              <a:solidFill>
                <a:schemeClr val="accent1"/>
              </a:solidFill>
            </a:endParaRPr>
          </a:p>
        </p:txBody>
      </p:sp>
    </p:spTree>
    <p:extLst>
      <p:ext uri="{BB962C8B-B14F-4D97-AF65-F5344CB8AC3E}">
        <p14:creationId xmlns:p14="http://schemas.microsoft.com/office/powerpoint/2010/main" val="344576701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Kapittelside 1">
    <p:spTree>
      <p:nvGrpSpPr>
        <p:cNvPr id="1" name=""/>
        <p:cNvGrpSpPr/>
        <p:nvPr/>
      </p:nvGrpSpPr>
      <p:grpSpPr>
        <a:xfrm>
          <a:off x="0" y="0"/>
          <a:ext cx="0" cy="0"/>
          <a:chOff x="0" y="0"/>
          <a:chExt cx="0" cy="0"/>
        </a:xfrm>
      </p:grpSpPr>
      <p:pic>
        <p:nvPicPr>
          <p:cNvPr id="3" name="Bilde 2" descr="Et bilde som inneholder uklar, uskarpt&#10;&#10;Automatisk generert beskrivelse">
            <a:extLst>
              <a:ext uri="{FF2B5EF4-FFF2-40B4-BE49-F238E27FC236}">
                <a16:creationId xmlns:a16="http://schemas.microsoft.com/office/drawing/2014/main" id="{FD0EAD0C-6913-4195-A1C7-E0892B99009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3" name="Rubrik 1">
            <a:extLst>
              <a:ext uri="{FF2B5EF4-FFF2-40B4-BE49-F238E27FC236}">
                <a16:creationId xmlns:a16="http://schemas.microsoft.com/office/drawing/2014/main" id="{D6009B22-8BAF-4C08-8A0B-EF95DE057143}"/>
              </a:ext>
            </a:extLst>
          </p:cNvPr>
          <p:cNvSpPr>
            <a:spLocks noGrp="1"/>
          </p:cNvSpPr>
          <p:nvPr>
            <p:ph type="title" hasCustomPrompt="1"/>
          </p:nvPr>
        </p:nvSpPr>
        <p:spPr>
          <a:xfrm>
            <a:off x="3291437" y="2571750"/>
            <a:ext cx="5049441" cy="455830"/>
          </a:xfrm>
        </p:spPr>
        <p:txBody>
          <a:bodyPr lIns="0">
            <a:normAutofit/>
          </a:bodyPr>
          <a:lstStyle>
            <a:lvl1pPr>
              <a:defRPr sz="2400" b="1">
                <a:solidFill>
                  <a:schemeClr val="tx1"/>
                </a:solidFill>
              </a:defRPr>
            </a:lvl1pPr>
          </a:lstStyle>
          <a:p>
            <a:r>
              <a:rPr lang="nb-NO" noProof="0"/>
              <a:t>Kapittelside</a:t>
            </a:r>
          </a:p>
        </p:txBody>
      </p:sp>
    </p:spTree>
    <p:extLst>
      <p:ext uri="{BB962C8B-B14F-4D97-AF65-F5344CB8AC3E}">
        <p14:creationId xmlns:p14="http://schemas.microsoft.com/office/powerpoint/2010/main" val="12747994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Content 1 White">
    <p:spTree>
      <p:nvGrpSpPr>
        <p:cNvPr id="1" name=""/>
        <p:cNvGrpSpPr/>
        <p:nvPr/>
      </p:nvGrpSpPr>
      <p:grpSpPr>
        <a:xfrm>
          <a:off x="0" y="0"/>
          <a:ext cx="0" cy="0"/>
          <a:chOff x="0" y="0"/>
          <a:chExt cx="0" cy="0"/>
        </a:xfrm>
      </p:grpSpPr>
      <p:grpSp>
        <p:nvGrpSpPr>
          <p:cNvPr id="22" name="Grupp 21">
            <a:extLst>
              <a:ext uri="{FF2B5EF4-FFF2-40B4-BE49-F238E27FC236}">
                <a16:creationId xmlns:a16="http://schemas.microsoft.com/office/drawing/2014/main" id="{58A4F037-5372-4F50-AB2C-80E4F015FDE0}"/>
              </a:ext>
            </a:extLst>
          </p:cNvPr>
          <p:cNvGrpSpPr/>
          <p:nvPr userDrawn="1"/>
        </p:nvGrpSpPr>
        <p:grpSpPr>
          <a:xfrm>
            <a:off x="4113113" y="-1785593"/>
            <a:ext cx="8908892" cy="8714685"/>
            <a:chOff x="3589405" y="387640"/>
            <a:chExt cx="5873827" cy="5872463"/>
          </a:xfrm>
          <a:solidFill>
            <a:schemeClr val="tx1">
              <a:alpha val="10000"/>
            </a:schemeClr>
          </a:solidFill>
        </p:grpSpPr>
        <p:sp>
          <p:nvSpPr>
            <p:cNvPr id="23" name="Freeform 5">
              <a:extLst>
                <a:ext uri="{FF2B5EF4-FFF2-40B4-BE49-F238E27FC236}">
                  <a16:creationId xmlns:a16="http://schemas.microsoft.com/office/drawing/2014/main" id="{7C1D4E85-F2CE-4336-8CC8-25E235311297}"/>
                </a:ext>
              </a:extLst>
            </p:cNvPr>
            <p:cNvSpPr>
              <a:spLocks/>
            </p:cNvSpPr>
            <p:nvPr/>
          </p:nvSpPr>
          <p:spPr bwMode="auto">
            <a:xfrm>
              <a:off x="3871774" y="678194"/>
              <a:ext cx="1392749" cy="1400934"/>
            </a:xfrm>
            <a:custGeom>
              <a:avLst/>
              <a:gdLst>
                <a:gd name="T0" fmla="*/ 2096 w 2096"/>
                <a:gd name="T1" fmla="*/ 0 h 2108"/>
                <a:gd name="T2" fmla="*/ 877 w 2096"/>
                <a:gd name="T3" fmla="*/ 863 h 2108"/>
                <a:gd name="T4" fmla="*/ 0 w 2096"/>
                <a:gd name="T5" fmla="*/ 2108 h 2108"/>
                <a:gd name="T6" fmla="*/ 981 w 2096"/>
                <a:gd name="T7" fmla="*/ 948 h 2108"/>
                <a:gd name="T8" fmla="*/ 2096 w 2096"/>
                <a:gd name="T9" fmla="*/ 0 h 2108"/>
              </a:gdLst>
              <a:ahLst/>
              <a:cxnLst>
                <a:cxn ang="0">
                  <a:pos x="T0" y="T1"/>
                </a:cxn>
                <a:cxn ang="0">
                  <a:pos x="T2" y="T3"/>
                </a:cxn>
                <a:cxn ang="0">
                  <a:pos x="T4" y="T5"/>
                </a:cxn>
                <a:cxn ang="0">
                  <a:pos x="T6" y="T7"/>
                </a:cxn>
                <a:cxn ang="0">
                  <a:pos x="T8" y="T9"/>
                </a:cxn>
              </a:cxnLst>
              <a:rect l="0" t="0" r="r" b="b"/>
              <a:pathLst>
                <a:path w="2096" h="2108">
                  <a:moveTo>
                    <a:pt x="2096" y="0"/>
                  </a:moveTo>
                  <a:cubicBezTo>
                    <a:pt x="1655" y="211"/>
                    <a:pt x="1242" y="498"/>
                    <a:pt x="877" y="863"/>
                  </a:cubicBezTo>
                  <a:cubicBezTo>
                    <a:pt x="504" y="1235"/>
                    <a:pt x="213" y="1658"/>
                    <a:pt x="0" y="2108"/>
                  </a:cubicBezTo>
                  <a:cubicBezTo>
                    <a:pt x="254" y="1741"/>
                    <a:pt x="588" y="1343"/>
                    <a:pt x="981" y="948"/>
                  </a:cubicBezTo>
                  <a:cubicBezTo>
                    <a:pt x="1360" y="571"/>
                    <a:pt x="1741" y="249"/>
                    <a:pt x="209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4" name="Freeform 6">
              <a:extLst>
                <a:ext uri="{FF2B5EF4-FFF2-40B4-BE49-F238E27FC236}">
                  <a16:creationId xmlns:a16="http://schemas.microsoft.com/office/drawing/2014/main" id="{AAC8634F-3E34-4168-8D60-19B3A00C0D81}"/>
                </a:ext>
              </a:extLst>
            </p:cNvPr>
            <p:cNvSpPr>
              <a:spLocks/>
            </p:cNvSpPr>
            <p:nvPr/>
          </p:nvSpPr>
          <p:spPr bwMode="auto">
            <a:xfrm>
              <a:off x="3635784" y="435383"/>
              <a:ext cx="2381724" cy="2399457"/>
            </a:xfrm>
            <a:custGeom>
              <a:avLst/>
              <a:gdLst>
                <a:gd name="T0" fmla="*/ 446 w 3585"/>
                <a:gd name="T1" fmla="*/ 2866 h 3609"/>
                <a:gd name="T2" fmla="*/ 484 w 3585"/>
                <a:gd name="T3" fmla="*/ 2811 h 3609"/>
                <a:gd name="T4" fmla="*/ 1565 w 3585"/>
                <a:gd name="T5" fmla="*/ 1541 h 3609"/>
                <a:gd name="T6" fmla="*/ 2835 w 3585"/>
                <a:gd name="T7" fmla="*/ 460 h 3609"/>
                <a:gd name="T8" fmla="*/ 2891 w 3585"/>
                <a:gd name="T9" fmla="*/ 422 h 3609"/>
                <a:gd name="T10" fmla="*/ 2945 w 3585"/>
                <a:gd name="T11" fmla="*/ 385 h 3609"/>
                <a:gd name="T12" fmla="*/ 3585 w 3585"/>
                <a:gd name="T13" fmla="*/ 0 h 3609"/>
                <a:gd name="T14" fmla="*/ 3071 w 3585"/>
                <a:gd name="T15" fmla="*/ 123 h 3609"/>
                <a:gd name="T16" fmla="*/ 2863 w 3585"/>
                <a:gd name="T17" fmla="*/ 239 h 3609"/>
                <a:gd name="T18" fmla="*/ 2809 w 3585"/>
                <a:gd name="T19" fmla="*/ 272 h 3609"/>
                <a:gd name="T20" fmla="*/ 2752 w 3585"/>
                <a:gd name="T21" fmla="*/ 307 h 3609"/>
                <a:gd name="T22" fmla="*/ 1420 w 3585"/>
                <a:gd name="T23" fmla="*/ 1396 h 3609"/>
                <a:gd name="T24" fmla="*/ 331 w 3585"/>
                <a:gd name="T25" fmla="*/ 2728 h 3609"/>
                <a:gd name="T26" fmla="*/ 296 w 3585"/>
                <a:gd name="T27" fmla="*/ 2785 h 3609"/>
                <a:gd name="T28" fmla="*/ 263 w 3585"/>
                <a:gd name="T29" fmla="*/ 2839 h 3609"/>
                <a:gd name="T30" fmla="*/ 113 w 3585"/>
                <a:gd name="T31" fmla="*/ 3114 h 3609"/>
                <a:gd name="T32" fmla="*/ 0 w 3585"/>
                <a:gd name="T33" fmla="*/ 3609 h 3609"/>
                <a:gd name="T34" fmla="*/ 408 w 3585"/>
                <a:gd name="T35" fmla="*/ 2921 h 3609"/>
                <a:gd name="T36" fmla="*/ 446 w 3585"/>
                <a:gd name="T37" fmla="*/ 2866 h 3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85" h="3609">
                  <a:moveTo>
                    <a:pt x="446" y="2866"/>
                  </a:moveTo>
                  <a:cubicBezTo>
                    <a:pt x="459" y="2848"/>
                    <a:pt x="471" y="2830"/>
                    <a:pt x="484" y="2811"/>
                  </a:cubicBezTo>
                  <a:cubicBezTo>
                    <a:pt x="775" y="2399"/>
                    <a:pt x="1141" y="1966"/>
                    <a:pt x="1565" y="1541"/>
                  </a:cubicBezTo>
                  <a:cubicBezTo>
                    <a:pt x="1990" y="1117"/>
                    <a:pt x="2423" y="751"/>
                    <a:pt x="2835" y="460"/>
                  </a:cubicBezTo>
                  <a:cubicBezTo>
                    <a:pt x="2854" y="447"/>
                    <a:pt x="2872" y="435"/>
                    <a:pt x="2891" y="422"/>
                  </a:cubicBezTo>
                  <a:cubicBezTo>
                    <a:pt x="2909" y="409"/>
                    <a:pt x="2927" y="397"/>
                    <a:pt x="2945" y="385"/>
                  </a:cubicBezTo>
                  <a:cubicBezTo>
                    <a:pt x="3167" y="233"/>
                    <a:pt x="3382" y="104"/>
                    <a:pt x="3585" y="0"/>
                  </a:cubicBezTo>
                  <a:cubicBezTo>
                    <a:pt x="3412" y="31"/>
                    <a:pt x="3240" y="72"/>
                    <a:pt x="3071" y="123"/>
                  </a:cubicBezTo>
                  <a:cubicBezTo>
                    <a:pt x="3004" y="158"/>
                    <a:pt x="2935" y="196"/>
                    <a:pt x="2863" y="239"/>
                  </a:cubicBezTo>
                  <a:cubicBezTo>
                    <a:pt x="2845" y="249"/>
                    <a:pt x="2827" y="261"/>
                    <a:pt x="2809" y="272"/>
                  </a:cubicBezTo>
                  <a:cubicBezTo>
                    <a:pt x="2790" y="284"/>
                    <a:pt x="2771" y="294"/>
                    <a:pt x="2752" y="307"/>
                  </a:cubicBezTo>
                  <a:cubicBezTo>
                    <a:pt x="2343" y="565"/>
                    <a:pt x="1875" y="939"/>
                    <a:pt x="1420" y="1396"/>
                  </a:cubicBezTo>
                  <a:cubicBezTo>
                    <a:pt x="963" y="1851"/>
                    <a:pt x="589" y="2319"/>
                    <a:pt x="331" y="2728"/>
                  </a:cubicBezTo>
                  <a:cubicBezTo>
                    <a:pt x="318" y="2747"/>
                    <a:pt x="308" y="2766"/>
                    <a:pt x="296" y="2785"/>
                  </a:cubicBezTo>
                  <a:cubicBezTo>
                    <a:pt x="285" y="2803"/>
                    <a:pt x="273" y="2821"/>
                    <a:pt x="263" y="2839"/>
                  </a:cubicBezTo>
                  <a:cubicBezTo>
                    <a:pt x="205" y="2935"/>
                    <a:pt x="156" y="3027"/>
                    <a:pt x="113" y="3114"/>
                  </a:cubicBezTo>
                  <a:cubicBezTo>
                    <a:pt x="65" y="3277"/>
                    <a:pt x="28" y="3443"/>
                    <a:pt x="0" y="3609"/>
                  </a:cubicBezTo>
                  <a:cubicBezTo>
                    <a:pt x="107" y="3392"/>
                    <a:pt x="245" y="3161"/>
                    <a:pt x="408" y="2921"/>
                  </a:cubicBezTo>
                  <a:cubicBezTo>
                    <a:pt x="421" y="2903"/>
                    <a:pt x="433" y="2885"/>
                    <a:pt x="446" y="28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5" name="Freeform 7">
              <a:extLst>
                <a:ext uri="{FF2B5EF4-FFF2-40B4-BE49-F238E27FC236}">
                  <a16:creationId xmlns:a16="http://schemas.microsoft.com/office/drawing/2014/main" id="{1044E1AF-5D57-4C57-A718-661729CA160C}"/>
                </a:ext>
              </a:extLst>
            </p:cNvPr>
            <p:cNvSpPr>
              <a:spLocks/>
            </p:cNvSpPr>
            <p:nvPr/>
          </p:nvSpPr>
          <p:spPr bwMode="auto">
            <a:xfrm>
              <a:off x="3589405" y="387640"/>
              <a:ext cx="3051498" cy="3077416"/>
            </a:xfrm>
            <a:custGeom>
              <a:avLst/>
              <a:gdLst>
                <a:gd name="T0" fmla="*/ 267 w 4592"/>
                <a:gd name="T1" fmla="*/ 4024 h 4629"/>
                <a:gd name="T2" fmla="*/ 1026 w 4592"/>
                <a:gd name="T3" fmla="*/ 2858 h 4629"/>
                <a:gd name="T4" fmla="*/ 1121 w 4592"/>
                <a:gd name="T5" fmla="*/ 2738 h 4629"/>
                <a:gd name="T6" fmla="*/ 1236 w 4592"/>
                <a:gd name="T7" fmla="*/ 2597 h 4629"/>
                <a:gd name="T8" fmla="*/ 1896 w 4592"/>
                <a:gd name="T9" fmla="*/ 1875 h 4629"/>
                <a:gd name="T10" fmla="*/ 2618 w 4592"/>
                <a:gd name="T11" fmla="*/ 1215 h 4629"/>
                <a:gd name="T12" fmla="*/ 2759 w 4592"/>
                <a:gd name="T13" fmla="*/ 1101 h 4629"/>
                <a:gd name="T14" fmla="*/ 2878 w 4592"/>
                <a:gd name="T15" fmla="*/ 1006 h 4629"/>
                <a:gd name="T16" fmla="*/ 4045 w 4592"/>
                <a:gd name="T17" fmla="*/ 246 h 4629"/>
                <a:gd name="T18" fmla="*/ 4104 w 4592"/>
                <a:gd name="T19" fmla="*/ 217 h 4629"/>
                <a:gd name="T20" fmla="*/ 4159 w 4592"/>
                <a:gd name="T21" fmla="*/ 189 h 4629"/>
                <a:gd name="T22" fmla="*/ 4592 w 4592"/>
                <a:gd name="T23" fmla="*/ 6 h 4629"/>
                <a:gd name="T24" fmla="*/ 4098 w 4592"/>
                <a:gd name="T25" fmla="*/ 16 h 4629"/>
                <a:gd name="T26" fmla="*/ 4059 w 4592"/>
                <a:gd name="T27" fmla="*/ 19 h 4629"/>
                <a:gd name="T28" fmla="*/ 4034 w 4592"/>
                <a:gd name="T29" fmla="*/ 29 h 4629"/>
                <a:gd name="T30" fmla="*/ 3987 w 4592"/>
                <a:gd name="T31" fmla="*/ 49 h 4629"/>
                <a:gd name="T32" fmla="*/ 3976 w 4592"/>
                <a:gd name="T33" fmla="*/ 53 h 4629"/>
                <a:gd name="T34" fmla="*/ 3018 w 4592"/>
                <a:gd name="T35" fmla="*/ 598 h 4629"/>
                <a:gd name="T36" fmla="*/ 2950 w 4592"/>
                <a:gd name="T37" fmla="*/ 644 h 4629"/>
                <a:gd name="T38" fmla="*/ 2877 w 4592"/>
                <a:gd name="T39" fmla="*/ 698 h 4629"/>
                <a:gd name="T40" fmla="*/ 1717 w 4592"/>
                <a:gd name="T41" fmla="*/ 1696 h 4629"/>
                <a:gd name="T42" fmla="*/ 718 w 4592"/>
                <a:gd name="T43" fmla="*/ 2856 h 4629"/>
                <a:gd name="T44" fmla="*/ 665 w 4592"/>
                <a:gd name="T45" fmla="*/ 2929 h 4629"/>
                <a:gd name="T46" fmla="*/ 618 w 4592"/>
                <a:gd name="T47" fmla="*/ 2997 h 4629"/>
                <a:gd name="T48" fmla="*/ 74 w 4592"/>
                <a:gd name="T49" fmla="*/ 3955 h 4629"/>
                <a:gd name="T50" fmla="*/ 50 w 4592"/>
                <a:gd name="T51" fmla="*/ 4013 h 4629"/>
                <a:gd name="T52" fmla="*/ 28 w 4592"/>
                <a:gd name="T53" fmla="*/ 4070 h 4629"/>
                <a:gd name="T54" fmla="*/ 17 w 4592"/>
                <a:gd name="T55" fmla="*/ 4101 h 4629"/>
                <a:gd name="T56" fmla="*/ 8 w 4592"/>
                <a:gd name="T57" fmla="*/ 4629 h 4629"/>
                <a:gd name="T58" fmla="*/ 210 w 4592"/>
                <a:gd name="T59" fmla="*/ 4138 h 4629"/>
                <a:gd name="T60" fmla="*/ 238 w 4592"/>
                <a:gd name="T61" fmla="*/ 4083 h 4629"/>
                <a:gd name="T62" fmla="*/ 267 w 4592"/>
                <a:gd name="T63" fmla="*/ 4024 h 4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92" h="4629">
                  <a:moveTo>
                    <a:pt x="267" y="4024"/>
                  </a:moveTo>
                  <a:cubicBezTo>
                    <a:pt x="457" y="3655"/>
                    <a:pt x="713" y="3259"/>
                    <a:pt x="1026" y="2858"/>
                  </a:cubicBezTo>
                  <a:cubicBezTo>
                    <a:pt x="1057" y="2818"/>
                    <a:pt x="1089" y="2778"/>
                    <a:pt x="1121" y="2738"/>
                  </a:cubicBezTo>
                  <a:cubicBezTo>
                    <a:pt x="1159" y="2691"/>
                    <a:pt x="1197" y="2644"/>
                    <a:pt x="1236" y="2597"/>
                  </a:cubicBezTo>
                  <a:cubicBezTo>
                    <a:pt x="1437" y="2356"/>
                    <a:pt x="1658" y="2114"/>
                    <a:pt x="1896" y="1875"/>
                  </a:cubicBezTo>
                  <a:cubicBezTo>
                    <a:pt x="2134" y="1637"/>
                    <a:pt x="2376" y="1417"/>
                    <a:pt x="2618" y="1215"/>
                  </a:cubicBezTo>
                  <a:cubicBezTo>
                    <a:pt x="2665" y="1176"/>
                    <a:pt x="2712" y="1138"/>
                    <a:pt x="2759" y="1101"/>
                  </a:cubicBezTo>
                  <a:cubicBezTo>
                    <a:pt x="2799" y="1068"/>
                    <a:pt x="2839" y="1037"/>
                    <a:pt x="2878" y="1006"/>
                  </a:cubicBezTo>
                  <a:cubicBezTo>
                    <a:pt x="3280" y="693"/>
                    <a:pt x="3675" y="437"/>
                    <a:pt x="4045" y="246"/>
                  </a:cubicBezTo>
                  <a:cubicBezTo>
                    <a:pt x="4065" y="236"/>
                    <a:pt x="4084" y="226"/>
                    <a:pt x="4104" y="217"/>
                  </a:cubicBezTo>
                  <a:cubicBezTo>
                    <a:pt x="4122" y="208"/>
                    <a:pt x="4141" y="198"/>
                    <a:pt x="4159" y="189"/>
                  </a:cubicBezTo>
                  <a:cubicBezTo>
                    <a:pt x="4309" y="116"/>
                    <a:pt x="4453" y="55"/>
                    <a:pt x="4592" y="6"/>
                  </a:cubicBezTo>
                  <a:cubicBezTo>
                    <a:pt x="4427" y="0"/>
                    <a:pt x="4262" y="3"/>
                    <a:pt x="4098" y="16"/>
                  </a:cubicBezTo>
                  <a:cubicBezTo>
                    <a:pt x="4085" y="17"/>
                    <a:pt x="4072" y="18"/>
                    <a:pt x="4059" y="19"/>
                  </a:cubicBezTo>
                  <a:cubicBezTo>
                    <a:pt x="4051" y="22"/>
                    <a:pt x="4043" y="26"/>
                    <a:pt x="4034" y="29"/>
                  </a:cubicBezTo>
                  <a:cubicBezTo>
                    <a:pt x="4019" y="35"/>
                    <a:pt x="4003" y="42"/>
                    <a:pt x="3987" y="49"/>
                  </a:cubicBezTo>
                  <a:cubicBezTo>
                    <a:pt x="3983" y="50"/>
                    <a:pt x="3980" y="51"/>
                    <a:pt x="3976" y="53"/>
                  </a:cubicBezTo>
                  <a:cubicBezTo>
                    <a:pt x="3689" y="174"/>
                    <a:pt x="3362" y="358"/>
                    <a:pt x="3018" y="598"/>
                  </a:cubicBezTo>
                  <a:cubicBezTo>
                    <a:pt x="2995" y="613"/>
                    <a:pt x="2973" y="628"/>
                    <a:pt x="2950" y="644"/>
                  </a:cubicBezTo>
                  <a:cubicBezTo>
                    <a:pt x="2926" y="661"/>
                    <a:pt x="2902" y="680"/>
                    <a:pt x="2877" y="698"/>
                  </a:cubicBezTo>
                  <a:cubicBezTo>
                    <a:pt x="2499" y="973"/>
                    <a:pt x="2103" y="1309"/>
                    <a:pt x="1717" y="1696"/>
                  </a:cubicBezTo>
                  <a:cubicBezTo>
                    <a:pt x="1330" y="2082"/>
                    <a:pt x="994" y="2478"/>
                    <a:pt x="718" y="2856"/>
                  </a:cubicBezTo>
                  <a:cubicBezTo>
                    <a:pt x="701" y="2881"/>
                    <a:pt x="682" y="2905"/>
                    <a:pt x="665" y="2929"/>
                  </a:cubicBezTo>
                  <a:cubicBezTo>
                    <a:pt x="649" y="2952"/>
                    <a:pt x="634" y="2974"/>
                    <a:pt x="618" y="2997"/>
                  </a:cubicBezTo>
                  <a:cubicBezTo>
                    <a:pt x="379" y="3341"/>
                    <a:pt x="195" y="3668"/>
                    <a:pt x="74" y="3955"/>
                  </a:cubicBezTo>
                  <a:cubicBezTo>
                    <a:pt x="66" y="3975"/>
                    <a:pt x="57" y="3994"/>
                    <a:pt x="50" y="4013"/>
                  </a:cubicBezTo>
                  <a:cubicBezTo>
                    <a:pt x="42" y="4032"/>
                    <a:pt x="35" y="4051"/>
                    <a:pt x="28" y="4070"/>
                  </a:cubicBezTo>
                  <a:cubicBezTo>
                    <a:pt x="24" y="4080"/>
                    <a:pt x="21" y="4090"/>
                    <a:pt x="17" y="4101"/>
                  </a:cubicBezTo>
                  <a:cubicBezTo>
                    <a:pt x="4" y="4276"/>
                    <a:pt x="0" y="4452"/>
                    <a:pt x="8" y="4629"/>
                  </a:cubicBezTo>
                  <a:cubicBezTo>
                    <a:pt x="60" y="4472"/>
                    <a:pt x="127" y="4309"/>
                    <a:pt x="210" y="4138"/>
                  </a:cubicBezTo>
                  <a:cubicBezTo>
                    <a:pt x="219" y="4120"/>
                    <a:pt x="228" y="4101"/>
                    <a:pt x="238" y="4083"/>
                  </a:cubicBezTo>
                  <a:cubicBezTo>
                    <a:pt x="247" y="4063"/>
                    <a:pt x="257" y="4044"/>
                    <a:pt x="267" y="40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6" name="Freeform 8">
              <a:extLst>
                <a:ext uri="{FF2B5EF4-FFF2-40B4-BE49-F238E27FC236}">
                  <a16:creationId xmlns:a16="http://schemas.microsoft.com/office/drawing/2014/main" id="{3377C1A4-0564-4448-BF92-C18ABDBCE824}"/>
                </a:ext>
              </a:extLst>
            </p:cNvPr>
            <p:cNvSpPr>
              <a:spLocks/>
            </p:cNvSpPr>
            <p:nvPr/>
          </p:nvSpPr>
          <p:spPr bwMode="auto">
            <a:xfrm>
              <a:off x="3736728" y="524050"/>
              <a:ext cx="4067755" cy="4096401"/>
            </a:xfrm>
            <a:custGeom>
              <a:avLst/>
              <a:gdLst>
                <a:gd name="T0" fmla="*/ 711 w 6120"/>
                <a:gd name="T1" fmla="*/ 4802 h 6162"/>
                <a:gd name="T2" fmla="*/ 755 w 6120"/>
                <a:gd name="T3" fmla="*/ 4721 h 6162"/>
                <a:gd name="T4" fmla="*/ 2492 w 6120"/>
                <a:gd name="T5" fmla="*/ 2487 h 6162"/>
                <a:gd name="T6" fmla="*/ 4726 w 6120"/>
                <a:gd name="T7" fmla="*/ 750 h 6162"/>
                <a:gd name="T8" fmla="*/ 4807 w 6120"/>
                <a:gd name="T9" fmla="*/ 706 h 6162"/>
                <a:gd name="T10" fmla="*/ 4883 w 6120"/>
                <a:gd name="T11" fmla="*/ 666 h 6162"/>
                <a:gd name="T12" fmla="*/ 5747 w 6120"/>
                <a:gd name="T13" fmla="*/ 308 h 6162"/>
                <a:gd name="T14" fmla="*/ 5804 w 6120"/>
                <a:gd name="T15" fmla="*/ 292 h 6162"/>
                <a:gd name="T16" fmla="*/ 5862 w 6120"/>
                <a:gd name="T17" fmla="*/ 276 h 6162"/>
                <a:gd name="T18" fmla="*/ 6120 w 6120"/>
                <a:gd name="T19" fmla="*/ 226 h 6162"/>
                <a:gd name="T20" fmla="*/ 5817 w 6120"/>
                <a:gd name="T21" fmla="*/ 96 h 6162"/>
                <a:gd name="T22" fmla="*/ 5740 w 6120"/>
                <a:gd name="T23" fmla="*/ 67 h 6162"/>
                <a:gd name="T24" fmla="*/ 5659 w 6120"/>
                <a:gd name="T25" fmla="*/ 37 h 6162"/>
                <a:gd name="T26" fmla="*/ 5541 w 6120"/>
                <a:gd name="T27" fmla="*/ 0 h 6162"/>
                <a:gd name="T28" fmla="*/ 4988 w 6120"/>
                <a:gd name="T29" fmla="*/ 131 h 6162"/>
                <a:gd name="T30" fmla="*/ 4928 w 6120"/>
                <a:gd name="T31" fmla="*/ 153 h 6162"/>
                <a:gd name="T32" fmla="*/ 4868 w 6120"/>
                <a:gd name="T33" fmla="*/ 175 h 6162"/>
                <a:gd name="T34" fmla="*/ 3700 w 6120"/>
                <a:gd name="T35" fmla="*/ 791 h 6162"/>
                <a:gd name="T36" fmla="*/ 3593 w 6120"/>
                <a:gd name="T37" fmla="*/ 862 h 6162"/>
                <a:gd name="T38" fmla="*/ 3473 w 6120"/>
                <a:gd name="T39" fmla="*/ 946 h 6162"/>
                <a:gd name="T40" fmla="*/ 2108 w 6120"/>
                <a:gd name="T41" fmla="*/ 2103 h 6162"/>
                <a:gd name="T42" fmla="*/ 951 w 6120"/>
                <a:gd name="T43" fmla="*/ 3469 h 6162"/>
                <a:gd name="T44" fmla="*/ 866 w 6120"/>
                <a:gd name="T45" fmla="*/ 3588 h 6162"/>
                <a:gd name="T46" fmla="*/ 796 w 6120"/>
                <a:gd name="T47" fmla="*/ 3695 h 6162"/>
                <a:gd name="T48" fmla="*/ 180 w 6120"/>
                <a:gd name="T49" fmla="*/ 4863 h 6162"/>
                <a:gd name="T50" fmla="*/ 157 w 6120"/>
                <a:gd name="T51" fmla="*/ 4924 h 6162"/>
                <a:gd name="T52" fmla="*/ 136 w 6120"/>
                <a:gd name="T53" fmla="*/ 4983 h 6162"/>
                <a:gd name="T54" fmla="*/ 0 w 6120"/>
                <a:gd name="T55" fmla="*/ 5601 h 6162"/>
                <a:gd name="T56" fmla="*/ 9 w 6120"/>
                <a:gd name="T57" fmla="*/ 5631 h 6162"/>
                <a:gd name="T58" fmla="*/ 39 w 6120"/>
                <a:gd name="T59" fmla="*/ 5719 h 6162"/>
                <a:gd name="T60" fmla="*/ 69 w 6120"/>
                <a:gd name="T61" fmla="*/ 5799 h 6162"/>
                <a:gd name="T62" fmla="*/ 225 w 6120"/>
                <a:gd name="T63" fmla="*/ 6162 h 6162"/>
                <a:gd name="T64" fmla="*/ 282 w 6120"/>
                <a:gd name="T65" fmla="*/ 5857 h 6162"/>
                <a:gd name="T66" fmla="*/ 297 w 6120"/>
                <a:gd name="T67" fmla="*/ 5799 h 6162"/>
                <a:gd name="T68" fmla="*/ 313 w 6120"/>
                <a:gd name="T69" fmla="*/ 5742 h 6162"/>
                <a:gd name="T70" fmla="*/ 671 w 6120"/>
                <a:gd name="T71" fmla="*/ 4877 h 6162"/>
                <a:gd name="T72" fmla="*/ 711 w 6120"/>
                <a:gd name="T73" fmla="*/ 4802 h 6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20" h="6162">
                  <a:moveTo>
                    <a:pt x="711" y="4802"/>
                  </a:moveTo>
                  <a:cubicBezTo>
                    <a:pt x="726" y="4775"/>
                    <a:pt x="740" y="4748"/>
                    <a:pt x="755" y="4721"/>
                  </a:cubicBezTo>
                  <a:cubicBezTo>
                    <a:pt x="1151" y="4012"/>
                    <a:pt x="1746" y="3234"/>
                    <a:pt x="2492" y="2487"/>
                  </a:cubicBezTo>
                  <a:cubicBezTo>
                    <a:pt x="3239" y="1741"/>
                    <a:pt x="4017" y="1146"/>
                    <a:pt x="4726" y="750"/>
                  </a:cubicBezTo>
                  <a:cubicBezTo>
                    <a:pt x="4753" y="735"/>
                    <a:pt x="4780" y="721"/>
                    <a:pt x="4807" y="706"/>
                  </a:cubicBezTo>
                  <a:cubicBezTo>
                    <a:pt x="4832" y="693"/>
                    <a:pt x="4857" y="679"/>
                    <a:pt x="4883" y="666"/>
                  </a:cubicBezTo>
                  <a:cubicBezTo>
                    <a:pt x="5189" y="506"/>
                    <a:pt x="5480" y="385"/>
                    <a:pt x="5747" y="308"/>
                  </a:cubicBezTo>
                  <a:cubicBezTo>
                    <a:pt x="5766" y="302"/>
                    <a:pt x="5785" y="297"/>
                    <a:pt x="5804" y="292"/>
                  </a:cubicBezTo>
                  <a:cubicBezTo>
                    <a:pt x="5824" y="286"/>
                    <a:pt x="5843" y="281"/>
                    <a:pt x="5862" y="276"/>
                  </a:cubicBezTo>
                  <a:cubicBezTo>
                    <a:pt x="5951" y="254"/>
                    <a:pt x="6037" y="238"/>
                    <a:pt x="6120" y="226"/>
                  </a:cubicBezTo>
                  <a:cubicBezTo>
                    <a:pt x="6020" y="179"/>
                    <a:pt x="5919" y="136"/>
                    <a:pt x="5817" y="96"/>
                  </a:cubicBezTo>
                  <a:cubicBezTo>
                    <a:pt x="5791" y="86"/>
                    <a:pt x="5766" y="76"/>
                    <a:pt x="5740" y="67"/>
                  </a:cubicBezTo>
                  <a:cubicBezTo>
                    <a:pt x="5713" y="57"/>
                    <a:pt x="5686" y="47"/>
                    <a:pt x="5659" y="37"/>
                  </a:cubicBezTo>
                  <a:cubicBezTo>
                    <a:pt x="5620" y="24"/>
                    <a:pt x="5580" y="12"/>
                    <a:pt x="5541" y="0"/>
                  </a:cubicBezTo>
                  <a:cubicBezTo>
                    <a:pt x="5373" y="19"/>
                    <a:pt x="5187" y="62"/>
                    <a:pt x="4988" y="131"/>
                  </a:cubicBezTo>
                  <a:cubicBezTo>
                    <a:pt x="4969" y="137"/>
                    <a:pt x="4948" y="145"/>
                    <a:pt x="4928" y="153"/>
                  </a:cubicBezTo>
                  <a:cubicBezTo>
                    <a:pt x="4909" y="160"/>
                    <a:pt x="4888" y="168"/>
                    <a:pt x="4868" y="175"/>
                  </a:cubicBezTo>
                  <a:cubicBezTo>
                    <a:pt x="4509" y="311"/>
                    <a:pt x="4113" y="520"/>
                    <a:pt x="3700" y="791"/>
                  </a:cubicBezTo>
                  <a:cubicBezTo>
                    <a:pt x="3665" y="815"/>
                    <a:pt x="3629" y="837"/>
                    <a:pt x="3593" y="862"/>
                  </a:cubicBezTo>
                  <a:cubicBezTo>
                    <a:pt x="3554" y="889"/>
                    <a:pt x="3513" y="918"/>
                    <a:pt x="3473" y="946"/>
                  </a:cubicBezTo>
                  <a:cubicBezTo>
                    <a:pt x="3022" y="1264"/>
                    <a:pt x="2557" y="1653"/>
                    <a:pt x="2108" y="2103"/>
                  </a:cubicBezTo>
                  <a:cubicBezTo>
                    <a:pt x="1657" y="2553"/>
                    <a:pt x="1269" y="3017"/>
                    <a:pt x="951" y="3469"/>
                  </a:cubicBezTo>
                  <a:cubicBezTo>
                    <a:pt x="922" y="3509"/>
                    <a:pt x="893" y="3549"/>
                    <a:pt x="866" y="3588"/>
                  </a:cubicBezTo>
                  <a:cubicBezTo>
                    <a:pt x="842" y="3624"/>
                    <a:pt x="819" y="3660"/>
                    <a:pt x="796" y="3695"/>
                  </a:cubicBezTo>
                  <a:cubicBezTo>
                    <a:pt x="525" y="4108"/>
                    <a:pt x="316" y="4504"/>
                    <a:pt x="180" y="4863"/>
                  </a:cubicBezTo>
                  <a:cubicBezTo>
                    <a:pt x="173" y="4883"/>
                    <a:pt x="165" y="4904"/>
                    <a:pt x="157" y="4924"/>
                  </a:cubicBezTo>
                  <a:cubicBezTo>
                    <a:pt x="150" y="4943"/>
                    <a:pt x="142" y="4964"/>
                    <a:pt x="136" y="4983"/>
                  </a:cubicBezTo>
                  <a:cubicBezTo>
                    <a:pt x="58" y="5209"/>
                    <a:pt x="13" y="5416"/>
                    <a:pt x="0" y="5601"/>
                  </a:cubicBezTo>
                  <a:cubicBezTo>
                    <a:pt x="3" y="5611"/>
                    <a:pt x="6" y="5621"/>
                    <a:pt x="9" y="5631"/>
                  </a:cubicBezTo>
                  <a:cubicBezTo>
                    <a:pt x="19" y="5660"/>
                    <a:pt x="29" y="5690"/>
                    <a:pt x="39" y="5719"/>
                  </a:cubicBezTo>
                  <a:cubicBezTo>
                    <a:pt x="49" y="5746"/>
                    <a:pt x="59" y="5772"/>
                    <a:pt x="69" y="5799"/>
                  </a:cubicBezTo>
                  <a:cubicBezTo>
                    <a:pt x="116" y="5922"/>
                    <a:pt x="168" y="6043"/>
                    <a:pt x="225" y="6162"/>
                  </a:cubicBezTo>
                  <a:cubicBezTo>
                    <a:pt x="236" y="6065"/>
                    <a:pt x="255" y="5963"/>
                    <a:pt x="282" y="5857"/>
                  </a:cubicBezTo>
                  <a:cubicBezTo>
                    <a:pt x="286" y="5838"/>
                    <a:pt x="291" y="5819"/>
                    <a:pt x="297" y="5799"/>
                  </a:cubicBezTo>
                  <a:cubicBezTo>
                    <a:pt x="302" y="5780"/>
                    <a:pt x="307" y="5761"/>
                    <a:pt x="313" y="5742"/>
                  </a:cubicBezTo>
                  <a:cubicBezTo>
                    <a:pt x="390" y="5475"/>
                    <a:pt x="511" y="5184"/>
                    <a:pt x="671" y="4877"/>
                  </a:cubicBezTo>
                  <a:cubicBezTo>
                    <a:pt x="684" y="4852"/>
                    <a:pt x="698" y="4827"/>
                    <a:pt x="711" y="48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7" name="Freeform 9">
              <a:extLst>
                <a:ext uri="{FF2B5EF4-FFF2-40B4-BE49-F238E27FC236}">
                  <a16:creationId xmlns:a16="http://schemas.microsoft.com/office/drawing/2014/main" id="{6EC9FAE3-1492-416A-BCFC-66F77187622F}"/>
                </a:ext>
              </a:extLst>
            </p:cNvPr>
            <p:cNvSpPr>
              <a:spLocks/>
            </p:cNvSpPr>
            <p:nvPr/>
          </p:nvSpPr>
          <p:spPr bwMode="auto">
            <a:xfrm>
              <a:off x="4160964" y="945558"/>
              <a:ext cx="4516544" cy="4545190"/>
            </a:xfrm>
            <a:custGeom>
              <a:avLst/>
              <a:gdLst>
                <a:gd name="T0" fmla="*/ 6710 w 6796"/>
                <a:gd name="T1" fmla="*/ 461 h 6838"/>
                <a:gd name="T2" fmla="*/ 6619 w 6796"/>
                <a:gd name="T3" fmla="*/ 375 h 6838"/>
                <a:gd name="T4" fmla="*/ 6553 w 6796"/>
                <a:gd name="T5" fmla="*/ 312 h 6838"/>
                <a:gd name="T6" fmla="*/ 6484 w 6796"/>
                <a:gd name="T7" fmla="*/ 252 h 6838"/>
                <a:gd name="T8" fmla="*/ 6170 w 6796"/>
                <a:gd name="T9" fmla="*/ 1 h 6838"/>
                <a:gd name="T10" fmla="*/ 6125 w 6796"/>
                <a:gd name="T11" fmla="*/ 0 h 6838"/>
                <a:gd name="T12" fmla="*/ 5991 w 6796"/>
                <a:gd name="T13" fmla="*/ 6 h 6838"/>
                <a:gd name="T14" fmla="*/ 5933 w 6796"/>
                <a:gd name="T15" fmla="*/ 11 h 6838"/>
                <a:gd name="T16" fmla="*/ 5874 w 6796"/>
                <a:gd name="T17" fmla="*/ 18 h 6838"/>
                <a:gd name="T18" fmla="*/ 5184 w 6796"/>
                <a:gd name="T19" fmla="*/ 205 h 6838"/>
                <a:gd name="T20" fmla="*/ 5119 w 6796"/>
                <a:gd name="T21" fmla="*/ 231 h 6838"/>
                <a:gd name="T22" fmla="*/ 5050 w 6796"/>
                <a:gd name="T23" fmla="*/ 259 h 6838"/>
                <a:gd name="T24" fmla="*/ 3758 w 6796"/>
                <a:gd name="T25" fmla="*/ 987 h 6838"/>
                <a:gd name="T26" fmla="*/ 3625 w 6796"/>
                <a:gd name="T27" fmla="*/ 1081 h 6838"/>
                <a:gd name="T28" fmla="*/ 3479 w 6796"/>
                <a:gd name="T29" fmla="*/ 1189 h 6838"/>
                <a:gd name="T30" fmla="*/ 2254 w 6796"/>
                <a:gd name="T31" fmla="*/ 2254 h 6838"/>
                <a:gd name="T32" fmla="*/ 1188 w 6796"/>
                <a:gd name="T33" fmla="*/ 3479 h 6838"/>
                <a:gd name="T34" fmla="*/ 1081 w 6796"/>
                <a:gd name="T35" fmla="*/ 3626 h 6838"/>
                <a:gd name="T36" fmla="*/ 987 w 6796"/>
                <a:gd name="T37" fmla="*/ 3758 h 6838"/>
                <a:gd name="T38" fmla="*/ 259 w 6796"/>
                <a:gd name="T39" fmla="*/ 5050 h 6838"/>
                <a:gd name="T40" fmla="*/ 231 w 6796"/>
                <a:gd name="T41" fmla="*/ 5119 h 6838"/>
                <a:gd name="T42" fmla="*/ 205 w 6796"/>
                <a:gd name="T43" fmla="*/ 5184 h 6838"/>
                <a:gd name="T44" fmla="*/ 18 w 6796"/>
                <a:gd name="T45" fmla="*/ 5874 h 6838"/>
                <a:gd name="T46" fmla="*/ 11 w 6796"/>
                <a:gd name="T47" fmla="*/ 5933 h 6838"/>
                <a:gd name="T48" fmla="*/ 6 w 6796"/>
                <a:gd name="T49" fmla="*/ 5991 h 6838"/>
                <a:gd name="T50" fmla="*/ 0 w 6796"/>
                <a:gd name="T51" fmla="*/ 6125 h 6838"/>
                <a:gd name="T52" fmla="*/ 3 w 6796"/>
                <a:gd name="T53" fmla="*/ 6220 h 6838"/>
                <a:gd name="T54" fmla="*/ 208 w 6796"/>
                <a:gd name="T55" fmla="*/ 6475 h 6838"/>
                <a:gd name="T56" fmla="*/ 270 w 6796"/>
                <a:gd name="T57" fmla="*/ 6547 h 6838"/>
                <a:gd name="T58" fmla="*/ 332 w 6796"/>
                <a:gd name="T59" fmla="*/ 6615 h 6838"/>
                <a:gd name="T60" fmla="*/ 442 w 6796"/>
                <a:gd name="T61" fmla="*/ 6729 h 6838"/>
                <a:gd name="T62" fmla="*/ 556 w 6796"/>
                <a:gd name="T63" fmla="*/ 6838 h 6838"/>
                <a:gd name="T64" fmla="*/ 548 w 6796"/>
                <a:gd name="T65" fmla="*/ 6702 h 6838"/>
                <a:gd name="T66" fmla="*/ 551 w 6796"/>
                <a:gd name="T67" fmla="*/ 6619 h 6838"/>
                <a:gd name="T68" fmla="*/ 556 w 6796"/>
                <a:gd name="T69" fmla="*/ 6560 h 6838"/>
                <a:gd name="T70" fmla="*/ 561 w 6796"/>
                <a:gd name="T71" fmla="*/ 6501 h 6838"/>
                <a:gd name="T72" fmla="*/ 700 w 6796"/>
                <a:gd name="T73" fmla="*/ 5918 h 6838"/>
                <a:gd name="T74" fmla="*/ 724 w 6796"/>
                <a:gd name="T75" fmla="*/ 5852 h 6838"/>
                <a:gd name="T76" fmla="*/ 750 w 6796"/>
                <a:gd name="T77" fmla="*/ 5782 h 6838"/>
                <a:gd name="T78" fmla="*/ 1285 w 6796"/>
                <a:gd name="T79" fmla="*/ 4735 h 6838"/>
                <a:gd name="T80" fmla="*/ 1353 w 6796"/>
                <a:gd name="T81" fmla="*/ 4628 h 6838"/>
                <a:gd name="T82" fmla="*/ 1430 w 6796"/>
                <a:gd name="T83" fmla="*/ 4511 h 6838"/>
                <a:gd name="T84" fmla="*/ 2828 w 6796"/>
                <a:gd name="T85" fmla="*/ 2828 h 6838"/>
                <a:gd name="T86" fmla="*/ 4511 w 6796"/>
                <a:gd name="T87" fmla="*/ 1430 h 6838"/>
                <a:gd name="T88" fmla="*/ 4627 w 6796"/>
                <a:gd name="T89" fmla="*/ 1354 h 6838"/>
                <a:gd name="T90" fmla="*/ 4735 w 6796"/>
                <a:gd name="T91" fmla="*/ 1285 h 6838"/>
                <a:gd name="T92" fmla="*/ 5781 w 6796"/>
                <a:gd name="T93" fmla="*/ 750 h 6838"/>
                <a:gd name="T94" fmla="*/ 5851 w 6796"/>
                <a:gd name="T95" fmla="*/ 724 h 6838"/>
                <a:gd name="T96" fmla="*/ 5918 w 6796"/>
                <a:gd name="T97" fmla="*/ 700 h 6838"/>
                <a:gd name="T98" fmla="*/ 6501 w 6796"/>
                <a:gd name="T99" fmla="*/ 561 h 6838"/>
                <a:gd name="T100" fmla="*/ 6560 w 6796"/>
                <a:gd name="T101" fmla="*/ 556 h 6838"/>
                <a:gd name="T102" fmla="*/ 6620 w 6796"/>
                <a:gd name="T103" fmla="*/ 551 h 6838"/>
                <a:gd name="T104" fmla="*/ 6702 w 6796"/>
                <a:gd name="T105" fmla="*/ 548 h 6838"/>
                <a:gd name="T106" fmla="*/ 6796 w 6796"/>
                <a:gd name="T107" fmla="*/ 552 h 6838"/>
                <a:gd name="T108" fmla="*/ 6710 w 6796"/>
                <a:gd name="T109" fmla="*/ 461 h 6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796" h="6838">
                  <a:moveTo>
                    <a:pt x="6710" y="461"/>
                  </a:moveTo>
                  <a:cubicBezTo>
                    <a:pt x="6680" y="431"/>
                    <a:pt x="6649" y="403"/>
                    <a:pt x="6619" y="375"/>
                  </a:cubicBezTo>
                  <a:cubicBezTo>
                    <a:pt x="6597" y="354"/>
                    <a:pt x="6575" y="332"/>
                    <a:pt x="6553" y="312"/>
                  </a:cubicBezTo>
                  <a:cubicBezTo>
                    <a:pt x="6530" y="291"/>
                    <a:pt x="6507" y="272"/>
                    <a:pt x="6484" y="252"/>
                  </a:cubicBezTo>
                  <a:cubicBezTo>
                    <a:pt x="6382" y="163"/>
                    <a:pt x="6278" y="79"/>
                    <a:pt x="6170" y="1"/>
                  </a:cubicBezTo>
                  <a:cubicBezTo>
                    <a:pt x="6155" y="1"/>
                    <a:pt x="6140" y="0"/>
                    <a:pt x="6125" y="0"/>
                  </a:cubicBezTo>
                  <a:cubicBezTo>
                    <a:pt x="6082" y="0"/>
                    <a:pt x="6037" y="2"/>
                    <a:pt x="5991" y="6"/>
                  </a:cubicBezTo>
                  <a:cubicBezTo>
                    <a:pt x="5972" y="7"/>
                    <a:pt x="5953" y="9"/>
                    <a:pt x="5933" y="11"/>
                  </a:cubicBezTo>
                  <a:cubicBezTo>
                    <a:pt x="5914" y="13"/>
                    <a:pt x="5894" y="15"/>
                    <a:pt x="5874" y="18"/>
                  </a:cubicBezTo>
                  <a:cubicBezTo>
                    <a:pt x="5664" y="47"/>
                    <a:pt x="5432" y="110"/>
                    <a:pt x="5184" y="205"/>
                  </a:cubicBezTo>
                  <a:cubicBezTo>
                    <a:pt x="5162" y="214"/>
                    <a:pt x="5141" y="222"/>
                    <a:pt x="5119" y="231"/>
                  </a:cubicBezTo>
                  <a:cubicBezTo>
                    <a:pt x="5096" y="240"/>
                    <a:pt x="5073" y="249"/>
                    <a:pt x="5050" y="259"/>
                  </a:cubicBezTo>
                  <a:cubicBezTo>
                    <a:pt x="4649" y="427"/>
                    <a:pt x="4210" y="673"/>
                    <a:pt x="3758" y="987"/>
                  </a:cubicBezTo>
                  <a:cubicBezTo>
                    <a:pt x="3714" y="1018"/>
                    <a:pt x="3670" y="1049"/>
                    <a:pt x="3625" y="1081"/>
                  </a:cubicBezTo>
                  <a:cubicBezTo>
                    <a:pt x="3576" y="1116"/>
                    <a:pt x="3528" y="1152"/>
                    <a:pt x="3479" y="1189"/>
                  </a:cubicBezTo>
                  <a:cubicBezTo>
                    <a:pt x="3071" y="1494"/>
                    <a:pt x="2657" y="1851"/>
                    <a:pt x="2254" y="2254"/>
                  </a:cubicBezTo>
                  <a:cubicBezTo>
                    <a:pt x="1851" y="2657"/>
                    <a:pt x="1494" y="3071"/>
                    <a:pt x="1188" y="3479"/>
                  </a:cubicBezTo>
                  <a:cubicBezTo>
                    <a:pt x="1151" y="3528"/>
                    <a:pt x="1116" y="3577"/>
                    <a:pt x="1081" y="3626"/>
                  </a:cubicBezTo>
                  <a:cubicBezTo>
                    <a:pt x="1049" y="3670"/>
                    <a:pt x="1017" y="3714"/>
                    <a:pt x="987" y="3758"/>
                  </a:cubicBezTo>
                  <a:cubicBezTo>
                    <a:pt x="673" y="4210"/>
                    <a:pt x="427" y="4649"/>
                    <a:pt x="259" y="5050"/>
                  </a:cubicBezTo>
                  <a:cubicBezTo>
                    <a:pt x="249" y="5073"/>
                    <a:pt x="240" y="5096"/>
                    <a:pt x="231" y="5119"/>
                  </a:cubicBezTo>
                  <a:cubicBezTo>
                    <a:pt x="222" y="5141"/>
                    <a:pt x="214" y="5162"/>
                    <a:pt x="205" y="5184"/>
                  </a:cubicBezTo>
                  <a:cubicBezTo>
                    <a:pt x="110" y="5432"/>
                    <a:pt x="47" y="5665"/>
                    <a:pt x="18" y="5874"/>
                  </a:cubicBezTo>
                  <a:cubicBezTo>
                    <a:pt x="15" y="5894"/>
                    <a:pt x="13" y="5914"/>
                    <a:pt x="11" y="5933"/>
                  </a:cubicBezTo>
                  <a:cubicBezTo>
                    <a:pt x="8" y="5953"/>
                    <a:pt x="7" y="5972"/>
                    <a:pt x="6" y="5991"/>
                  </a:cubicBezTo>
                  <a:cubicBezTo>
                    <a:pt x="2" y="6037"/>
                    <a:pt x="0" y="6082"/>
                    <a:pt x="0" y="6125"/>
                  </a:cubicBezTo>
                  <a:cubicBezTo>
                    <a:pt x="0" y="6157"/>
                    <a:pt x="1" y="6189"/>
                    <a:pt x="3" y="6220"/>
                  </a:cubicBezTo>
                  <a:cubicBezTo>
                    <a:pt x="67" y="6307"/>
                    <a:pt x="136" y="6392"/>
                    <a:pt x="208" y="6475"/>
                  </a:cubicBezTo>
                  <a:cubicBezTo>
                    <a:pt x="228" y="6499"/>
                    <a:pt x="249" y="6524"/>
                    <a:pt x="270" y="6547"/>
                  </a:cubicBezTo>
                  <a:cubicBezTo>
                    <a:pt x="290" y="6570"/>
                    <a:pt x="312" y="6592"/>
                    <a:pt x="332" y="6615"/>
                  </a:cubicBezTo>
                  <a:cubicBezTo>
                    <a:pt x="368" y="6653"/>
                    <a:pt x="404" y="6692"/>
                    <a:pt x="442" y="6729"/>
                  </a:cubicBezTo>
                  <a:cubicBezTo>
                    <a:pt x="479" y="6767"/>
                    <a:pt x="517" y="6802"/>
                    <a:pt x="556" y="6838"/>
                  </a:cubicBezTo>
                  <a:cubicBezTo>
                    <a:pt x="551" y="6794"/>
                    <a:pt x="548" y="6749"/>
                    <a:pt x="548" y="6702"/>
                  </a:cubicBezTo>
                  <a:cubicBezTo>
                    <a:pt x="548" y="6675"/>
                    <a:pt x="550" y="6647"/>
                    <a:pt x="551" y="6619"/>
                  </a:cubicBezTo>
                  <a:cubicBezTo>
                    <a:pt x="552" y="6600"/>
                    <a:pt x="554" y="6580"/>
                    <a:pt x="556" y="6560"/>
                  </a:cubicBezTo>
                  <a:cubicBezTo>
                    <a:pt x="557" y="6541"/>
                    <a:pt x="559" y="6521"/>
                    <a:pt x="561" y="6501"/>
                  </a:cubicBezTo>
                  <a:cubicBezTo>
                    <a:pt x="582" y="6322"/>
                    <a:pt x="629" y="6126"/>
                    <a:pt x="700" y="5918"/>
                  </a:cubicBezTo>
                  <a:cubicBezTo>
                    <a:pt x="708" y="5896"/>
                    <a:pt x="716" y="5874"/>
                    <a:pt x="724" y="5852"/>
                  </a:cubicBezTo>
                  <a:cubicBezTo>
                    <a:pt x="733" y="5828"/>
                    <a:pt x="741" y="5805"/>
                    <a:pt x="750" y="5782"/>
                  </a:cubicBezTo>
                  <a:cubicBezTo>
                    <a:pt x="875" y="5455"/>
                    <a:pt x="1056" y="5102"/>
                    <a:pt x="1285" y="4735"/>
                  </a:cubicBezTo>
                  <a:cubicBezTo>
                    <a:pt x="1308" y="4699"/>
                    <a:pt x="1330" y="4664"/>
                    <a:pt x="1353" y="4628"/>
                  </a:cubicBezTo>
                  <a:cubicBezTo>
                    <a:pt x="1378" y="4589"/>
                    <a:pt x="1404" y="4550"/>
                    <a:pt x="1430" y="4511"/>
                  </a:cubicBezTo>
                  <a:cubicBezTo>
                    <a:pt x="1799" y="3961"/>
                    <a:pt x="2271" y="3385"/>
                    <a:pt x="2828" y="2828"/>
                  </a:cubicBezTo>
                  <a:cubicBezTo>
                    <a:pt x="3385" y="2271"/>
                    <a:pt x="3960" y="1799"/>
                    <a:pt x="4511" y="1430"/>
                  </a:cubicBezTo>
                  <a:cubicBezTo>
                    <a:pt x="4550" y="1404"/>
                    <a:pt x="4589" y="1379"/>
                    <a:pt x="4627" y="1354"/>
                  </a:cubicBezTo>
                  <a:cubicBezTo>
                    <a:pt x="4663" y="1330"/>
                    <a:pt x="4699" y="1308"/>
                    <a:pt x="4735" y="1285"/>
                  </a:cubicBezTo>
                  <a:cubicBezTo>
                    <a:pt x="5102" y="1056"/>
                    <a:pt x="5455" y="875"/>
                    <a:pt x="5781" y="750"/>
                  </a:cubicBezTo>
                  <a:cubicBezTo>
                    <a:pt x="5805" y="741"/>
                    <a:pt x="5828" y="733"/>
                    <a:pt x="5851" y="724"/>
                  </a:cubicBezTo>
                  <a:cubicBezTo>
                    <a:pt x="5874" y="716"/>
                    <a:pt x="5896" y="708"/>
                    <a:pt x="5918" y="700"/>
                  </a:cubicBezTo>
                  <a:cubicBezTo>
                    <a:pt x="6126" y="629"/>
                    <a:pt x="6322" y="582"/>
                    <a:pt x="6501" y="561"/>
                  </a:cubicBezTo>
                  <a:cubicBezTo>
                    <a:pt x="6521" y="559"/>
                    <a:pt x="6541" y="557"/>
                    <a:pt x="6560" y="556"/>
                  </a:cubicBezTo>
                  <a:cubicBezTo>
                    <a:pt x="6580" y="554"/>
                    <a:pt x="6600" y="552"/>
                    <a:pt x="6620" y="551"/>
                  </a:cubicBezTo>
                  <a:cubicBezTo>
                    <a:pt x="6647" y="550"/>
                    <a:pt x="6675" y="549"/>
                    <a:pt x="6702" y="548"/>
                  </a:cubicBezTo>
                  <a:cubicBezTo>
                    <a:pt x="6734" y="548"/>
                    <a:pt x="6765" y="550"/>
                    <a:pt x="6796" y="552"/>
                  </a:cubicBezTo>
                  <a:cubicBezTo>
                    <a:pt x="6767" y="521"/>
                    <a:pt x="6739" y="491"/>
                    <a:pt x="6710" y="4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8" name="Freeform 10">
              <a:extLst>
                <a:ext uri="{FF2B5EF4-FFF2-40B4-BE49-F238E27FC236}">
                  <a16:creationId xmlns:a16="http://schemas.microsoft.com/office/drawing/2014/main" id="{54CE5925-9480-4C02-A7F9-3B31E37C904C}"/>
                </a:ext>
              </a:extLst>
            </p:cNvPr>
            <p:cNvSpPr>
              <a:spLocks/>
            </p:cNvSpPr>
            <p:nvPr/>
          </p:nvSpPr>
          <p:spPr bwMode="auto">
            <a:xfrm>
              <a:off x="3956348" y="740943"/>
              <a:ext cx="4194616" cy="4225990"/>
            </a:xfrm>
            <a:custGeom>
              <a:avLst/>
              <a:gdLst>
                <a:gd name="T0" fmla="*/ 1126 w 6312"/>
                <a:gd name="T1" fmla="*/ 4101 h 6355"/>
                <a:gd name="T2" fmla="*/ 1212 w 6312"/>
                <a:gd name="T3" fmla="*/ 3976 h 6355"/>
                <a:gd name="T4" fmla="*/ 2479 w 6312"/>
                <a:gd name="T5" fmla="*/ 2477 h 6355"/>
                <a:gd name="T6" fmla="*/ 3978 w 6312"/>
                <a:gd name="T7" fmla="*/ 1210 h 6355"/>
                <a:gd name="T8" fmla="*/ 4103 w 6312"/>
                <a:gd name="T9" fmla="*/ 1124 h 6355"/>
                <a:gd name="T10" fmla="*/ 4216 w 6312"/>
                <a:gd name="T11" fmla="*/ 1049 h 6355"/>
                <a:gd name="T12" fmla="*/ 5392 w 6312"/>
                <a:gd name="T13" fmla="*/ 423 h 6355"/>
                <a:gd name="T14" fmla="*/ 5456 w 6312"/>
                <a:gd name="T15" fmla="*/ 399 h 6355"/>
                <a:gd name="T16" fmla="*/ 5518 w 6312"/>
                <a:gd name="T17" fmla="*/ 376 h 6355"/>
                <a:gd name="T18" fmla="*/ 6164 w 6312"/>
                <a:gd name="T19" fmla="*/ 208 h 6355"/>
                <a:gd name="T20" fmla="*/ 6222 w 6312"/>
                <a:gd name="T21" fmla="*/ 201 h 6355"/>
                <a:gd name="T22" fmla="*/ 6281 w 6312"/>
                <a:gd name="T23" fmla="*/ 195 h 6355"/>
                <a:gd name="T24" fmla="*/ 6312 w 6312"/>
                <a:gd name="T25" fmla="*/ 193 h 6355"/>
                <a:gd name="T26" fmla="*/ 6276 w 6312"/>
                <a:gd name="T27" fmla="*/ 170 h 6355"/>
                <a:gd name="T28" fmla="*/ 6203 w 6312"/>
                <a:gd name="T29" fmla="*/ 124 h 6355"/>
                <a:gd name="T30" fmla="*/ 6122 w 6312"/>
                <a:gd name="T31" fmla="*/ 74 h 6355"/>
                <a:gd name="T32" fmla="*/ 5988 w 6312"/>
                <a:gd name="T33" fmla="*/ 0 h 6355"/>
                <a:gd name="T34" fmla="*/ 5542 w 6312"/>
                <a:gd name="T35" fmla="*/ 68 h 6355"/>
                <a:gd name="T36" fmla="*/ 5484 w 6312"/>
                <a:gd name="T37" fmla="*/ 83 h 6355"/>
                <a:gd name="T38" fmla="*/ 5425 w 6312"/>
                <a:gd name="T39" fmla="*/ 101 h 6355"/>
                <a:gd name="T40" fmla="*/ 4488 w 6312"/>
                <a:gd name="T41" fmla="*/ 508 h 6355"/>
                <a:gd name="T42" fmla="*/ 4405 w 6312"/>
                <a:gd name="T43" fmla="*/ 555 h 6355"/>
                <a:gd name="T44" fmla="*/ 4316 w 6312"/>
                <a:gd name="T45" fmla="*/ 606 h 6355"/>
                <a:gd name="T46" fmla="*/ 2245 w 6312"/>
                <a:gd name="T47" fmla="*/ 2243 h 6355"/>
                <a:gd name="T48" fmla="*/ 608 w 6312"/>
                <a:gd name="T49" fmla="*/ 4314 h 6355"/>
                <a:gd name="T50" fmla="*/ 557 w 6312"/>
                <a:gd name="T51" fmla="*/ 4404 h 6355"/>
                <a:gd name="T52" fmla="*/ 510 w 6312"/>
                <a:gd name="T53" fmla="*/ 4486 h 6355"/>
                <a:gd name="T54" fmla="*/ 103 w 6312"/>
                <a:gd name="T55" fmla="*/ 5423 h 6355"/>
                <a:gd name="T56" fmla="*/ 85 w 6312"/>
                <a:gd name="T57" fmla="*/ 5482 h 6355"/>
                <a:gd name="T58" fmla="*/ 70 w 6312"/>
                <a:gd name="T59" fmla="*/ 5540 h 6355"/>
                <a:gd name="T60" fmla="*/ 1 w 6312"/>
                <a:gd name="T61" fmla="*/ 6034 h 6355"/>
                <a:gd name="T62" fmla="*/ 1 w 6312"/>
                <a:gd name="T63" fmla="*/ 6039 h 6355"/>
                <a:gd name="T64" fmla="*/ 36 w 6312"/>
                <a:gd name="T65" fmla="*/ 6102 h 6355"/>
                <a:gd name="T66" fmla="*/ 85 w 6312"/>
                <a:gd name="T67" fmla="*/ 6186 h 6355"/>
                <a:gd name="T68" fmla="*/ 134 w 6312"/>
                <a:gd name="T69" fmla="*/ 6264 h 6355"/>
                <a:gd name="T70" fmla="*/ 192 w 6312"/>
                <a:gd name="T71" fmla="*/ 6355 h 6355"/>
                <a:gd name="T72" fmla="*/ 197 w 6312"/>
                <a:gd name="T73" fmla="*/ 6279 h 6355"/>
                <a:gd name="T74" fmla="*/ 203 w 6312"/>
                <a:gd name="T75" fmla="*/ 6220 h 6355"/>
                <a:gd name="T76" fmla="*/ 210 w 6312"/>
                <a:gd name="T77" fmla="*/ 6162 h 6355"/>
                <a:gd name="T78" fmla="*/ 378 w 6312"/>
                <a:gd name="T79" fmla="*/ 5516 h 6355"/>
                <a:gd name="T80" fmla="*/ 400 w 6312"/>
                <a:gd name="T81" fmla="*/ 5454 h 6355"/>
                <a:gd name="T82" fmla="*/ 425 w 6312"/>
                <a:gd name="T83" fmla="*/ 5390 h 6355"/>
                <a:gd name="T84" fmla="*/ 1050 w 6312"/>
                <a:gd name="T85" fmla="*/ 4214 h 6355"/>
                <a:gd name="T86" fmla="*/ 1126 w 6312"/>
                <a:gd name="T87" fmla="*/ 4101 h 6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2" h="6355">
                  <a:moveTo>
                    <a:pt x="1126" y="4101"/>
                  </a:moveTo>
                  <a:cubicBezTo>
                    <a:pt x="1154" y="4060"/>
                    <a:pt x="1183" y="4018"/>
                    <a:pt x="1212" y="3976"/>
                  </a:cubicBezTo>
                  <a:cubicBezTo>
                    <a:pt x="1559" y="3480"/>
                    <a:pt x="1986" y="2971"/>
                    <a:pt x="2479" y="2477"/>
                  </a:cubicBezTo>
                  <a:cubicBezTo>
                    <a:pt x="2973" y="1984"/>
                    <a:pt x="3482" y="1557"/>
                    <a:pt x="3978" y="1210"/>
                  </a:cubicBezTo>
                  <a:cubicBezTo>
                    <a:pt x="4020" y="1181"/>
                    <a:pt x="4061" y="1152"/>
                    <a:pt x="4103" y="1124"/>
                  </a:cubicBezTo>
                  <a:cubicBezTo>
                    <a:pt x="4141" y="1098"/>
                    <a:pt x="4179" y="1073"/>
                    <a:pt x="4216" y="1049"/>
                  </a:cubicBezTo>
                  <a:cubicBezTo>
                    <a:pt x="4626" y="780"/>
                    <a:pt x="5024" y="569"/>
                    <a:pt x="5392" y="423"/>
                  </a:cubicBezTo>
                  <a:cubicBezTo>
                    <a:pt x="5414" y="415"/>
                    <a:pt x="5435" y="407"/>
                    <a:pt x="5456" y="399"/>
                  </a:cubicBezTo>
                  <a:cubicBezTo>
                    <a:pt x="5477" y="391"/>
                    <a:pt x="5498" y="383"/>
                    <a:pt x="5518" y="376"/>
                  </a:cubicBezTo>
                  <a:cubicBezTo>
                    <a:pt x="5747" y="293"/>
                    <a:pt x="5964" y="236"/>
                    <a:pt x="6164" y="208"/>
                  </a:cubicBezTo>
                  <a:cubicBezTo>
                    <a:pt x="6183" y="206"/>
                    <a:pt x="6203" y="203"/>
                    <a:pt x="6222" y="201"/>
                  </a:cubicBezTo>
                  <a:cubicBezTo>
                    <a:pt x="6242" y="199"/>
                    <a:pt x="6262" y="197"/>
                    <a:pt x="6281" y="195"/>
                  </a:cubicBezTo>
                  <a:cubicBezTo>
                    <a:pt x="6292" y="194"/>
                    <a:pt x="6302" y="193"/>
                    <a:pt x="6312" y="193"/>
                  </a:cubicBezTo>
                  <a:cubicBezTo>
                    <a:pt x="6300" y="185"/>
                    <a:pt x="6288" y="178"/>
                    <a:pt x="6276" y="170"/>
                  </a:cubicBezTo>
                  <a:cubicBezTo>
                    <a:pt x="6252" y="155"/>
                    <a:pt x="6228" y="139"/>
                    <a:pt x="6203" y="124"/>
                  </a:cubicBezTo>
                  <a:cubicBezTo>
                    <a:pt x="6176" y="108"/>
                    <a:pt x="6149" y="90"/>
                    <a:pt x="6122" y="74"/>
                  </a:cubicBezTo>
                  <a:cubicBezTo>
                    <a:pt x="6077" y="49"/>
                    <a:pt x="6032" y="24"/>
                    <a:pt x="5988" y="0"/>
                  </a:cubicBezTo>
                  <a:cubicBezTo>
                    <a:pt x="5852" y="4"/>
                    <a:pt x="5703" y="27"/>
                    <a:pt x="5542" y="68"/>
                  </a:cubicBezTo>
                  <a:cubicBezTo>
                    <a:pt x="5523" y="73"/>
                    <a:pt x="5503" y="78"/>
                    <a:pt x="5484" y="83"/>
                  </a:cubicBezTo>
                  <a:cubicBezTo>
                    <a:pt x="5464" y="89"/>
                    <a:pt x="5445" y="95"/>
                    <a:pt x="5425" y="101"/>
                  </a:cubicBezTo>
                  <a:cubicBezTo>
                    <a:pt x="5140" y="186"/>
                    <a:pt x="4823" y="324"/>
                    <a:pt x="4488" y="508"/>
                  </a:cubicBezTo>
                  <a:cubicBezTo>
                    <a:pt x="4461" y="523"/>
                    <a:pt x="4433" y="539"/>
                    <a:pt x="4405" y="555"/>
                  </a:cubicBezTo>
                  <a:cubicBezTo>
                    <a:pt x="4376" y="572"/>
                    <a:pt x="4346" y="588"/>
                    <a:pt x="4316" y="606"/>
                  </a:cubicBezTo>
                  <a:cubicBezTo>
                    <a:pt x="3656" y="993"/>
                    <a:pt x="2935" y="1552"/>
                    <a:pt x="2245" y="2243"/>
                  </a:cubicBezTo>
                  <a:cubicBezTo>
                    <a:pt x="1554" y="2933"/>
                    <a:pt x="995" y="3654"/>
                    <a:pt x="608" y="4314"/>
                  </a:cubicBezTo>
                  <a:cubicBezTo>
                    <a:pt x="590" y="4344"/>
                    <a:pt x="573" y="4374"/>
                    <a:pt x="557" y="4404"/>
                  </a:cubicBezTo>
                  <a:cubicBezTo>
                    <a:pt x="541" y="4431"/>
                    <a:pt x="525" y="4459"/>
                    <a:pt x="510" y="4486"/>
                  </a:cubicBezTo>
                  <a:cubicBezTo>
                    <a:pt x="326" y="4822"/>
                    <a:pt x="188" y="5138"/>
                    <a:pt x="103" y="5423"/>
                  </a:cubicBezTo>
                  <a:cubicBezTo>
                    <a:pt x="97" y="5443"/>
                    <a:pt x="91" y="5462"/>
                    <a:pt x="85" y="5482"/>
                  </a:cubicBezTo>
                  <a:cubicBezTo>
                    <a:pt x="80" y="5501"/>
                    <a:pt x="75" y="5521"/>
                    <a:pt x="70" y="5540"/>
                  </a:cubicBezTo>
                  <a:cubicBezTo>
                    <a:pt x="24" y="5720"/>
                    <a:pt x="0" y="5886"/>
                    <a:pt x="1" y="6034"/>
                  </a:cubicBezTo>
                  <a:cubicBezTo>
                    <a:pt x="1" y="6035"/>
                    <a:pt x="1" y="6037"/>
                    <a:pt x="1" y="6039"/>
                  </a:cubicBezTo>
                  <a:cubicBezTo>
                    <a:pt x="12" y="6060"/>
                    <a:pt x="24" y="6081"/>
                    <a:pt x="36" y="6102"/>
                  </a:cubicBezTo>
                  <a:cubicBezTo>
                    <a:pt x="52" y="6130"/>
                    <a:pt x="68" y="6158"/>
                    <a:pt x="85" y="6186"/>
                  </a:cubicBezTo>
                  <a:cubicBezTo>
                    <a:pt x="101" y="6212"/>
                    <a:pt x="117" y="6238"/>
                    <a:pt x="134" y="6264"/>
                  </a:cubicBezTo>
                  <a:cubicBezTo>
                    <a:pt x="153" y="6294"/>
                    <a:pt x="172" y="6325"/>
                    <a:pt x="192" y="6355"/>
                  </a:cubicBezTo>
                  <a:cubicBezTo>
                    <a:pt x="193" y="6330"/>
                    <a:pt x="195" y="6305"/>
                    <a:pt x="197" y="6279"/>
                  </a:cubicBezTo>
                  <a:cubicBezTo>
                    <a:pt x="199" y="6260"/>
                    <a:pt x="201" y="6240"/>
                    <a:pt x="203" y="6220"/>
                  </a:cubicBezTo>
                  <a:cubicBezTo>
                    <a:pt x="205" y="6201"/>
                    <a:pt x="208" y="6181"/>
                    <a:pt x="210" y="6162"/>
                  </a:cubicBezTo>
                  <a:cubicBezTo>
                    <a:pt x="238" y="5962"/>
                    <a:pt x="295" y="5745"/>
                    <a:pt x="378" y="5516"/>
                  </a:cubicBezTo>
                  <a:cubicBezTo>
                    <a:pt x="385" y="5496"/>
                    <a:pt x="392" y="5475"/>
                    <a:pt x="400" y="5454"/>
                  </a:cubicBezTo>
                  <a:cubicBezTo>
                    <a:pt x="408" y="5433"/>
                    <a:pt x="417" y="5412"/>
                    <a:pt x="425" y="5390"/>
                  </a:cubicBezTo>
                  <a:cubicBezTo>
                    <a:pt x="571" y="5022"/>
                    <a:pt x="782" y="4624"/>
                    <a:pt x="1050" y="4214"/>
                  </a:cubicBezTo>
                  <a:cubicBezTo>
                    <a:pt x="1075" y="4177"/>
                    <a:pt x="1100" y="4139"/>
                    <a:pt x="1126" y="410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9" name="Freeform 11">
              <a:extLst>
                <a:ext uri="{FF2B5EF4-FFF2-40B4-BE49-F238E27FC236}">
                  <a16:creationId xmlns:a16="http://schemas.microsoft.com/office/drawing/2014/main" id="{9BF6A145-B04A-4D96-B42A-F9F9564194A0}"/>
                </a:ext>
              </a:extLst>
            </p:cNvPr>
            <p:cNvSpPr>
              <a:spLocks/>
            </p:cNvSpPr>
            <p:nvPr/>
          </p:nvSpPr>
          <p:spPr bwMode="auto">
            <a:xfrm>
              <a:off x="4604297" y="1387527"/>
              <a:ext cx="4412873" cy="4441519"/>
            </a:xfrm>
            <a:custGeom>
              <a:avLst/>
              <a:gdLst>
                <a:gd name="T0" fmla="*/ 4682 w 6640"/>
                <a:gd name="T1" fmla="*/ 1069 h 6679"/>
                <a:gd name="T2" fmla="*/ 4782 w 6640"/>
                <a:gd name="T3" fmla="*/ 1013 h 6679"/>
                <a:gd name="T4" fmla="*/ 4876 w 6640"/>
                <a:gd name="T5" fmla="*/ 962 h 6679"/>
                <a:gd name="T6" fmla="*/ 5665 w 6640"/>
                <a:gd name="T7" fmla="*/ 626 h 6679"/>
                <a:gd name="T8" fmla="*/ 5735 w 6640"/>
                <a:gd name="T9" fmla="*/ 605 h 6679"/>
                <a:gd name="T10" fmla="*/ 5804 w 6640"/>
                <a:gd name="T11" fmla="*/ 586 h 6679"/>
                <a:gd name="T12" fmla="*/ 6300 w 6640"/>
                <a:gd name="T13" fmla="*/ 507 h 6679"/>
                <a:gd name="T14" fmla="*/ 6355 w 6640"/>
                <a:gd name="T15" fmla="*/ 505 h 6679"/>
                <a:gd name="T16" fmla="*/ 6360 w 6640"/>
                <a:gd name="T17" fmla="*/ 505 h 6679"/>
                <a:gd name="T18" fmla="*/ 6419 w 6640"/>
                <a:gd name="T19" fmla="*/ 507 h 6679"/>
                <a:gd name="T20" fmla="*/ 6640 w 6640"/>
                <a:gd name="T21" fmla="*/ 536 h 6679"/>
                <a:gd name="T22" fmla="*/ 6443 w 6640"/>
                <a:gd name="T23" fmla="*/ 254 h 6679"/>
                <a:gd name="T24" fmla="*/ 6385 w 6640"/>
                <a:gd name="T25" fmla="*/ 179 h 6679"/>
                <a:gd name="T26" fmla="*/ 6323 w 6640"/>
                <a:gd name="T27" fmla="*/ 102 h 6679"/>
                <a:gd name="T28" fmla="*/ 6253 w 6640"/>
                <a:gd name="T29" fmla="*/ 21 h 6679"/>
                <a:gd name="T30" fmla="*/ 6036 w 6640"/>
                <a:gd name="T31" fmla="*/ 1 h 6679"/>
                <a:gd name="T32" fmla="*/ 5943 w 6640"/>
                <a:gd name="T33" fmla="*/ 3 h 6679"/>
                <a:gd name="T34" fmla="*/ 5884 w 6640"/>
                <a:gd name="T35" fmla="*/ 8 h 6679"/>
                <a:gd name="T36" fmla="*/ 5824 w 6640"/>
                <a:gd name="T37" fmla="*/ 15 h 6679"/>
                <a:gd name="T38" fmla="*/ 5212 w 6640"/>
                <a:gd name="T39" fmla="*/ 174 h 6679"/>
                <a:gd name="T40" fmla="*/ 5142 w 6640"/>
                <a:gd name="T41" fmla="*/ 200 h 6679"/>
                <a:gd name="T42" fmla="*/ 5070 w 6640"/>
                <a:gd name="T43" fmla="*/ 229 h 6679"/>
                <a:gd name="T44" fmla="*/ 3933 w 6640"/>
                <a:gd name="T45" fmla="*/ 848 h 6679"/>
                <a:gd name="T46" fmla="*/ 3812 w 6640"/>
                <a:gd name="T47" fmla="*/ 929 h 6679"/>
                <a:gd name="T48" fmla="*/ 3679 w 6640"/>
                <a:gd name="T49" fmla="*/ 1023 h 6679"/>
                <a:gd name="T50" fmla="*/ 2245 w 6640"/>
                <a:gd name="T51" fmla="*/ 2245 h 6679"/>
                <a:gd name="T52" fmla="*/ 1023 w 6640"/>
                <a:gd name="T53" fmla="*/ 3679 h 6679"/>
                <a:gd name="T54" fmla="*/ 929 w 6640"/>
                <a:gd name="T55" fmla="*/ 3812 h 6679"/>
                <a:gd name="T56" fmla="*/ 848 w 6640"/>
                <a:gd name="T57" fmla="*/ 3933 h 6679"/>
                <a:gd name="T58" fmla="*/ 229 w 6640"/>
                <a:gd name="T59" fmla="*/ 5070 h 6679"/>
                <a:gd name="T60" fmla="*/ 200 w 6640"/>
                <a:gd name="T61" fmla="*/ 5142 h 6679"/>
                <a:gd name="T62" fmla="*/ 174 w 6640"/>
                <a:gd name="T63" fmla="*/ 5212 h 6679"/>
                <a:gd name="T64" fmla="*/ 15 w 6640"/>
                <a:gd name="T65" fmla="*/ 5824 h 6679"/>
                <a:gd name="T66" fmla="*/ 8 w 6640"/>
                <a:gd name="T67" fmla="*/ 5884 h 6679"/>
                <a:gd name="T68" fmla="*/ 3 w 6640"/>
                <a:gd name="T69" fmla="*/ 5943 h 6679"/>
                <a:gd name="T70" fmla="*/ 1 w 6640"/>
                <a:gd name="T71" fmla="*/ 6036 h 6679"/>
                <a:gd name="T72" fmla="*/ 30 w 6640"/>
                <a:gd name="T73" fmla="*/ 6297 h 6679"/>
                <a:gd name="T74" fmla="*/ 54 w 6640"/>
                <a:gd name="T75" fmla="*/ 6318 h 6679"/>
                <a:gd name="T76" fmla="*/ 132 w 6640"/>
                <a:gd name="T77" fmla="*/ 6383 h 6679"/>
                <a:gd name="T78" fmla="*/ 211 w 6640"/>
                <a:gd name="T79" fmla="*/ 6444 h 6679"/>
                <a:gd name="T80" fmla="*/ 547 w 6640"/>
                <a:gd name="T81" fmla="*/ 6679 h 6679"/>
                <a:gd name="T82" fmla="*/ 507 w 6640"/>
                <a:gd name="T83" fmla="*/ 6419 h 6679"/>
                <a:gd name="T84" fmla="*/ 505 w 6640"/>
                <a:gd name="T85" fmla="*/ 6360 h 6679"/>
                <a:gd name="T86" fmla="*/ 505 w 6640"/>
                <a:gd name="T87" fmla="*/ 6356 h 6679"/>
                <a:gd name="T88" fmla="*/ 507 w 6640"/>
                <a:gd name="T89" fmla="*/ 6300 h 6679"/>
                <a:gd name="T90" fmla="*/ 586 w 6640"/>
                <a:gd name="T91" fmla="*/ 5804 h 6679"/>
                <a:gd name="T92" fmla="*/ 605 w 6640"/>
                <a:gd name="T93" fmla="*/ 5735 h 6679"/>
                <a:gd name="T94" fmla="*/ 626 w 6640"/>
                <a:gd name="T95" fmla="*/ 5665 h 6679"/>
                <a:gd name="T96" fmla="*/ 962 w 6640"/>
                <a:gd name="T97" fmla="*/ 4876 h 6679"/>
                <a:gd name="T98" fmla="*/ 1013 w 6640"/>
                <a:gd name="T99" fmla="*/ 4781 h 6679"/>
                <a:gd name="T100" fmla="*/ 1069 w 6640"/>
                <a:gd name="T101" fmla="*/ 4682 h 6679"/>
                <a:gd name="T102" fmla="*/ 2654 w 6640"/>
                <a:gd name="T103" fmla="*/ 2654 h 6679"/>
                <a:gd name="T104" fmla="*/ 4682 w 6640"/>
                <a:gd name="T105" fmla="*/ 1069 h 6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640" h="6679">
                  <a:moveTo>
                    <a:pt x="4682" y="1069"/>
                  </a:moveTo>
                  <a:cubicBezTo>
                    <a:pt x="4715" y="1050"/>
                    <a:pt x="4748" y="1031"/>
                    <a:pt x="4782" y="1013"/>
                  </a:cubicBezTo>
                  <a:cubicBezTo>
                    <a:pt x="4813" y="996"/>
                    <a:pt x="4845" y="979"/>
                    <a:pt x="4876" y="962"/>
                  </a:cubicBezTo>
                  <a:cubicBezTo>
                    <a:pt x="5153" y="816"/>
                    <a:pt x="5418" y="703"/>
                    <a:pt x="5665" y="626"/>
                  </a:cubicBezTo>
                  <a:cubicBezTo>
                    <a:pt x="5688" y="619"/>
                    <a:pt x="5712" y="612"/>
                    <a:pt x="5735" y="605"/>
                  </a:cubicBezTo>
                  <a:cubicBezTo>
                    <a:pt x="5758" y="599"/>
                    <a:pt x="5781" y="592"/>
                    <a:pt x="5804" y="586"/>
                  </a:cubicBezTo>
                  <a:cubicBezTo>
                    <a:pt x="5981" y="539"/>
                    <a:pt x="6147" y="513"/>
                    <a:pt x="6300" y="507"/>
                  </a:cubicBezTo>
                  <a:cubicBezTo>
                    <a:pt x="6318" y="506"/>
                    <a:pt x="6337" y="505"/>
                    <a:pt x="6355" y="505"/>
                  </a:cubicBezTo>
                  <a:cubicBezTo>
                    <a:pt x="6357" y="505"/>
                    <a:pt x="6358" y="505"/>
                    <a:pt x="6360" y="505"/>
                  </a:cubicBezTo>
                  <a:cubicBezTo>
                    <a:pt x="6380" y="505"/>
                    <a:pt x="6399" y="506"/>
                    <a:pt x="6419" y="507"/>
                  </a:cubicBezTo>
                  <a:cubicBezTo>
                    <a:pt x="6496" y="511"/>
                    <a:pt x="6571" y="520"/>
                    <a:pt x="6640" y="536"/>
                  </a:cubicBezTo>
                  <a:cubicBezTo>
                    <a:pt x="6579" y="440"/>
                    <a:pt x="6513" y="346"/>
                    <a:pt x="6443" y="254"/>
                  </a:cubicBezTo>
                  <a:cubicBezTo>
                    <a:pt x="6424" y="229"/>
                    <a:pt x="6404" y="204"/>
                    <a:pt x="6385" y="179"/>
                  </a:cubicBezTo>
                  <a:cubicBezTo>
                    <a:pt x="6364" y="153"/>
                    <a:pt x="6344" y="128"/>
                    <a:pt x="6323" y="102"/>
                  </a:cubicBezTo>
                  <a:cubicBezTo>
                    <a:pt x="6300" y="75"/>
                    <a:pt x="6276" y="48"/>
                    <a:pt x="6253" y="21"/>
                  </a:cubicBezTo>
                  <a:cubicBezTo>
                    <a:pt x="6186" y="8"/>
                    <a:pt x="6114" y="1"/>
                    <a:pt x="6036" y="1"/>
                  </a:cubicBezTo>
                  <a:cubicBezTo>
                    <a:pt x="6006" y="0"/>
                    <a:pt x="5975" y="2"/>
                    <a:pt x="5943" y="3"/>
                  </a:cubicBezTo>
                  <a:cubicBezTo>
                    <a:pt x="5924" y="4"/>
                    <a:pt x="5904" y="6"/>
                    <a:pt x="5884" y="8"/>
                  </a:cubicBezTo>
                  <a:cubicBezTo>
                    <a:pt x="5864" y="10"/>
                    <a:pt x="5844" y="13"/>
                    <a:pt x="5824" y="15"/>
                  </a:cubicBezTo>
                  <a:cubicBezTo>
                    <a:pt x="5639" y="39"/>
                    <a:pt x="5433" y="93"/>
                    <a:pt x="5212" y="174"/>
                  </a:cubicBezTo>
                  <a:cubicBezTo>
                    <a:pt x="5189" y="183"/>
                    <a:pt x="5166" y="191"/>
                    <a:pt x="5142" y="200"/>
                  </a:cubicBezTo>
                  <a:cubicBezTo>
                    <a:pt x="5118" y="210"/>
                    <a:pt x="5094" y="219"/>
                    <a:pt x="5070" y="229"/>
                  </a:cubicBezTo>
                  <a:cubicBezTo>
                    <a:pt x="4719" y="373"/>
                    <a:pt x="4334" y="582"/>
                    <a:pt x="3933" y="848"/>
                  </a:cubicBezTo>
                  <a:cubicBezTo>
                    <a:pt x="3893" y="874"/>
                    <a:pt x="3852" y="902"/>
                    <a:pt x="3812" y="929"/>
                  </a:cubicBezTo>
                  <a:cubicBezTo>
                    <a:pt x="3767" y="960"/>
                    <a:pt x="3723" y="991"/>
                    <a:pt x="3679" y="1023"/>
                  </a:cubicBezTo>
                  <a:cubicBezTo>
                    <a:pt x="3206" y="1360"/>
                    <a:pt x="2718" y="1771"/>
                    <a:pt x="2245" y="2245"/>
                  </a:cubicBezTo>
                  <a:cubicBezTo>
                    <a:pt x="1771" y="2718"/>
                    <a:pt x="1360" y="3206"/>
                    <a:pt x="1023" y="3679"/>
                  </a:cubicBezTo>
                  <a:cubicBezTo>
                    <a:pt x="991" y="3723"/>
                    <a:pt x="960" y="3768"/>
                    <a:pt x="929" y="3812"/>
                  </a:cubicBezTo>
                  <a:cubicBezTo>
                    <a:pt x="902" y="3852"/>
                    <a:pt x="874" y="3893"/>
                    <a:pt x="848" y="3933"/>
                  </a:cubicBezTo>
                  <a:cubicBezTo>
                    <a:pt x="582" y="4334"/>
                    <a:pt x="373" y="4719"/>
                    <a:pt x="229" y="5070"/>
                  </a:cubicBezTo>
                  <a:cubicBezTo>
                    <a:pt x="219" y="5094"/>
                    <a:pt x="210" y="5118"/>
                    <a:pt x="200" y="5142"/>
                  </a:cubicBezTo>
                  <a:cubicBezTo>
                    <a:pt x="191" y="5166"/>
                    <a:pt x="183" y="5189"/>
                    <a:pt x="174" y="5212"/>
                  </a:cubicBezTo>
                  <a:cubicBezTo>
                    <a:pt x="93" y="5433"/>
                    <a:pt x="39" y="5639"/>
                    <a:pt x="15" y="5824"/>
                  </a:cubicBezTo>
                  <a:cubicBezTo>
                    <a:pt x="12" y="5844"/>
                    <a:pt x="10" y="5864"/>
                    <a:pt x="8" y="5884"/>
                  </a:cubicBezTo>
                  <a:cubicBezTo>
                    <a:pt x="6" y="5904"/>
                    <a:pt x="5" y="5924"/>
                    <a:pt x="3" y="5943"/>
                  </a:cubicBezTo>
                  <a:cubicBezTo>
                    <a:pt x="2" y="5975"/>
                    <a:pt x="0" y="6006"/>
                    <a:pt x="1" y="6036"/>
                  </a:cubicBezTo>
                  <a:cubicBezTo>
                    <a:pt x="1" y="6131"/>
                    <a:pt x="10" y="6218"/>
                    <a:pt x="30" y="6297"/>
                  </a:cubicBezTo>
                  <a:cubicBezTo>
                    <a:pt x="38" y="6304"/>
                    <a:pt x="46" y="6311"/>
                    <a:pt x="54" y="6318"/>
                  </a:cubicBezTo>
                  <a:cubicBezTo>
                    <a:pt x="80" y="6340"/>
                    <a:pt x="106" y="6362"/>
                    <a:pt x="132" y="6383"/>
                  </a:cubicBezTo>
                  <a:cubicBezTo>
                    <a:pt x="158" y="6404"/>
                    <a:pt x="184" y="6424"/>
                    <a:pt x="211" y="6444"/>
                  </a:cubicBezTo>
                  <a:cubicBezTo>
                    <a:pt x="320" y="6528"/>
                    <a:pt x="432" y="6606"/>
                    <a:pt x="547" y="6679"/>
                  </a:cubicBezTo>
                  <a:cubicBezTo>
                    <a:pt x="524" y="6598"/>
                    <a:pt x="511" y="6511"/>
                    <a:pt x="507" y="6419"/>
                  </a:cubicBezTo>
                  <a:cubicBezTo>
                    <a:pt x="506" y="6399"/>
                    <a:pt x="505" y="6380"/>
                    <a:pt x="505" y="6360"/>
                  </a:cubicBezTo>
                  <a:cubicBezTo>
                    <a:pt x="505" y="6358"/>
                    <a:pt x="505" y="6357"/>
                    <a:pt x="505" y="6356"/>
                  </a:cubicBezTo>
                  <a:cubicBezTo>
                    <a:pt x="505" y="6337"/>
                    <a:pt x="506" y="6318"/>
                    <a:pt x="507" y="6300"/>
                  </a:cubicBezTo>
                  <a:cubicBezTo>
                    <a:pt x="512" y="6147"/>
                    <a:pt x="539" y="5981"/>
                    <a:pt x="586" y="5804"/>
                  </a:cubicBezTo>
                  <a:cubicBezTo>
                    <a:pt x="592" y="5781"/>
                    <a:pt x="599" y="5758"/>
                    <a:pt x="605" y="5735"/>
                  </a:cubicBezTo>
                  <a:cubicBezTo>
                    <a:pt x="612" y="5712"/>
                    <a:pt x="619" y="5688"/>
                    <a:pt x="626" y="5665"/>
                  </a:cubicBezTo>
                  <a:cubicBezTo>
                    <a:pt x="703" y="5418"/>
                    <a:pt x="817" y="5153"/>
                    <a:pt x="962" y="4876"/>
                  </a:cubicBezTo>
                  <a:cubicBezTo>
                    <a:pt x="979" y="4845"/>
                    <a:pt x="996" y="4813"/>
                    <a:pt x="1013" y="4781"/>
                  </a:cubicBezTo>
                  <a:cubicBezTo>
                    <a:pt x="1031" y="4748"/>
                    <a:pt x="1050" y="4715"/>
                    <a:pt x="1069" y="4682"/>
                  </a:cubicBezTo>
                  <a:cubicBezTo>
                    <a:pt x="1441" y="4031"/>
                    <a:pt x="1982" y="3328"/>
                    <a:pt x="2654" y="2654"/>
                  </a:cubicBezTo>
                  <a:cubicBezTo>
                    <a:pt x="3328" y="1982"/>
                    <a:pt x="4031" y="1441"/>
                    <a:pt x="4682" y="10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0" name="Freeform 12">
              <a:extLst>
                <a:ext uri="{FF2B5EF4-FFF2-40B4-BE49-F238E27FC236}">
                  <a16:creationId xmlns:a16="http://schemas.microsoft.com/office/drawing/2014/main" id="{6967A9C6-FB4D-4270-BB09-0FBE5B7A6E5E}"/>
                </a:ext>
              </a:extLst>
            </p:cNvPr>
            <p:cNvSpPr>
              <a:spLocks/>
            </p:cNvSpPr>
            <p:nvPr/>
          </p:nvSpPr>
          <p:spPr bwMode="auto">
            <a:xfrm>
              <a:off x="5525067" y="2309661"/>
              <a:ext cx="3917703" cy="3936801"/>
            </a:xfrm>
            <a:custGeom>
              <a:avLst/>
              <a:gdLst>
                <a:gd name="T0" fmla="*/ 3424 w 5896"/>
                <a:gd name="T1" fmla="*/ 1876 h 5920"/>
                <a:gd name="T2" fmla="*/ 3633 w 5896"/>
                <a:gd name="T3" fmla="*/ 1712 h 5920"/>
                <a:gd name="T4" fmla="*/ 3808 w 5896"/>
                <a:gd name="T5" fmla="*/ 1582 h 5920"/>
                <a:gd name="T6" fmla="*/ 4916 w 5896"/>
                <a:gd name="T7" fmla="*/ 937 h 5920"/>
                <a:gd name="T8" fmla="*/ 5004 w 5896"/>
                <a:gd name="T9" fmla="*/ 901 h 5920"/>
                <a:gd name="T10" fmla="*/ 5086 w 5896"/>
                <a:gd name="T11" fmla="*/ 873 h 5920"/>
                <a:gd name="T12" fmla="*/ 5614 w 5896"/>
                <a:gd name="T13" fmla="*/ 767 h 5920"/>
                <a:gd name="T14" fmla="*/ 5621 w 5896"/>
                <a:gd name="T15" fmla="*/ 767 h 5920"/>
                <a:gd name="T16" fmla="*/ 5682 w 5896"/>
                <a:gd name="T17" fmla="*/ 770 h 5920"/>
                <a:gd name="T18" fmla="*/ 5742 w 5896"/>
                <a:gd name="T19" fmla="*/ 777 h 5920"/>
                <a:gd name="T20" fmla="*/ 5896 w 5896"/>
                <a:gd name="T21" fmla="*/ 821 h 5920"/>
                <a:gd name="T22" fmla="*/ 5826 w 5896"/>
                <a:gd name="T23" fmla="*/ 476 h 5920"/>
                <a:gd name="T24" fmla="*/ 5792 w 5896"/>
                <a:gd name="T25" fmla="*/ 349 h 5920"/>
                <a:gd name="T26" fmla="*/ 5752 w 5896"/>
                <a:gd name="T27" fmla="*/ 214 h 5920"/>
                <a:gd name="T28" fmla="*/ 5714 w 5896"/>
                <a:gd name="T29" fmla="*/ 97 h 5920"/>
                <a:gd name="T30" fmla="*/ 5444 w 5896"/>
                <a:gd name="T31" fmla="*/ 9 h 5920"/>
                <a:gd name="T32" fmla="*/ 5385 w 5896"/>
                <a:gd name="T33" fmla="*/ 3 h 5920"/>
                <a:gd name="T34" fmla="*/ 5324 w 5896"/>
                <a:gd name="T35" fmla="*/ 1 h 5920"/>
                <a:gd name="T36" fmla="*/ 5312 w 5896"/>
                <a:gd name="T37" fmla="*/ 0 h 5920"/>
                <a:gd name="T38" fmla="*/ 5307 w 5896"/>
                <a:gd name="T39" fmla="*/ 0 h 5920"/>
                <a:gd name="T40" fmla="*/ 4713 w 5896"/>
                <a:gd name="T41" fmla="*/ 112 h 5920"/>
                <a:gd name="T42" fmla="*/ 4636 w 5896"/>
                <a:gd name="T43" fmla="*/ 137 h 5920"/>
                <a:gd name="T44" fmla="*/ 4555 w 5896"/>
                <a:gd name="T45" fmla="*/ 168 h 5920"/>
                <a:gd name="T46" fmla="*/ 3688 w 5896"/>
                <a:gd name="T47" fmla="*/ 607 h 5920"/>
                <a:gd name="T48" fmla="*/ 3564 w 5896"/>
                <a:gd name="T49" fmla="*/ 684 h 5920"/>
                <a:gd name="T50" fmla="*/ 3430 w 5896"/>
                <a:gd name="T51" fmla="*/ 773 h 5920"/>
                <a:gd name="T52" fmla="*/ 1980 w 5896"/>
                <a:gd name="T53" fmla="*/ 1980 h 5920"/>
                <a:gd name="T54" fmla="*/ 774 w 5896"/>
                <a:gd name="T55" fmla="*/ 3429 h 5920"/>
                <a:gd name="T56" fmla="*/ 685 w 5896"/>
                <a:gd name="T57" fmla="*/ 3563 h 5920"/>
                <a:gd name="T58" fmla="*/ 607 w 5896"/>
                <a:gd name="T59" fmla="*/ 3688 h 5920"/>
                <a:gd name="T60" fmla="*/ 169 w 5896"/>
                <a:gd name="T61" fmla="*/ 4554 h 5920"/>
                <a:gd name="T62" fmla="*/ 137 w 5896"/>
                <a:gd name="T63" fmla="*/ 4635 h 5920"/>
                <a:gd name="T64" fmla="*/ 113 w 5896"/>
                <a:gd name="T65" fmla="*/ 4712 h 5920"/>
                <a:gd name="T66" fmla="*/ 1 w 5896"/>
                <a:gd name="T67" fmla="*/ 5311 h 5920"/>
                <a:gd name="T68" fmla="*/ 2 w 5896"/>
                <a:gd name="T69" fmla="*/ 5323 h 5920"/>
                <a:gd name="T70" fmla="*/ 4 w 5896"/>
                <a:gd name="T71" fmla="*/ 5384 h 5920"/>
                <a:gd name="T72" fmla="*/ 10 w 5896"/>
                <a:gd name="T73" fmla="*/ 5443 h 5920"/>
                <a:gd name="T74" fmla="*/ 121 w 5896"/>
                <a:gd name="T75" fmla="*/ 5747 h 5920"/>
                <a:gd name="T76" fmla="*/ 150 w 5896"/>
                <a:gd name="T77" fmla="*/ 5756 h 5920"/>
                <a:gd name="T78" fmla="*/ 291 w 5896"/>
                <a:gd name="T79" fmla="*/ 5800 h 5920"/>
                <a:gd name="T80" fmla="*/ 425 w 5896"/>
                <a:gd name="T81" fmla="*/ 5836 h 5920"/>
                <a:gd name="T82" fmla="*/ 835 w 5896"/>
                <a:gd name="T83" fmla="*/ 5920 h 5920"/>
                <a:gd name="T84" fmla="*/ 778 w 5896"/>
                <a:gd name="T85" fmla="*/ 5741 h 5920"/>
                <a:gd name="T86" fmla="*/ 771 w 5896"/>
                <a:gd name="T87" fmla="*/ 5681 h 5920"/>
                <a:gd name="T88" fmla="*/ 769 w 5896"/>
                <a:gd name="T89" fmla="*/ 5620 h 5920"/>
                <a:gd name="T90" fmla="*/ 768 w 5896"/>
                <a:gd name="T91" fmla="*/ 5612 h 5920"/>
                <a:gd name="T92" fmla="*/ 874 w 5896"/>
                <a:gd name="T93" fmla="*/ 5084 h 5920"/>
                <a:gd name="T94" fmla="*/ 903 w 5896"/>
                <a:gd name="T95" fmla="*/ 5002 h 5920"/>
                <a:gd name="T96" fmla="*/ 938 w 5896"/>
                <a:gd name="T97" fmla="*/ 4915 h 5920"/>
                <a:gd name="T98" fmla="*/ 1583 w 5896"/>
                <a:gd name="T99" fmla="*/ 3807 h 5920"/>
                <a:gd name="T100" fmla="*/ 1713 w 5896"/>
                <a:gd name="T101" fmla="*/ 3632 h 5920"/>
                <a:gd name="T102" fmla="*/ 1877 w 5896"/>
                <a:gd name="T103" fmla="*/ 3424 h 5920"/>
                <a:gd name="T104" fmla="*/ 2610 w 5896"/>
                <a:gd name="T105" fmla="*/ 2610 h 5920"/>
                <a:gd name="T106" fmla="*/ 3424 w 5896"/>
                <a:gd name="T107" fmla="*/ 1876 h 5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96" h="5920">
                  <a:moveTo>
                    <a:pt x="3424" y="1876"/>
                  </a:moveTo>
                  <a:cubicBezTo>
                    <a:pt x="3494" y="1819"/>
                    <a:pt x="3564" y="1765"/>
                    <a:pt x="3633" y="1712"/>
                  </a:cubicBezTo>
                  <a:cubicBezTo>
                    <a:pt x="3692" y="1667"/>
                    <a:pt x="3750" y="1624"/>
                    <a:pt x="3808" y="1582"/>
                  </a:cubicBezTo>
                  <a:cubicBezTo>
                    <a:pt x="4204" y="1295"/>
                    <a:pt x="4581" y="1076"/>
                    <a:pt x="4916" y="937"/>
                  </a:cubicBezTo>
                  <a:cubicBezTo>
                    <a:pt x="4945" y="925"/>
                    <a:pt x="4975" y="912"/>
                    <a:pt x="5004" y="901"/>
                  </a:cubicBezTo>
                  <a:cubicBezTo>
                    <a:pt x="5032" y="891"/>
                    <a:pt x="5058" y="882"/>
                    <a:pt x="5086" y="873"/>
                  </a:cubicBezTo>
                  <a:cubicBezTo>
                    <a:pt x="5281" y="806"/>
                    <a:pt x="5460" y="768"/>
                    <a:pt x="5614" y="767"/>
                  </a:cubicBezTo>
                  <a:cubicBezTo>
                    <a:pt x="5616" y="767"/>
                    <a:pt x="5618" y="767"/>
                    <a:pt x="5621" y="767"/>
                  </a:cubicBezTo>
                  <a:cubicBezTo>
                    <a:pt x="5642" y="768"/>
                    <a:pt x="5662" y="768"/>
                    <a:pt x="5682" y="770"/>
                  </a:cubicBezTo>
                  <a:cubicBezTo>
                    <a:pt x="5702" y="771"/>
                    <a:pt x="5722" y="774"/>
                    <a:pt x="5742" y="777"/>
                  </a:cubicBezTo>
                  <a:cubicBezTo>
                    <a:pt x="5797" y="785"/>
                    <a:pt x="5849" y="800"/>
                    <a:pt x="5896" y="821"/>
                  </a:cubicBezTo>
                  <a:cubicBezTo>
                    <a:pt x="5877" y="705"/>
                    <a:pt x="5854" y="590"/>
                    <a:pt x="5826" y="476"/>
                  </a:cubicBezTo>
                  <a:cubicBezTo>
                    <a:pt x="5816" y="433"/>
                    <a:pt x="5804" y="391"/>
                    <a:pt x="5792" y="349"/>
                  </a:cubicBezTo>
                  <a:cubicBezTo>
                    <a:pt x="5779" y="304"/>
                    <a:pt x="5766" y="259"/>
                    <a:pt x="5752" y="214"/>
                  </a:cubicBezTo>
                  <a:cubicBezTo>
                    <a:pt x="5740" y="175"/>
                    <a:pt x="5728" y="136"/>
                    <a:pt x="5714" y="97"/>
                  </a:cubicBezTo>
                  <a:cubicBezTo>
                    <a:pt x="5639" y="51"/>
                    <a:pt x="5549" y="22"/>
                    <a:pt x="5444" y="9"/>
                  </a:cubicBezTo>
                  <a:cubicBezTo>
                    <a:pt x="5425" y="6"/>
                    <a:pt x="5405" y="4"/>
                    <a:pt x="5385" y="3"/>
                  </a:cubicBezTo>
                  <a:cubicBezTo>
                    <a:pt x="5365" y="1"/>
                    <a:pt x="5345" y="1"/>
                    <a:pt x="5324" y="1"/>
                  </a:cubicBezTo>
                  <a:cubicBezTo>
                    <a:pt x="5320" y="1"/>
                    <a:pt x="5316" y="0"/>
                    <a:pt x="5312" y="0"/>
                  </a:cubicBezTo>
                  <a:cubicBezTo>
                    <a:pt x="5311" y="0"/>
                    <a:pt x="5309" y="0"/>
                    <a:pt x="5307" y="0"/>
                  </a:cubicBezTo>
                  <a:cubicBezTo>
                    <a:pt x="5135" y="0"/>
                    <a:pt x="4934" y="40"/>
                    <a:pt x="4713" y="112"/>
                  </a:cubicBezTo>
                  <a:cubicBezTo>
                    <a:pt x="4687" y="120"/>
                    <a:pt x="4662" y="127"/>
                    <a:pt x="4636" y="137"/>
                  </a:cubicBezTo>
                  <a:cubicBezTo>
                    <a:pt x="4610" y="146"/>
                    <a:pt x="4582" y="158"/>
                    <a:pt x="4555" y="168"/>
                  </a:cubicBezTo>
                  <a:cubicBezTo>
                    <a:pt x="4287" y="270"/>
                    <a:pt x="3995" y="418"/>
                    <a:pt x="3688" y="607"/>
                  </a:cubicBezTo>
                  <a:cubicBezTo>
                    <a:pt x="3647" y="632"/>
                    <a:pt x="3606" y="657"/>
                    <a:pt x="3564" y="684"/>
                  </a:cubicBezTo>
                  <a:cubicBezTo>
                    <a:pt x="3520" y="713"/>
                    <a:pt x="3475" y="743"/>
                    <a:pt x="3430" y="773"/>
                  </a:cubicBezTo>
                  <a:cubicBezTo>
                    <a:pt x="2956" y="1092"/>
                    <a:pt x="2460" y="1499"/>
                    <a:pt x="1980" y="1980"/>
                  </a:cubicBezTo>
                  <a:cubicBezTo>
                    <a:pt x="1500" y="2459"/>
                    <a:pt x="1093" y="2956"/>
                    <a:pt x="774" y="3429"/>
                  </a:cubicBezTo>
                  <a:cubicBezTo>
                    <a:pt x="744" y="3474"/>
                    <a:pt x="714" y="3519"/>
                    <a:pt x="685" y="3563"/>
                  </a:cubicBezTo>
                  <a:cubicBezTo>
                    <a:pt x="658" y="3605"/>
                    <a:pt x="633" y="3646"/>
                    <a:pt x="607" y="3688"/>
                  </a:cubicBezTo>
                  <a:cubicBezTo>
                    <a:pt x="419" y="3994"/>
                    <a:pt x="271" y="4287"/>
                    <a:pt x="169" y="4554"/>
                  </a:cubicBezTo>
                  <a:cubicBezTo>
                    <a:pt x="158" y="4581"/>
                    <a:pt x="147" y="4609"/>
                    <a:pt x="137" y="4635"/>
                  </a:cubicBezTo>
                  <a:cubicBezTo>
                    <a:pt x="128" y="4661"/>
                    <a:pt x="121" y="4686"/>
                    <a:pt x="113" y="4712"/>
                  </a:cubicBezTo>
                  <a:cubicBezTo>
                    <a:pt x="40" y="4935"/>
                    <a:pt x="0" y="5138"/>
                    <a:pt x="1" y="5311"/>
                  </a:cubicBezTo>
                  <a:cubicBezTo>
                    <a:pt x="1" y="5315"/>
                    <a:pt x="1" y="5319"/>
                    <a:pt x="2" y="5323"/>
                  </a:cubicBezTo>
                  <a:cubicBezTo>
                    <a:pt x="2" y="5344"/>
                    <a:pt x="2" y="5364"/>
                    <a:pt x="4" y="5384"/>
                  </a:cubicBezTo>
                  <a:cubicBezTo>
                    <a:pt x="5" y="5404"/>
                    <a:pt x="7" y="5424"/>
                    <a:pt x="10" y="5443"/>
                  </a:cubicBezTo>
                  <a:cubicBezTo>
                    <a:pt x="25" y="5564"/>
                    <a:pt x="62" y="5665"/>
                    <a:pt x="121" y="5747"/>
                  </a:cubicBezTo>
                  <a:cubicBezTo>
                    <a:pt x="131" y="5750"/>
                    <a:pt x="140" y="5753"/>
                    <a:pt x="150" y="5756"/>
                  </a:cubicBezTo>
                  <a:cubicBezTo>
                    <a:pt x="197" y="5771"/>
                    <a:pt x="244" y="5786"/>
                    <a:pt x="291" y="5800"/>
                  </a:cubicBezTo>
                  <a:cubicBezTo>
                    <a:pt x="336" y="5813"/>
                    <a:pt x="380" y="5825"/>
                    <a:pt x="425" y="5836"/>
                  </a:cubicBezTo>
                  <a:cubicBezTo>
                    <a:pt x="560" y="5870"/>
                    <a:pt x="697" y="5898"/>
                    <a:pt x="835" y="5920"/>
                  </a:cubicBezTo>
                  <a:cubicBezTo>
                    <a:pt x="807" y="5866"/>
                    <a:pt x="788" y="5806"/>
                    <a:pt x="778" y="5741"/>
                  </a:cubicBezTo>
                  <a:cubicBezTo>
                    <a:pt x="775" y="5721"/>
                    <a:pt x="773" y="5701"/>
                    <a:pt x="771" y="5681"/>
                  </a:cubicBezTo>
                  <a:cubicBezTo>
                    <a:pt x="769" y="5661"/>
                    <a:pt x="769" y="5641"/>
                    <a:pt x="769" y="5620"/>
                  </a:cubicBezTo>
                  <a:cubicBezTo>
                    <a:pt x="769" y="5617"/>
                    <a:pt x="768" y="5615"/>
                    <a:pt x="768" y="5612"/>
                  </a:cubicBezTo>
                  <a:cubicBezTo>
                    <a:pt x="769" y="5459"/>
                    <a:pt x="807" y="5280"/>
                    <a:pt x="874" y="5084"/>
                  </a:cubicBezTo>
                  <a:cubicBezTo>
                    <a:pt x="884" y="5057"/>
                    <a:pt x="892" y="5030"/>
                    <a:pt x="903" y="5002"/>
                  </a:cubicBezTo>
                  <a:cubicBezTo>
                    <a:pt x="913" y="4974"/>
                    <a:pt x="926" y="4944"/>
                    <a:pt x="938" y="4915"/>
                  </a:cubicBezTo>
                  <a:cubicBezTo>
                    <a:pt x="1077" y="4580"/>
                    <a:pt x="1296" y="4203"/>
                    <a:pt x="1583" y="3807"/>
                  </a:cubicBezTo>
                  <a:cubicBezTo>
                    <a:pt x="1625" y="3749"/>
                    <a:pt x="1668" y="3691"/>
                    <a:pt x="1713" y="3632"/>
                  </a:cubicBezTo>
                  <a:cubicBezTo>
                    <a:pt x="1765" y="3563"/>
                    <a:pt x="1820" y="3493"/>
                    <a:pt x="1877" y="3424"/>
                  </a:cubicBezTo>
                  <a:cubicBezTo>
                    <a:pt x="2095" y="3154"/>
                    <a:pt x="2341" y="2880"/>
                    <a:pt x="2610" y="2610"/>
                  </a:cubicBezTo>
                  <a:cubicBezTo>
                    <a:pt x="2881" y="2340"/>
                    <a:pt x="3155" y="2095"/>
                    <a:pt x="3424" y="187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1" name="Freeform 13">
              <a:extLst>
                <a:ext uri="{FF2B5EF4-FFF2-40B4-BE49-F238E27FC236}">
                  <a16:creationId xmlns:a16="http://schemas.microsoft.com/office/drawing/2014/main" id="{85D81FB3-8A4F-49F2-A164-8A0BF5C67920}"/>
                </a:ext>
              </a:extLst>
            </p:cNvPr>
            <p:cNvSpPr>
              <a:spLocks/>
            </p:cNvSpPr>
            <p:nvPr/>
          </p:nvSpPr>
          <p:spPr bwMode="auto">
            <a:xfrm>
              <a:off x="6849611" y="3634205"/>
              <a:ext cx="2613621" cy="2625898"/>
            </a:xfrm>
            <a:custGeom>
              <a:avLst/>
              <a:gdLst>
                <a:gd name="T0" fmla="*/ 3902 w 3934"/>
                <a:gd name="T1" fmla="*/ 32 h 3950"/>
                <a:gd name="T2" fmla="*/ 3727 w 3934"/>
                <a:gd name="T3" fmla="*/ 0 h 3950"/>
                <a:gd name="T4" fmla="*/ 3687 w 3934"/>
                <a:gd name="T5" fmla="*/ 3 h 3950"/>
                <a:gd name="T6" fmla="*/ 3616 w 3934"/>
                <a:gd name="T7" fmla="*/ 8 h 3950"/>
                <a:gd name="T8" fmla="*/ 3541 w 3934"/>
                <a:gd name="T9" fmla="*/ 21 h 3950"/>
                <a:gd name="T10" fmla="*/ 3005 w 3934"/>
                <a:gd name="T11" fmla="*/ 222 h 3950"/>
                <a:gd name="T12" fmla="*/ 2891 w 3934"/>
                <a:gd name="T13" fmla="*/ 283 h 3950"/>
                <a:gd name="T14" fmla="*/ 2768 w 3934"/>
                <a:gd name="T15" fmla="*/ 353 h 3950"/>
                <a:gd name="T16" fmla="*/ 1424 w 3934"/>
                <a:gd name="T17" fmla="*/ 1424 h 3950"/>
                <a:gd name="T18" fmla="*/ 353 w 3934"/>
                <a:gd name="T19" fmla="*/ 2768 h 3950"/>
                <a:gd name="T20" fmla="*/ 283 w 3934"/>
                <a:gd name="T21" fmla="*/ 2891 h 3950"/>
                <a:gd name="T22" fmla="*/ 222 w 3934"/>
                <a:gd name="T23" fmla="*/ 3005 h 3950"/>
                <a:gd name="T24" fmla="*/ 22 w 3934"/>
                <a:gd name="T25" fmla="*/ 3540 h 3950"/>
                <a:gd name="T26" fmla="*/ 8 w 3934"/>
                <a:gd name="T27" fmla="*/ 3616 h 3950"/>
                <a:gd name="T28" fmla="*/ 3 w 3934"/>
                <a:gd name="T29" fmla="*/ 3686 h 3950"/>
                <a:gd name="T30" fmla="*/ 1 w 3934"/>
                <a:gd name="T31" fmla="*/ 3727 h 3950"/>
                <a:gd name="T32" fmla="*/ 32 w 3934"/>
                <a:gd name="T33" fmla="*/ 3902 h 3950"/>
                <a:gd name="T34" fmla="*/ 56 w 3934"/>
                <a:gd name="T35" fmla="*/ 3950 h 3950"/>
                <a:gd name="T36" fmla="*/ 79 w 3934"/>
                <a:gd name="T37" fmla="*/ 3947 h 3950"/>
                <a:gd name="T38" fmla="*/ 282 w 3934"/>
                <a:gd name="T39" fmla="*/ 3917 h 3950"/>
                <a:gd name="T40" fmla="*/ 1127 w 3934"/>
                <a:gd name="T41" fmla="*/ 3685 h 3950"/>
                <a:gd name="T42" fmla="*/ 1020 w 3934"/>
                <a:gd name="T43" fmla="*/ 3624 h 3950"/>
                <a:gd name="T44" fmla="*/ 959 w 3934"/>
                <a:gd name="T45" fmla="*/ 3517 h 3950"/>
                <a:gd name="T46" fmla="*/ 946 w 3934"/>
                <a:gd name="T47" fmla="*/ 3454 h 3950"/>
                <a:gd name="T48" fmla="*/ 943 w 3934"/>
                <a:gd name="T49" fmla="*/ 3410 h 3950"/>
                <a:gd name="T50" fmla="*/ 945 w 3934"/>
                <a:gd name="T51" fmla="*/ 3382 h 3950"/>
                <a:gd name="T52" fmla="*/ 1060 w 3934"/>
                <a:gd name="T53" fmla="*/ 2995 h 3950"/>
                <a:gd name="T54" fmla="*/ 1123 w 3934"/>
                <a:gd name="T55" fmla="*/ 2873 h 3950"/>
                <a:gd name="T56" fmla="*/ 1207 w 3934"/>
                <a:gd name="T57" fmla="*/ 2729 h 3950"/>
                <a:gd name="T58" fmla="*/ 1890 w 3934"/>
                <a:gd name="T59" fmla="*/ 1890 h 3950"/>
                <a:gd name="T60" fmla="*/ 2729 w 3934"/>
                <a:gd name="T61" fmla="*/ 1207 h 3950"/>
                <a:gd name="T62" fmla="*/ 2873 w 3934"/>
                <a:gd name="T63" fmla="*/ 1123 h 3950"/>
                <a:gd name="T64" fmla="*/ 2994 w 3934"/>
                <a:gd name="T65" fmla="*/ 1061 h 3950"/>
                <a:gd name="T66" fmla="*/ 3382 w 3934"/>
                <a:gd name="T67" fmla="*/ 946 h 3950"/>
                <a:gd name="T68" fmla="*/ 3410 w 3934"/>
                <a:gd name="T69" fmla="*/ 943 h 3950"/>
                <a:gd name="T70" fmla="*/ 3454 w 3934"/>
                <a:gd name="T71" fmla="*/ 947 h 3950"/>
                <a:gd name="T72" fmla="*/ 3517 w 3934"/>
                <a:gd name="T73" fmla="*/ 959 h 3950"/>
                <a:gd name="T74" fmla="*/ 3624 w 3934"/>
                <a:gd name="T75" fmla="*/ 1020 h 3950"/>
                <a:gd name="T76" fmla="*/ 3679 w 3934"/>
                <a:gd name="T77" fmla="*/ 1109 h 3950"/>
                <a:gd name="T78" fmla="*/ 3893 w 3934"/>
                <a:gd name="T79" fmla="*/ 331 h 3950"/>
                <a:gd name="T80" fmla="*/ 3924 w 3934"/>
                <a:gd name="T81" fmla="*/ 131 h 3950"/>
                <a:gd name="T82" fmla="*/ 3934 w 3934"/>
                <a:gd name="T83" fmla="*/ 47 h 3950"/>
                <a:gd name="T84" fmla="*/ 3902 w 3934"/>
                <a:gd name="T85" fmla="*/ 32 h 3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34" h="3950">
                  <a:moveTo>
                    <a:pt x="3902" y="32"/>
                  </a:moveTo>
                  <a:cubicBezTo>
                    <a:pt x="3854" y="12"/>
                    <a:pt x="3797" y="1"/>
                    <a:pt x="3727" y="0"/>
                  </a:cubicBezTo>
                  <a:cubicBezTo>
                    <a:pt x="3714" y="0"/>
                    <a:pt x="3700" y="2"/>
                    <a:pt x="3687" y="3"/>
                  </a:cubicBezTo>
                  <a:cubicBezTo>
                    <a:pt x="3664" y="4"/>
                    <a:pt x="3641" y="5"/>
                    <a:pt x="3616" y="8"/>
                  </a:cubicBezTo>
                  <a:cubicBezTo>
                    <a:pt x="3592" y="12"/>
                    <a:pt x="3567" y="16"/>
                    <a:pt x="3541" y="21"/>
                  </a:cubicBezTo>
                  <a:cubicBezTo>
                    <a:pt x="3386" y="53"/>
                    <a:pt x="3204" y="121"/>
                    <a:pt x="3005" y="222"/>
                  </a:cubicBezTo>
                  <a:cubicBezTo>
                    <a:pt x="2967" y="241"/>
                    <a:pt x="2929" y="262"/>
                    <a:pt x="2891" y="283"/>
                  </a:cubicBezTo>
                  <a:cubicBezTo>
                    <a:pt x="2851" y="305"/>
                    <a:pt x="2810" y="329"/>
                    <a:pt x="2768" y="353"/>
                  </a:cubicBezTo>
                  <a:cubicBezTo>
                    <a:pt x="2350" y="601"/>
                    <a:pt x="1878" y="968"/>
                    <a:pt x="1424" y="1424"/>
                  </a:cubicBezTo>
                  <a:cubicBezTo>
                    <a:pt x="967" y="1878"/>
                    <a:pt x="601" y="2350"/>
                    <a:pt x="353" y="2768"/>
                  </a:cubicBezTo>
                  <a:cubicBezTo>
                    <a:pt x="329" y="2810"/>
                    <a:pt x="305" y="2851"/>
                    <a:pt x="283" y="2891"/>
                  </a:cubicBezTo>
                  <a:cubicBezTo>
                    <a:pt x="261" y="2930"/>
                    <a:pt x="241" y="2968"/>
                    <a:pt x="222" y="3005"/>
                  </a:cubicBezTo>
                  <a:cubicBezTo>
                    <a:pt x="121" y="3204"/>
                    <a:pt x="53" y="3386"/>
                    <a:pt x="22" y="3540"/>
                  </a:cubicBezTo>
                  <a:cubicBezTo>
                    <a:pt x="16" y="3566"/>
                    <a:pt x="12" y="3592"/>
                    <a:pt x="8" y="3616"/>
                  </a:cubicBezTo>
                  <a:cubicBezTo>
                    <a:pt x="5" y="3641"/>
                    <a:pt x="4" y="3664"/>
                    <a:pt x="3" y="3686"/>
                  </a:cubicBezTo>
                  <a:cubicBezTo>
                    <a:pt x="2" y="3700"/>
                    <a:pt x="0" y="3714"/>
                    <a:pt x="1" y="3727"/>
                  </a:cubicBezTo>
                  <a:cubicBezTo>
                    <a:pt x="1" y="3797"/>
                    <a:pt x="12" y="3854"/>
                    <a:pt x="32" y="3902"/>
                  </a:cubicBezTo>
                  <a:cubicBezTo>
                    <a:pt x="39" y="3919"/>
                    <a:pt x="47" y="3935"/>
                    <a:pt x="56" y="3950"/>
                  </a:cubicBezTo>
                  <a:cubicBezTo>
                    <a:pt x="64" y="3949"/>
                    <a:pt x="71" y="3948"/>
                    <a:pt x="79" y="3947"/>
                  </a:cubicBezTo>
                  <a:cubicBezTo>
                    <a:pt x="147" y="3939"/>
                    <a:pt x="214" y="3929"/>
                    <a:pt x="282" y="3917"/>
                  </a:cubicBezTo>
                  <a:cubicBezTo>
                    <a:pt x="569" y="3868"/>
                    <a:pt x="852" y="3791"/>
                    <a:pt x="1127" y="3685"/>
                  </a:cubicBezTo>
                  <a:cubicBezTo>
                    <a:pt x="1087" y="3673"/>
                    <a:pt x="1050" y="3653"/>
                    <a:pt x="1020" y="3624"/>
                  </a:cubicBezTo>
                  <a:cubicBezTo>
                    <a:pt x="990" y="3594"/>
                    <a:pt x="971" y="3557"/>
                    <a:pt x="959" y="3517"/>
                  </a:cubicBezTo>
                  <a:cubicBezTo>
                    <a:pt x="953" y="3497"/>
                    <a:pt x="949" y="3476"/>
                    <a:pt x="946" y="3454"/>
                  </a:cubicBezTo>
                  <a:cubicBezTo>
                    <a:pt x="945" y="3440"/>
                    <a:pt x="943" y="3425"/>
                    <a:pt x="943" y="3410"/>
                  </a:cubicBezTo>
                  <a:cubicBezTo>
                    <a:pt x="944" y="3401"/>
                    <a:pt x="945" y="3392"/>
                    <a:pt x="945" y="3382"/>
                  </a:cubicBezTo>
                  <a:cubicBezTo>
                    <a:pt x="952" y="3271"/>
                    <a:pt x="992" y="3140"/>
                    <a:pt x="1060" y="2995"/>
                  </a:cubicBezTo>
                  <a:cubicBezTo>
                    <a:pt x="1079" y="2955"/>
                    <a:pt x="1100" y="2914"/>
                    <a:pt x="1123" y="2873"/>
                  </a:cubicBezTo>
                  <a:cubicBezTo>
                    <a:pt x="1148" y="2826"/>
                    <a:pt x="1176" y="2778"/>
                    <a:pt x="1207" y="2729"/>
                  </a:cubicBezTo>
                  <a:cubicBezTo>
                    <a:pt x="1371" y="2466"/>
                    <a:pt x="1606" y="2176"/>
                    <a:pt x="1890" y="1890"/>
                  </a:cubicBezTo>
                  <a:cubicBezTo>
                    <a:pt x="2176" y="1606"/>
                    <a:pt x="2466" y="1372"/>
                    <a:pt x="2729" y="1207"/>
                  </a:cubicBezTo>
                  <a:cubicBezTo>
                    <a:pt x="2778" y="1176"/>
                    <a:pt x="2825" y="1149"/>
                    <a:pt x="2873" y="1123"/>
                  </a:cubicBezTo>
                  <a:cubicBezTo>
                    <a:pt x="2914" y="1100"/>
                    <a:pt x="2955" y="1079"/>
                    <a:pt x="2994" y="1061"/>
                  </a:cubicBezTo>
                  <a:cubicBezTo>
                    <a:pt x="3140" y="992"/>
                    <a:pt x="3271" y="953"/>
                    <a:pt x="3382" y="946"/>
                  </a:cubicBezTo>
                  <a:cubicBezTo>
                    <a:pt x="3392" y="945"/>
                    <a:pt x="3401" y="944"/>
                    <a:pt x="3410" y="943"/>
                  </a:cubicBezTo>
                  <a:cubicBezTo>
                    <a:pt x="3425" y="943"/>
                    <a:pt x="3440" y="945"/>
                    <a:pt x="3454" y="947"/>
                  </a:cubicBezTo>
                  <a:cubicBezTo>
                    <a:pt x="3476" y="949"/>
                    <a:pt x="3497" y="953"/>
                    <a:pt x="3517" y="959"/>
                  </a:cubicBezTo>
                  <a:cubicBezTo>
                    <a:pt x="3557" y="971"/>
                    <a:pt x="3594" y="990"/>
                    <a:pt x="3624" y="1020"/>
                  </a:cubicBezTo>
                  <a:cubicBezTo>
                    <a:pt x="3649" y="1045"/>
                    <a:pt x="3667" y="1076"/>
                    <a:pt x="3679" y="1109"/>
                  </a:cubicBezTo>
                  <a:cubicBezTo>
                    <a:pt x="3774" y="856"/>
                    <a:pt x="3846" y="595"/>
                    <a:pt x="3893" y="331"/>
                  </a:cubicBezTo>
                  <a:cubicBezTo>
                    <a:pt x="3905" y="265"/>
                    <a:pt x="3915" y="198"/>
                    <a:pt x="3924" y="131"/>
                  </a:cubicBezTo>
                  <a:cubicBezTo>
                    <a:pt x="3928" y="103"/>
                    <a:pt x="3931" y="75"/>
                    <a:pt x="3934" y="47"/>
                  </a:cubicBezTo>
                  <a:cubicBezTo>
                    <a:pt x="3924" y="41"/>
                    <a:pt x="3913" y="37"/>
                    <a:pt x="3902" y="3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sp>
        <p:nvSpPr>
          <p:cNvPr id="34" name="Rubrik 33"/>
          <p:cNvSpPr>
            <a:spLocks noGrp="1"/>
          </p:cNvSpPr>
          <p:nvPr>
            <p:ph type="title" hasCustomPrompt="1"/>
          </p:nvPr>
        </p:nvSpPr>
        <p:spPr>
          <a:xfrm>
            <a:off x="380999" y="231140"/>
            <a:ext cx="8370889" cy="793918"/>
          </a:xfrm>
          <a:prstGeom prst="rect">
            <a:avLst/>
          </a:prstGeom>
        </p:spPr>
        <p:txBody>
          <a:bodyPr lIns="0" tIns="0" rIns="0" bIns="0" anchor="t" anchorCtr="0">
            <a:normAutofit/>
          </a:bodyPr>
          <a:lstStyle>
            <a:lvl1pPr algn="l">
              <a:defRPr sz="3600">
                <a:solidFill>
                  <a:schemeClr val="tx1"/>
                </a:solidFill>
                <a:latin typeface="Calibri"/>
                <a:cs typeface="Calibri"/>
              </a:defRPr>
            </a:lvl1pPr>
          </a:lstStyle>
          <a:p>
            <a:r>
              <a:rPr lang="en-GB"/>
              <a:t>Heading</a:t>
            </a:r>
            <a:endParaRPr lang="sv-SE"/>
          </a:p>
        </p:txBody>
      </p:sp>
      <p:sp>
        <p:nvSpPr>
          <p:cNvPr id="21" name="Platshållare för text 2"/>
          <p:cNvSpPr>
            <a:spLocks noGrp="1"/>
          </p:cNvSpPr>
          <p:nvPr>
            <p:ph type="body" sz="quarter" idx="17" hasCustomPrompt="1"/>
          </p:nvPr>
        </p:nvSpPr>
        <p:spPr>
          <a:xfrm>
            <a:off x="381000" y="1238250"/>
            <a:ext cx="8370888" cy="3257612"/>
          </a:xfrm>
          <a:prstGeom prst="rect">
            <a:avLst/>
          </a:prstGeom>
        </p:spPr>
        <p:txBody>
          <a:bodyPr lIns="0" tIns="0" rIns="0" bIns="0"/>
          <a:lstStyle>
            <a:lvl1pPr marL="190500" indent="-190500">
              <a:spcBef>
                <a:spcPts val="50"/>
              </a:spcBef>
              <a:defRPr sz="2000"/>
            </a:lvl1pPr>
            <a:lvl2pPr marL="446088" indent="-265113">
              <a:spcBef>
                <a:spcPts val="50"/>
              </a:spcBef>
              <a:buFont typeface="Lucida Grande"/>
              <a:buChar char="–"/>
              <a:defRPr sz="1800"/>
            </a:lvl2pPr>
            <a:lvl3pPr marL="571500" indent="-254000">
              <a:spcBef>
                <a:spcPts val="50"/>
              </a:spcBef>
              <a:buFont typeface="Courier New" panose="02070309020205020404" pitchFamily="49" charset="0"/>
              <a:buChar char="o"/>
              <a:defRPr sz="1600"/>
            </a:lvl3pPr>
            <a:lvl4pPr marL="698500" indent="-254000">
              <a:spcBef>
                <a:spcPts val="50"/>
              </a:spcBef>
              <a:buFont typeface="Wingdings" panose="05000000000000000000" pitchFamily="2" charset="2"/>
              <a:buChar char="§"/>
              <a:defRPr sz="1400"/>
            </a:lvl4pPr>
            <a:lvl5pPr marL="825500" indent="-254000">
              <a:spcBef>
                <a:spcPts val="50"/>
              </a:spcBef>
              <a:buFont typeface="Lucida Grande"/>
              <a:buChar char="–"/>
              <a:defRPr sz="1800"/>
            </a:lvl5pPr>
          </a:lstStyle>
          <a:p>
            <a:pPr lvl="0"/>
            <a:r>
              <a:rPr lang="en-GB" noProof="0"/>
              <a:t>Level 1</a:t>
            </a:r>
          </a:p>
          <a:p>
            <a:pPr lvl="1"/>
            <a:r>
              <a:rPr lang="en-GB" noProof="0"/>
              <a:t>Level 2</a:t>
            </a:r>
          </a:p>
          <a:p>
            <a:pPr lvl="2"/>
            <a:r>
              <a:rPr lang="en-GB" noProof="0"/>
              <a:t>Level 3</a:t>
            </a:r>
          </a:p>
          <a:p>
            <a:pPr lvl="3"/>
            <a:r>
              <a:rPr lang="en-GB" noProof="0"/>
              <a:t>Level 4</a:t>
            </a:r>
          </a:p>
        </p:txBody>
      </p:sp>
      <p:pic>
        <p:nvPicPr>
          <p:cNvPr id="33" name="Bildobjekt 3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0201" y="4590290"/>
            <a:ext cx="850195" cy="307734"/>
          </a:xfrm>
          <a:prstGeom prst="rect">
            <a:avLst/>
          </a:prstGeom>
        </p:spPr>
      </p:pic>
      <p:sp>
        <p:nvSpPr>
          <p:cNvPr id="35" name="Platshållare för sidfot 4">
            <a:extLst>
              <a:ext uri="{FF2B5EF4-FFF2-40B4-BE49-F238E27FC236}">
                <a16:creationId xmlns:a16="http://schemas.microsoft.com/office/drawing/2014/main" id="{1AE47823-13BB-41B4-906A-1E7095218F39}"/>
              </a:ext>
            </a:extLst>
          </p:cNvPr>
          <p:cNvSpPr>
            <a:spLocks noGrp="1"/>
          </p:cNvSpPr>
          <p:nvPr>
            <p:ph type="ftr" sz="quarter" idx="11"/>
          </p:nvPr>
        </p:nvSpPr>
        <p:spPr>
          <a:xfrm>
            <a:off x="5824413" y="4483997"/>
            <a:ext cx="2509889" cy="382813"/>
          </a:xfrm>
          <a:prstGeom prst="rect">
            <a:avLst/>
          </a:prstGeom>
        </p:spPr>
        <p:txBody>
          <a:bodyPr lIns="0" tIns="0" rIns="0" bIns="0" anchor="b" anchorCtr="0"/>
          <a:lstStyle>
            <a:lvl1pPr algn="r">
              <a:defRPr sz="900" b="0">
                <a:solidFill>
                  <a:schemeClr val="tx1"/>
                </a:solidFill>
              </a:defRPr>
            </a:lvl1pPr>
          </a:lstStyle>
          <a:p>
            <a:r>
              <a:rPr lang="en-US"/>
              <a:t>Stakeholder Forum Agenda - Classification: External</a:t>
            </a:r>
            <a:endParaRPr lang="sv-SE"/>
          </a:p>
        </p:txBody>
      </p:sp>
      <p:sp>
        <p:nvSpPr>
          <p:cNvPr id="38" name="Platshållare för datum 3">
            <a:extLst>
              <a:ext uri="{FF2B5EF4-FFF2-40B4-BE49-F238E27FC236}">
                <a16:creationId xmlns:a16="http://schemas.microsoft.com/office/drawing/2014/main" id="{A2D83CD8-8E25-4C26-9DB9-3677376AED03}"/>
              </a:ext>
            </a:extLst>
          </p:cNvPr>
          <p:cNvSpPr>
            <a:spLocks noGrp="1"/>
          </p:cNvSpPr>
          <p:nvPr>
            <p:ph type="dt" sz="half" idx="10"/>
          </p:nvPr>
        </p:nvSpPr>
        <p:spPr>
          <a:xfrm>
            <a:off x="4734099" y="4495861"/>
            <a:ext cx="1018558" cy="370949"/>
          </a:xfrm>
          <a:prstGeom prst="rect">
            <a:avLst/>
          </a:prstGeom>
        </p:spPr>
        <p:txBody>
          <a:bodyPr lIns="0" tIns="0" rIns="0" bIns="0" anchor="b" anchorCtr="0"/>
          <a:lstStyle>
            <a:lvl1pPr algn="l">
              <a:defRPr sz="900" b="0" i="0" cap="all">
                <a:solidFill>
                  <a:schemeClr val="tx1"/>
                </a:solidFill>
              </a:defRPr>
            </a:lvl1pPr>
          </a:lstStyle>
          <a:p>
            <a:r>
              <a:rPr lang="sv-SE"/>
              <a:t>26/03/2026</a:t>
            </a:r>
          </a:p>
        </p:txBody>
      </p:sp>
      <p:sp>
        <p:nvSpPr>
          <p:cNvPr id="39" name="Platshållare för bildnummer 5">
            <a:extLst>
              <a:ext uri="{FF2B5EF4-FFF2-40B4-BE49-F238E27FC236}">
                <a16:creationId xmlns:a16="http://schemas.microsoft.com/office/drawing/2014/main" id="{8C9913A8-7165-4444-B771-69D3C4AA9391}"/>
              </a:ext>
            </a:extLst>
          </p:cNvPr>
          <p:cNvSpPr>
            <a:spLocks noGrp="1"/>
          </p:cNvSpPr>
          <p:nvPr>
            <p:ph type="sldNum" sz="quarter" idx="12"/>
          </p:nvPr>
        </p:nvSpPr>
        <p:spPr>
          <a:xfrm>
            <a:off x="8383230" y="4469824"/>
            <a:ext cx="368658" cy="396987"/>
          </a:xfrm>
          <a:prstGeom prst="rect">
            <a:avLst/>
          </a:prstGeom>
          <a:noFill/>
        </p:spPr>
        <p:txBody>
          <a:bodyPr lIns="25400" tIns="0" rIns="0" bIns="0" anchor="b" anchorCtr="0"/>
          <a:lstStyle>
            <a:lvl1pPr algn="r">
              <a:defRPr sz="900">
                <a:solidFill>
                  <a:schemeClr val="tx1"/>
                </a:solidFill>
              </a:defRPr>
            </a:lvl1pPr>
          </a:lstStyle>
          <a:p>
            <a:fld id="{394EE31B-4DFC-CF4D-9A18-3F5D4D7C7302}" type="slidenum">
              <a:rPr lang="sv-SE" smtClean="0"/>
              <a:pPr/>
              <a:t>‹#›</a:t>
            </a:fld>
            <a:endParaRPr lang="sv-SE"/>
          </a:p>
        </p:txBody>
      </p:sp>
    </p:spTree>
    <p:extLst>
      <p:ext uri="{BB962C8B-B14F-4D97-AF65-F5344CB8AC3E}">
        <p14:creationId xmlns:p14="http://schemas.microsoft.com/office/powerpoint/2010/main" val="30848743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Kapittelside 2">
    <p:spTree>
      <p:nvGrpSpPr>
        <p:cNvPr id="1" name=""/>
        <p:cNvGrpSpPr/>
        <p:nvPr/>
      </p:nvGrpSpPr>
      <p:grpSpPr>
        <a:xfrm>
          <a:off x="0" y="0"/>
          <a:ext cx="0" cy="0"/>
          <a:chOff x="0" y="0"/>
          <a:chExt cx="0" cy="0"/>
        </a:xfrm>
      </p:grpSpPr>
      <p:pic>
        <p:nvPicPr>
          <p:cNvPr id="4" name="Bilde 3" descr="Et bilde som inneholder vindu&#10;&#10;Automatisk generert beskrivelse">
            <a:extLst>
              <a:ext uri="{FF2B5EF4-FFF2-40B4-BE49-F238E27FC236}">
                <a16:creationId xmlns:a16="http://schemas.microsoft.com/office/drawing/2014/main" id="{C68D5220-6FBF-4DFF-8E93-7E57FBE816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3" name="Rubrik 1">
            <a:extLst>
              <a:ext uri="{FF2B5EF4-FFF2-40B4-BE49-F238E27FC236}">
                <a16:creationId xmlns:a16="http://schemas.microsoft.com/office/drawing/2014/main" id="{D6009B22-8BAF-4C08-8A0B-EF95DE057143}"/>
              </a:ext>
            </a:extLst>
          </p:cNvPr>
          <p:cNvSpPr>
            <a:spLocks noGrp="1"/>
          </p:cNvSpPr>
          <p:nvPr>
            <p:ph type="title" hasCustomPrompt="1"/>
          </p:nvPr>
        </p:nvSpPr>
        <p:spPr>
          <a:xfrm>
            <a:off x="3291437" y="2571750"/>
            <a:ext cx="5049441" cy="455830"/>
          </a:xfrm>
        </p:spPr>
        <p:txBody>
          <a:bodyPr lIns="0">
            <a:normAutofit/>
          </a:bodyPr>
          <a:lstStyle>
            <a:lvl1pPr>
              <a:defRPr sz="2400" b="1">
                <a:solidFill>
                  <a:schemeClr val="tx1"/>
                </a:solidFill>
              </a:defRPr>
            </a:lvl1pPr>
          </a:lstStyle>
          <a:p>
            <a:r>
              <a:rPr lang="nb-NO" noProof="0"/>
              <a:t>Kapittelside</a:t>
            </a:r>
          </a:p>
        </p:txBody>
      </p:sp>
    </p:spTree>
    <p:extLst>
      <p:ext uri="{BB962C8B-B14F-4D97-AF65-F5344CB8AC3E}">
        <p14:creationId xmlns:p14="http://schemas.microsoft.com/office/powerpoint/2010/main" val="242869918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Kapittelside 3">
    <p:spTree>
      <p:nvGrpSpPr>
        <p:cNvPr id="1" name=""/>
        <p:cNvGrpSpPr/>
        <p:nvPr/>
      </p:nvGrpSpPr>
      <p:grpSpPr>
        <a:xfrm>
          <a:off x="0" y="0"/>
          <a:ext cx="0" cy="0"/>
          <a:chOff x="0" y="0"/>
          <a:chExt cx="0" cy="0"/>
        </a:xfrm>
      </p:grpSpPr>
      <p:pic>
        <p:nvPicPr>
          <p:cNvPr id="3" name="Bilde 2" descr="Et bilde som inneholder tekst, nett&#10;&#10;Automatisk generert beskrivelse">
            <a:extLst>
              <a:ext uri="{FF2B5EF4-FFF2-40B4-BE49-F238E27FC236}">
                <a16:creationId xmlns:a16="http://schemas.microsoft.com/office/drawing/2014/main" id="{D3447D88-8907-4607-A2B4-498F25A9A7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3" name="Rubrik 1">
            <a:extLst>
              <a:ext uri="{FF2B5EF4-FFF2-40B4-BE49-F238E27FC236}">
                <a16:creationId xmlns:a16="http://schemas.microsoft.com/office/drawing/2014/main" id="{D6009B22-8BAF-4C08-8A0B-EF95DE057143}"/>
              </a:ext>
            </a:extLst>
          </p:cNvPr>
          <p:cNvSpPr>
            <a:spLocks noGrp="1"/>
          </p:cNvSpPr>
          <p:nvPr>
            <p:ph type="title" hasCustomPrompt="1"/>
          </p:nvPr>
        </p:nvSpPr>
        <p:spPr>
          <a:xfrm>
            <a:off x="3291437" y="2571750"/>
            <a:ext cx="5049441" cy="455830"/>
          </a:xfrm>
        </p:spPr>
        <p:txBody>
          <a:bodyPr lIns="0">
            <a:normAutofit/>
          </a:bodyPr>
          <a:lstStyle>
            <a:lvl1pPr>
              <a:defRPr sz="2400" b="1">
                <a:solidFill>
                  <a:schemeClr val="tx1"/>
                </a:solidFill>
              </a:defRPr>
            </a:lvl1pPr>
          </a:lstStyle>
          <a:p>
            <a:r>
              <a:rPr lang="nb-NO" noProof="0"/>
              <a:t>Kapittelside</a:t>
            </a:r>
          </a:p>
        </p:txBody>
      </p:sp>
    </p:spTree>
    <p:extLst>
      <p:ext uri="{BB962C8B-B14F-4D97-AF65-F5344CB8AC3E}">
        <p14:creationId xmlns:p14="http://schemas.microsoft.com/office/powerpoint/2010/main" val="377061139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Kapittelside med valgfritt bilde">
    <p:spTree>
      <p:nvGrpSpPr>
        <p:cNvPr id="1" name=""/>
        <p:cNvGrpSpPr/>
        <p:nvPr/>
      </p:nvGrpSpPr>
      <p:grpSpPr>
        <a:xfrm>
          <a:off x="0" y="0"/>
          <a:ext cx="0" cy="0"/>
          <a:chOff x="0" y="0"/>
          <a:chExt cx="0" cy="0"/>
        </a:xfrm>
      </p:grpSpPr>
      <p:sp>
        <p:nvSpPr>
          <p:cNvPr id="10" name="Plassholder for bilde 2">
            <a:extLst>
              <a:ext uri="{FF2B5EF4-FFF2-40B4-BE49-F238E27FC236}">
                <a16:creationId xmlns:a16="http://schemas.microsoft.com/office/drawing/2014/main" id="{97481B7B-588D-4D48-8760-5461A29A5869}"/>
              </a:ext>
            </a:extLst>
          </p:cNvPr>
          <p:cNvSpPr>
            <a:spLocks noGrp="1"/>
          </p:cNvSpPr>
          <p:nvPr>
            <p:ph type="pic" idx="1"/>
          </p:nvPr>
        </p:nvSpPr>
        <p:spPr>
          <a:xfrm>
            <a:off x="-7536" y="0"/>
            <a:ext cx="9151536" cy="5143500"/>
          </a:xfrm>
        </p:spPr>
        <p:txBody>
          <a:bodyPr>
            <a:normAutofit/>
          </a:bodyPr>
          <a:lstStyle>
            <a:lvl1pPr marL="0" indent="0" algn="ctr">
              <a:buNone/>
              <a:defRPr sz="675"/>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b-NO"/>
              <a:t>Klikk på ikonet for å legge til et bilde</a:t>
            </a:r>
          </a:p>
        </p:txBody>
      </p:sp>
      <p:sp>
        <p:nvSpPr>
          <p:cNvPr id="13" name="Rubrik 1">
            <a:extLst>
              <a:ext uri="{FF2B5EF4-FFF2-40B4-BE49-F238E27FC236}">
                <a16:creationId xmlns:a16="http://schemas.microsoft.com/office/drawing/2014/main" id="{D6009B22-8BAF-4C08-8A0B-EF95DE057143}"/>
              </a:ext>
            </a:extLst>
          </p:cNvPr>
          <p:cNvSpPr>
            <a:spLocks noGrp="1" noChangeAspect="1"/>
          </p:cNvSpPr>
          <p:nvPr>
            <p:ph type="title" hasCustomPrompt="1"/>
          </p:nvPr>
        </p:nvSpPr>
        <p:spPr>
          <a:xfrm>
            <a:off x="3277150" y="3079485"/>
            <a:ext cx="5049441" cy="455830"/>
          </a:xfrm>
        </p:spPr>
        <p:txBody>
          <a:bodyPr lIns="0">
            <a:normAutofit/>
          </a:bodyPr>
          <a:lstStyle>
            <a:lvl1pPr>
              <a:defRPr sz="2400" b="1">
                <a:solidFill>
                  <a:schemeClr val="tx1"/>
                </a:solidFill>
              </a:defRPr>
            </a:lvl1pPr>
          </a:lstStyle>
          <a:p>
            <a:r>
              <a:rPr lang="nb-NO" noProof="0"/>
              <a:t>Kapittelside</a:t>
            </a:r>
          </a:p>
        </p:txBody>
      </p:sp>
    </p:spTree>
    <p:extLst>
      <p:ext uri="{BB962C8B-B14F-4D97-AF65-F5344CB8AC3E}">
        <p14:creationId xmlns:p14="http://schemas.microsoft.com/office/powerpoint/2010/main" val="243619154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Kapittelside med tekst">
    <p:spTree>
      <p:nvGrpSpPr>
        <p:cNvPr id="1" name=""/>
        <p:cNvGrpSpPr/>
        <p:nvPr/>
      </p:nvGrpSpPr>
      <p:grpSpPr>
        <a:xfrm>
          <a:off x="0" y="0"/>
          <a:ext cx="0" cy="0"/>
          <a:chOff x="0" y="0"/>
          <a:chExt cx="0" cy="0"/>
        </a:xfrm>
      </p:grpSpPr>
      <p:pic>
        <p:nvPicPr>
          <p:cNvPr id="5" name="Bilde 4">
            <a:extLst>
              <a:ext uri="{FF2B5EF4-FFF2-40B4-BE49-F238E27FC236}">
                <a16:creationId xmlns:a16="http://schemas.microsoft.com/office/drawing/2014/main" id="{093EE271-6FA6-496E-966E-7D8B7806F19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4482846" cy="5143500"/>
          </a:xfrm>
          <a:prstGeom prst="rect">
            <a:avLst/>
          </a:prstGeom>
        </p:spPr>
      </p:pic>
      <p:sp>
        <p:nvSpPr>
          <p:cNvPr id="19" name="Plassholder for innhold 2">
            <a:extLst>
              <a:ext uri="{FF2B5EF4-FFF2-40B4-BE49-F238E27FC236}">
                <a16:creationId xmlns:a16="http://schemas.microsoft.com/office/drawing/2014/main" id="{68BA57AE-6028-467F-87F8-43077D1F90FF}"/>
              </a:ext>
            </a:extLst>
          </p:cNvPr>
          <p:cNvSpPr>
            <a:spLocks noGrp="1" noChangeAspect="1"/>
          </p:cNvSpPr>
          <p:nvPr>
            <p:ph sz="half" idx="15"/>
          </p:nvPr>
        </p:nvSpPr>
        <p:spPr>
          <a:xfrm>
            <a:off x="3277150" y="3579018"/>
            <a:ext cx="3895176" cy="1236172"/>
          </a:xfrm>
        </p:spPr>
        <p:txBody>
          <a:bodyPr lIns="0">
            <a:normAutofit/>
          </a:bodyPr>
          <a:lstStyle>
            <a:lvl1pPr marL="0" indent="0">
              <a:buClr>
                <a:schemeClr val="bg2"/>
              </a:buClr>
              <a:buSzPct val="130000"/>
              <a:buFontTx/>
              <a:buNone/>
              <a:defRPr sz="1350"/>
            </a:lvl1pPr>
            <a:lvl2pPr marL="0" indent="0">
              <a:buFont typeface="Calibri" panose="020F0502020204030204" pitchFamily="34" charset="0"/>
              <a:buNone/>
              <a:defRPr/>
            </a:lvl2pPr>
          </a:lstStyle>
          <a:p>
            <a:pPr lvl="0"/>
            <a:r>
              <a:rPr lang="nb-NO"/>
              <a:t>Klikk for å redigere tekststiler i malen</a:t>
            </a:r>
          </a:p>
        </p:txBody>
      </p:sp>
      <p:sp>
        <p:nvSpPr>
          <p:cNvPr id="13" name="Rubrik 1">
            <a:extLst>
              <a:ext uri="{FF2B5EF4-FFF2-40B4-BE49-F238E27FC236}">
                <a16:creationId xmlns:a16="http://schemas.microsoft.com/office/drawing/2014/main" id="{D6009B22-8BAF-4C08-8A0B-EF95DE057143}"/>
              </a:ext>
            </a:extLst>
          </p:cNvPr>
          <p:cNvSpPr>
            <a:spLocks noGrp="1" noChangeAspect="1"/>
          </p:cNvSpPr>
          <p:nvPr>
            <p:ph type="title" hasCustomPrompt="1"/>
          </p:nvPr>
        </p:nvSpPr>
        <p:spPr>
          <a:xfrm>
            <a:off x="3277150" y="3079485"/>
            <a:ext cx="5049441" cy="455830"/>
          </a:xfrm>
        </p:spPr>
        <p:txBody>
          <a:bodyPr lIns="0">
            <a:normAutofit/>
          </a:bodyPr>
          <a:lstStyle>
            <a:lvl1pPr>
              <a:defRPr sz="2400" b="1">
                <a:solidFill>
                  <a:schemeClr val="accent1"/>
                </a:solidFill>
              </a:defRPr>
            </a:lvl1pPr>
          </a:lstStyle>
          <a:p>
            <a:r>
              <a:rPr lang="nb-NO" noProof="0"/>
              <a:t>Kapittelside</a:t>
            </a:r>
          </a:p>
        </p:txBody>
      </p:sp>
      <p:sp>
        <p:nvSpPr>
          <p:cNvPr id="14" name="Text Placeholder 6">
            <a:extLst>
              <a:ext uri="{FF2B5EF4-FFF2-40B4-BE49-F238E27FC236}">
                <a16:creationId xmlns:a16="http://schemas.microsoft.com/office/drawing/2014/main" id="{2E0F30A5-CA50-49C5-9E3B-23EFE9FCD2A6}"/>
              </a:ext>
            </a:extLst>
          </p:cNvPr>
          <p:cNvSpPr>
            <a:spLocks noGrp="1" noChangeAspect="1"/>
          </p:cNvSpPr>
          <p:nvPr>
            <p:ph type="body" sz="quarter" idx="13" hasCustomPrompt="1"/>
          </p:nvPr>
        </p:nvSpPr>
        <p:spPr>
          <a:xfrm>
            <a:off x="3277150" y="2778265"/>
            <a:ext cx="5070872" cy="292894"/>
          </a:xfrm>
          <a:prstGeom prst="rect">
            <a:avLst/>
          </a:prstGeom>
        </p:spPr>
        <p:txBody>
          <a:bodyPr lIns="0" anchor="b">
            <a:noAutofit/>
          </a:bodyPr>
          <a:lstStyle>
            <a:lvl1pPr marL="0" indent="0">
              <a:spcBef>
                <a:spcPts val="0"/>
              </a:spcBef>
              <a:spcAft>
                <a:spcPts val="0"/>
              </a:spcAft>
              <a:buNone/>
              <a:defRPr sz="1350" b="1" i="0" cap="none" spc="45" baseline="0">
                <a:solidFill>
                  <a:schemeClr val="tx1"/>
                </a:solidFill>
              </a:defRPr>
            </a:lvl1pPr>
            <a:lvl5pPr>
              <a:defRPr>
                <a:solidFill>
                  <a:schemeClr val="bg1"/>
                </a:solidFill>
              </a:defRPr>
            </a:lvl5pPr>
          </a:lstStyle>
          <a:p>
            <a:pPr lvl="0"/>
            <a:r>
              <a:rPr lang="nb-NO" noProof="0"/>
              <a:t>Stikktittel</a:t>
            </a:r>
          </a:p>
        </p:txBody>
      </p:sp>
      <p:pic>
        <p:nvPicPr>
          <p:cNvPr id="16" name="Bilde 15" descr="Et bilde som inneholder tegning&#10;&#10;Automatisk generert beskrivelse">
            <a:extLst>
              <a:ext uri="{FF2B5EF4-FFF2-40B4-BE49-F238E27FC236}">
                <a16:creationId xmlns:a16="http://schemas.microsoft.com/office/drawing/2014/main" id="{B6A50FEE-309B-4D6F-8C56-81506FC4FC2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516591" y="6421"/>
            <a:ext cx="1620000" cy="653333"/>
          </a:xfrm>
          <a:prstGeom prst="rect">
            <a:avLst/>
          </a:prstGeom>
        </p:spPr>
      </p:pic>
      <p:sp>
        <p:nvSpPr>
          <p:cNvPr id="2" name="TekstSylinder 1">
            <a:extLst>
              <a:ext uri="{FF2B5EF4-FFF2-40B4-BE49-F238E27FC236}">
                <a16:creationId xmlns:a16="http://schemas.microsoft.com/office/drawing/2014/main" id="{A3FE5009-265C-4D22-837E-9A8B71002D15}"/>
              </a:ext>
            </a:extLst>
          </p:cNvPr>
          <p:cNvSpPr txBox="1"/>
          <p:nvPr userDrawn="1"/>
        </p:nvSpPr>
        <p:spPr>
          <a:xfrm>
            <a:off x="8246795" y="4828493"/>
            <a:ext cx="329277" cy="207749"/>
          </a:xfrm>
          <a:prstGeom prst="rect">
            <a:avLst/>
          </a:prstGeom>
          <a:noFill/>
        </p:spPr>
        <p:txBody>
          <a:bodyPr wrap="square" rIns="0" rtlCol="0">
            <a:spAutoFit/>
          </a:bodyPr>
          <a:lstStyle/>
          <a:p>
            <a:pPr algn="r"/>
            <a:fld id="{C25C054F-90E3-43D3-9F5F-0765C525DF5A}" type="slidenum">
              <a:rPr lang="nb-NO" sz="750" smtClean="0">
                <a:solidFill>
                  <a:schemeClr val="accent1"/>
                </a:solidFill>
              </a:rPr>
              <a:pPr algn="r"/>
              <a:t>‹#›</a:t>
            </a:fld>
            <a:endParaRPr lang="nb-NO" sz="750">
              <a:solidFill>
                <a:schemeClr val="accent1"/>
              </a:solidFill>
            </a:endParaRPr>
          </a:p>
        </p:txBody>
      </p:sp>
    </p:spTree>
    <p:extLst>
      <p:ext uri="{BB962C8B-B14F-4D97-AF65-F5344CB8AC3E}">
        <p14:creationId xmlns:p14="http://schemas.microsoft.com/office/powerpoint/2010/main" val="39301751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akside">
    <p:spTree>
      <p:nvGrpSpPr>
        <p:cNvPr id="1" name=""/>
        <p:cNvGrpSpPr/>
        <p:nvPr/>
      </p:nvGrpSpPr>
      <p:grpSpPr>
        <a:xfrm>
          <a:off x="0" y="0"/>
          <a:ext cx="0" cy="0"/>
          <a:chOff x="0" y="0"/>
          <a:chExt cx="0" cy="0"/>
        </a:xfrm>
      </p:grpSpPr>
      <p:pic>
        <p:nvPicPr>
          <p:cNvPr id="2" name="Bilde 1" descr="Et bilde som inneholder bord&#10;&#10;Automatisk generert beskrivelse">
            <a:extLst>
              <a:ext uri="{FF2B5EF4-FFF2-40B4-BE49-F238E27FC236}">
                <a16:creationId xmlns:a16="http://schemas.microsoft.com/office/drawing/2014/main" id="{C724B5B3-F23D-4706-9F6D-EA5BFA9B0FB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3" name="Rubrik 1">
            <a:extLst>
              <a:ext uri="{FF2B5EF4-FFF2-40B4-BE49-F238E27FC236}">
                <a16:creationId xmlns:a16="http://schemas.microsoft.com/office/drawing/2014/main" id="{D6009B22-8BAF-4C08-8A0B-EF95DE057143}"/>
              </a:ext>
            </a:extLst>
          </p:cNvPr>
          <p:cNvSpPr>
            <a:spLocks noGrp="1"/>
          </p:cNvSpPr>
          <p:nvPr>
            <p:ph type="title" hasCustomPrompt="1"/>
          </p:nvPr>
        </p:nvSpPr>
        <p:spPr>
          <a:xfrm>
            <a:off x="560955" y="2664695"/>
            <a:ext cx="4011046" cy="217124"/>
          </a:xfrm>
        </p:spPr>
        <p:txBody>
          <a:bodyPr lIns="0">
            <a:normAutofit/>
          </a:bodyPr>
          <a:lstStyle>
            <a:lvl1pPr>
              <a:defRPr sz="1200" b="1">
                <a:solidFill>
                  <a:schemeClr val="accent1"/>
                </a:solidFill>
              </a:defRPr>
            </a:lvl1pPr>
          </a:lstStyle>
          <a:p>
            <a:r>
              <a:rPr lang="nb-NO" noProof="0"/>
              <a:t>Navn på foredragsholder</a:t>
            </a:r>
          </a:p>
        </p:txBody>
      </p:sp>
      <p:sp>
        <p:nvSpPr>
          <p:cNvPr id="14" name="Text Placeholder 6">
            <a:extLst>
              <a:ext uri="{FF2B5EF4-FFF2-40B4-BE49-F238E27FC236}">
                <a16:creationId xmlns:a16="http://schemas.microsoft.com/office/drawing/2014/main" id="{2E0F30A5-CA50-49C5-9E3B-23EFE9FCD2A6}"/>
              </a:ext>
            </a:extLst>
          </p:cNvPr>
          <p:cNvSpPr>
            <a:spLocks noGrp="1"/>
          </p:cNvSpPr>
          <p:nvPr>
            <p:ph type="body" sz="quarter" idx="13" hasCustomPrompt="1"/>
          </p:nvPr>
        </p:nvSpPr>
        <p:spPr>
          <a:xfrm>
            <a:off x="1013241" y="3004555"/>
            <a:ext cx="5070872" cy="189000"/>
          </a:xfrm>
          <a:prstGeom prst="rect">
            <a:avLst/>
          </a:prstGeom>
        </p:spPr>
        <p:txBody>
          <a:bodyPr lIns="0" anchor="b">
            <a:noAutofit/>
          </a:bodyPr>
          <a:lstStyle>
            <a:lvl1pPr marL="0" indent="0">
              <a:spcBef>
                <a:spcPts val="0"/>
              </a:spcBef>
              <a:spcAft>
                <a:spcPts val="0"/>
              </a:spcAft>
              <a:buNone/>
              <a:defRPr sz="1050" b="0" i="0" cap="none" spc="45" baseline="0">
                <a:solidFill>
                  <a:schemeClr val="tx1"/>
                </a:solidFill>
              </a:defRPr>
            </a:lvl1pPr>
            <a:lvl5pPr>
              <a:defRPr>
                <a:solidFill>
                  <a:schemeClr val="bg1"/>
                </a:solidFill>
              </a:defRPr>
            </a:lvl5pPr>
          </a:lstStyle>
          <a:p>
            <a:pPr lvl="0"/>
            <a:r>
              <a:rPr lang="nb-NO" noProof="0"/>
              <a:t>Klikk og skriv e-postadresse</a:t>
            </a:r>
          </a:p>
        </p:txBody>
      </p:sp>
      <p:sp>
        <p:nvSpPr>
          <p:cNvPr id="11" name="Text Placeholder 6">
            <a:extLst>
              <a:ext uri="{FF2B5EF4-FFF2-40B4-BE49-F238E27FC236}">
                <a16:creationId xmlns:a16="http://schemas.microsoft.com/office/drawing/2014/main" id="{324A9692-3303-40D9-A120-7F4E0ABF8B41}"/>
              </a:ext>
            </a:extLst>
          </p:cNvPr>
          <p:cNvSpPr>
            <a:spLocks noGrp="1"/>
          </p:cNvSpPr>
          <p:nvPr>
            <p:ph type="body" sz="quarter" idx="16" hasCustomPrompt="1"/>
          </p:nvPr>
        </p:nvSpPr>
        <p:spPr>
          <a:xfrm>
            <a:off x="950232" y="3167266"/>
            <a:ext cx="2700000" cy="189000"/>
          </a:xfrm>
          <a:prstGeom prst="rect">
            <a:avLst/>
          </a:prstGeom>
        </p:spPr>
        <p:txBody>
          <a:bodyPr lIns="0" anchor="b">
            <a:noAutofit/>
          </a:bodyPr>
          <a:lstStyle>
            <a:lvl1pPr marL="0" indent="0">
              <a:spcBef>
                <a:spcPts val="0"/>
              </a:spcBef>
              <a:spcAft>
                <a:spcPts val="0"/>
              </a:spcAft>
              <a:buNone/>
              <a:defRPr sz="1050" b="0" i="0" cap="none" spc="45" baseline="0">
                <a:solidFill>
                  <a:schemeClr val="tx1"/>
                </a:solidFill>
              </a:defRPr>
            </a:lvl1pPr>
            <a:lvl5pPr>
              <a:defRPr>
                <a:solidFill>
                  <a:schemeClr val="bg1"/>
                </a:solidFill>
              </a:defRPr>
            </a:lvl5pPr>
          </a:lstStyle>
          <a:p>
            <a:pPr lvl="0"/>
            <a:r>
              <a:rPr lang="nb-NO" noProof="0"/>
              <a:t>Klikk og skriv inn </a:t>
            </a:r>
            <a:r>
              <a:rPr lang="nb-NO" noProof="0" err="1"/>
              <a:t>mobilnr</a:t>
            </a:r>
            <a:endParaRPr lang="nb-NO" noProof="0"/>
          </a:p>
        </p:txBody>
      </p:sp>
      <p:sp>
        <p:nvSpPr>
          <p:cNvPr id="6" name="TekstSylinder 5">
            <a:extLst>
              <a:ext uri="{FF2B5EF4-FFF2-40B4-BE49-F238E27FC236}">
                <a16:creationId xmlns:a16="http://schemas.microsoft.com/office/drawing/2014/main" id="{FA445143-565A-4B53-AE30-2D6764B17ADA}"/>
              </a:ext>
            </a:extLst>
          </p:cNvPr>
          <p:cNvSpPr txBox="1"/>
          <p:nvPr userDrawn="1"/>
        </p:nvSpPr>
        <p:spPr>
          <a:xfrm>
            <a:off x="488362" y="2969520"/>
            <a:ext cx="795236" cy="415498"/>
          </a:xfrm>
          <a:prstGeom prst="rect">
            <a:avLst/>
          </a:prstGeom>
          <a:noFill/>
        </p:spPr>
        <p:txBody>
          <a:bodyPr wrap="square" rtlCol="0">
            <a:spAutoFit/>
          </a:bodyPr>
          <a:lstStyle/>
          <a:p>
            <a:r>
              <a:rPr lang="nb-NO" sz="1050"/>
              <a:t>E-post: </a:t>
            </a:r>
            <a:br>
              <a:rPr lang="nb-NO" sz="1050"/>
            </a:br>
            <a:r>
              <a:rPr lang="nb-NO" sz="1050"/>
              <a:t>Mobil:</a:t>
            </a:r>
          </a:p>
        </p:txBody>
      </p:sp>
      <p:sp>
        <p:nvSpPr>
          <p:cNvPr id="8" name="TekstSylinder 7">
            <a:extLst>
              <a:ext uri="{FF2B5EF4-FFF2-40B4-BE49-F238E27FC236}">
                <a16:creationId xmlns:a16="http://schemas.microsoft.com/office/drawing/2014/main" id="{D59FC0CF-3BDD-47E7-A0B5-ED9837113FA6}"/>
              </a:ext>
            </a:extLst>
          </p:cNvPr>
          <p:cNvSpPr txBox="1"/>
          <p:nvPr userDrawn="1"/>
        </p:nvSpPr>
        <p:spPr>
          <a:xfrm>
            <a:off x="5994671" y="4281443"/>
            <a:ext cx="1242708" cy="784830"/>
          </a:xfrm>
          <a:prstGeom prst="rect">
            <a:avLst/>
          </a:prstGeom>
          <a:noFill/>
        </p:spPr>
        <p:txBody>
          <a:bodyPr wrap="square" rtlCol="0">
            <a:spAutoFit/>
          </a:bodyPr>
          <a:lstStyle/>
          <a:p>
            <a:r>
              <a:rPr lang="nb-NO" sz="750"/>
              <a:t>Bits AS</a:t>
            </a:r>
            <a:br>
              <a:rPr lang="nb-NO" sz="750"/>
            </a:br>
            <a:r>
              <a:rPr lang="nb-NO" sz="750"/>
              <a:t>Hansteens gate 2</a:t>
            </a:r>
            <a:br>
              <a:rPr lang="nb-NO" sz="750"/>
            </a:br>
            <a:r>
              <a:rPr lang="nb-NO" sz="750"/>
              <a:t>P.O. Box 2644</a:t>
            </a:r>
            <a:br>
              <a:rPr lang="nb-NO" sz="750"/>
            </a:br>
            <a:r>
              <a:rPr lang="nb-NO" sz="750"/>
              <a:t>N-0203 Oslo</a:t>
            </a:r>
            <a:br>
              <a:rPr lang="nb-NO" sz="750"/>
            </a:br>
            <a:br>
              <a:rPr lang="nb-NO" sz="750"/>
            </a:br>
            <a:r>
              <a:rPr lang="nb-NO" sz="750">
                <a:solidFill>
                  <a:schemeClr val="accent1"/>
                </a:solidFill>
              </a:rPr>
              <a:t>www.bits.no</a:t>
            </a:r>
          </a:p>
        </p:txBody>
      </p:sp>
    </p:spTree>
    <p:extLst>
      <p:ext uri="{BB962C8B-B14F-4D97-AF65-F5344CB8AC3E}">
        <p14:creationId xmlns:p14="http://schemas.microsoft.com/office/powerpoint/2010/main" val="363891427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2_Standard tekstside ">
    <p:bg>
      <p:bgPr>
        <a:solidFill>
          <a:schemeClr val="bg1"/>
        </a:solidFill>
        <a:effectLst/>
      </p:bgPr>
    </p:bg>
    <p:spTree>
      <p:nvGrpSpPr>
        <p:cNvPr id="1" name=""/>
        <p:cNvGrpSpPr/>
        <p:nvPr/>
      </p:nvGrpSpPr>
      <p:grpSpPr>
        <a:xfrm>
          <a:off x="0" y="0"/>
          <a:ext cx="0" cy="0"/>
          <a:chOff x="0" y="0"/>
          <a:chExt cx="0" cy="0"/>
        </a:xfrm>
      </p:grpSpPr>
      <p:sp>
        <p:nvSpPr>
          <p:cNvPr id="9" name="Rubrik 1">
            <a:extLst>
              <a:ext uri="{FF2B5EF4-FFF2-40B4-BE49-F238E27FC236}">
                <a16:creationId xmlns:a16="http://schemas.microsoft.com/office/drawing/2014/main" id="{9EAD31D6-5CD9-4976-BA75-1B3862EAE0E2}"/>
              </a:ext>
            </a:extLst>
          </p:cNvPr>
          <p:cNvSpPr>
            <a:spLocks noGrp="1"/>
          </p:cNvSpPr>
          <p:nvPr>
            <p:ph type="title" hasCustomPrompt="1"/>
          </p:nvPr>
        </p:nvSpPr>
        <p:spPr>
          <a:xfrm>
            <a:off x="567130" y="285067"/>
            <a:ext cx="7679666" cy="455830"/>
          </a:xfrm>
        </p:spPr>
        <p:txBody>
          <a:bodyPr lIns="0">
            <a:normAutofit/>
          </a:bodyPr>
          <a:lstStyle>
            <a:lvl1pPr>
              <a:defRPr sz="2100" b="0">
                <a:solidFill>
                  <a:schemeClr val="tx1"/>
                </a:solidFill>
              </a:defRPr>
            </a:lvl1pPr>
          </a:lstStyle>
          <a:p>
            <a:r>
              <a:rPr lang="nb-NO" noProof="0"/>
              <a:t>Overskrift</a:t>
            </a:r>
          </a:p>
        </p:txBody>
      </p:sp>
      <p:sp>
        <p:nvSpPr>
          <p:cNvPr id="2" name="TekstSylinder 1">
            <a:extLst>
              <a:ext uri="{FF2B5EF4-FFF2-40B4-BE49-F238E27FC236}">
                <a16:creationId xmlns:a16="http://schemas.microsoft.com/office/drawing/2014/main" id="{8320C936-5019-4C54-8555-6132AFE6B696}"/>
              </a:ext>
            </a:extLst>
          </p:cNvPr>
          <p:cNvSpPr txBox="1"/>
          <p:nvPr userDrawn="1"/>
        </p:nvSpPr>
        <p:spPr>
          <a:xfrm>
            <a:off x="8246795" y="4828493"/>
            <a:ext cx="329277" cy="207749"/>
          </a:xfrm>
          <a:prstGeom prst="rect">
            <a:avLst/>
          </a:prstGeom>
          <a:noFill/>
        </p:spPr>
        <p:txBody>
          <a:bodyPr wrap="square" rIns="0" rtlCol="0">
            <a:spAutoFit/>
          </a:bodyPr>
          <a:lstStyle/>
          <a:p>
            <a:pPr algn="r"/>
            <a:fld id="{C25C054F-90E3-43D3-9F5F-0765C525DF5A}" type="slidenum">
              <a:rPr lang="nb-NO" sz="750" smtClean="0">
                <a:solidFill>
                  <a:schemeClr val="accent2"/>
                </a:solidFill>
              </a:rPr>
              <a:pPr algn="r"/>
              <a:t>‹#›</a:t>
            </a:fld>
            <a:endParaRPr lang="nb-NO" sz="750">
              <a:solidFill>
                <a:schemeClr val="accent2"/>
              </a:solidFill>
            </a:endParaRPr>
          </a:p>
        </p:txBody>
      </p:sp>
      <p:sp>
        <p:nvSpPr>
          <p:cNvPr id="7" name="Plassholder for innhold 2">
            <a:extLst>
              <a:ext uri="{FF2B5EF4-FFF2-40B4-BE49-F238E27FC236}">
                <a16:creationId xmlns:a16="http://schemas.microsoft.com/office/drawing/2014/main" id="{76BCDE75-3C14-4707-AA4A-247E42E5348A}"/>
              </a:ext>
            </a:extLst>
          </p:cNvPr>
          <p:cNvSpPr>
            <a:spLocks noGrp="1"/>
          </p:cNvSpPr>
          <p:nvPr>
            <p:ph sz="half" idx="14"/>
          </p:nvPr>
        </p:nvSpPr>
        <p:spPr>
          <a:xfrm>
            <a:off x="567130" y="1067192"/>
            <a:ext cx="8008943" cy="3507027"/>
          </a:xfrm>
        </p:spPr>
        <p:txBody>
          <a:bodyPr lIns="0">
            <a:noAutofit/>
          </a:bodyPr>
          <a:lstStyle>
            <a:lvl1pPr marL="271463" indent="-271463">
              <a:buClr>
                <a:srgbClr val="3D9CDA"/>
              </a:buClr>
              <a:buSzPct val="130000"/>
              <a:buFont typeface="Arial" panose="020B0604020202020204" pitchFamily="34" charset="0"/>
              <a:buChar char="■"/>
              <a:defRPr sz="1500">
                <a:solidFill>
                  <a:schemeClr val="tx1"/>
                </a:solidFill>
              </a:defRPr>
            </a:lvl1pPr>
            <a:lvl2pPr marL="407194" indent="-135731">
              <a:buClr>
                <a:schemeClr val="tx1"/>
              </a:buClr>
              <a:buFont typeface="Calibri" panose="020F0502020204030204" pitchFamily="34" charset="0"/>
              <a:buChar char="−"/>
              <a:defRPr sz="1500">
                <a:solidFill>
                  <a:schemeClr val="tx1"/>
                </a:solidFill>
              </a:defRPr>
            </a:lvl2pPr>
            <a:lvl3pPr marL="534591" indent="-127397">
              <a:buClr>
                <a:schemeClr val="tx1"/>
              </a:buClr>
              <a:defRPr sz="1500">
                <a:solidFill>
                  <a:schemeClr val="tx1"/>
                </a:solidFill>
              </a:defRPr>
            </a:lvl3pPr>
            <a:lvl4pPr marL="670322" indent="-135731">
              <a:buClr>
                <a:schemeClr val="tx1"/>
              </a:buClr>
              <a:buFont typeface="Arial" panose="020B0604020202020204" pitchFamily="34" charset="0"/>
              <a:buChar char="▪"/>
              <a:defRPr sz="1500">
                <a:solidFill>
                  <a:schemeClr val="tx1"/>
                </a:solidFill>
              </a:defRPr>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pic>
        <p:nvPicPr>
          <p:cNvPr id="5" name="Plassholder for innhold 14" descr="Et bilde som inneholder Grafikk, skjermbilde, logo, Font&#10;&#10;KI-generert innhold kan være feil.">
            <a:extLst>
              <a:ext uri="{FF2B5EF4-FFF2-40B4-BE49-F238E27FC236}">
                <a16:creationId xmlns:a16="http://schemas.microsoft.com/office/drawing/2014/main" id="{1DA10AFE-4B25-FD19-B8D9-CB7E96EE83AA}"/>
              </a:ext>
            </a:extLst>
          </p:cNvPr>
          <p:cNvPicPr>
            <a:picLocks noChangeAspect="1"/>
          </p:cNvPicPr>
          <p:nvPr userDrawn="1"/>
        </p:nvPicPr>
        <p:blipFill>
          <a:blip r:embed="rId2">
            <a:extLst>
              <a:ext uri="{28A0092B-C50C-407E-A947-70E740481C1C}">
                <a14:useLocalDpi xmlns:a14="http://schemas.microsoft.com/office/drawing/2010/main" val="0"/>
              </a:ext>
            </a:extLst>
          </a:blip>
          <a:srcRect l="-414" t="-286" r="66790" b="286"/>
          <a:stretch/>
        </p:blipFill>
        <p:spPr>
          <a:xfrm>
            <a:off x="8391623" y="285066"/>
            <a:ext cx="368897" cy="455830"/>
          </a:xfrm>
          <a:prstGeom prst="rect">
            <a:avLst/>
          </a:prstGeom>
        </p:spPr>
      </p:pic>
      <p:sp>
        <p:nvSpPr>
          <p:cNvPr id="3" name="Text Placeholder 6">
            <a:extLst>
              <a:ext uri="{FF2B5EF4-FFF2-40B4-BE49-F238E27FC236}">
                <a16:creationId xmlns:a16="http://schemas.microsoft.com/office/drawing/2014/main" id="{E30C38BA-18D8-43A3-3A5B-0229B1ED4FBB}"/>
              </a:ext>
            </a:extLst>
          </p:cNvPr>
          <p:cNvSpPr>
            <a:spLocks noGrp="1" noChangeAspect="1"/>
          </p:cNvSpPr>
          <p:nvPr>
            <p:ph type="body" sz="quarter" idx="13" hasCustomPrompt="1"/>
          </p:nvPr>
        </p:nvSpPr>
        <p:spPr>
          <a:xfrm>
            <a:off x="574532" y="158841"/>
            <a:ext cx="4004871" cy="176036"/>
          </a:xfrm>
          <a:prstGeom prst="rect">
            <a:avLst/>
          </a:prstGeom>
        </p:spPr>
        <p:txBody>
          <a:bodyPr lIns="0" tIns="0" rIns="0" bIns="0" anchor="b">
            <a:noAutofit/>
          </a:bodyPr>
          <a:lstStyle>
            <a:lvl1pPr marL="0" indent="0">
              <a:spcBef>
                <a:spcPts val="0"/>
              </a:spcBef>
              <a:spcAft>
                <a:spcPts val="0"/>
              </a:spcAft>
              <a:buNone/>
              <a:defRPr sz="1200" b="0" i="0" cap="none" spc="45" baseline="0">
                <a:solidFill>
                  <a:schemeClr val="tx1"/>
                </a:solidFill>
              </a:defRPr>
            </a:lvl1pPr>
            <a:lvl5pPr>
              <a:defRPr>
                <a:solidFill>
                  <a:schemeClr val="bg1"/>
                </a:solidFill>
              </a:defRPr>
            </a:lvl5pPr>
          </a:lstStyle>
          <a:p>
            <a:pPr lvl="0"/>
            <a:r>
              <a:rPr lang="nb-NO" noProof="0"/>
              <a:t>Stikktittel</a:t>
            </a:r>
          </a:p>
        </p:txBody>
      </p:sp>
    </p:spTree>
    <p:extLst>
      <p:ext uri="{BB962C8B-B14F-4D97-AF65-F5344CB8AC3E}">
        <p14:creationId xmlns:p14="http://schemas.microsoft.com/office/powerpoint/2010/main" val="170608680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Logo Slide - Brudt hvid">
    <p:bg>
      <p:bgPr>
        <a:solidFill>
          <a:srgbClr val="F9F5F5"/>
        </a:solidFill>
        <a:effectLst/>
      </p:bgPr>
    </p:bg>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16224" y="2273136"/>
            <a:ext cx="2511552" cy="597226"/>
          </a:xfrm>
          <a:prstGeom prst="rect">
            <a:avLst/>
          </a:prstGeom>
        </p:spPr>
      </p:pic>
    </p:spTree>
    <p:extLst>
      <p:ext uri="{BB962C8B-B14F-4D97-AF65-F5344CB8AC3E}">
        <p14:creationId xmlns:p14="http://schemas.microsoft.com/office/powerpoint/2010/main" val="2282418112"/>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Logo Slide - Finansrød">
    <p:bg>
      <p:bgPr>
        <a:solidFill>
          <a:schemeClr val="accent1"/>
        </a:solidFill>
        <a:effectLst/>
      </p:bgPr>
    </p:bg>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16224" y="2273136"/>
            <a:ext cx="2511552" cy="597226"/>
          </a:xfrm>
          <a:prstGeom prst="rect">
            <a:avLst/>
          </a:prstGeom>
        </p:spPr>
      </p:pic>
    </p:spTree>
    <p:extLst>
      <p:ext uri="{BB962C8B-B14F-4D97-AF65-F5344CB8AC3E}">
        <p14:creationId xmlns:p14="http://schemas.microsoft.com/office/powerpoint/2010/main" val="4270363438"/>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type="title" preserve="1">
  <p:cSld name="Titel Slide - Finansrø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3639773"/>
            <a:ext cx="7772400" cy="425068"/>
          </a:xfrm>
        </p:spPr>
        <p:txBody>
          <a:bodyPr>
            <a:noAutofit/>
          </a:bodyPr>
          <a:lstStyle>
            <a:lvl1pPr>
              <a:defRPr sz="2400">
                <a:solidFill>
                  <a:schemeClr val="bg1"/>
                </a:solidFill>
              </a:defRPr>
            </a:lvl1pPr>
          </a:lstStyle>
          <a:p>
            <a:r>
              <a:rPr lang="en-US"/>
              <a:t>Click to edit Master title style</a:t>
            </a:r>
          </a:p>
        </p:txBody>
      </p:sp>
      <p:sp>
        <p:nvSpPr>
          <p:cNvPr id="3" name="Subtitle 2"/>
          <p:cNvSpPr>
            <a:spLocks noGrp="1"/>
          </p:cNvSpPr>
          <p:nvPr>
            <p:ph type="subTitle" idx="1"/>
          </p:nvPr>
        </p:nvSpPr>
        <p:spPr>
          <a:xfrm>
            <a:off x="685800" y="4071867"/>
            <a:ext cx="6400800" cy="379555"/>
          </a:xfrm>
        </p:spPr>
        <p:txBody>
          <a:bodyPr>
            <a:normAutofit/>
          </a:bodyPr>
          <a:lstStyle>
            <a:lvl1pPr marL="0" indent="0" algn="l">
              <a:buNone/>
              <a:defRPr sz="1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4" name="Billed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5799" y="2958546"/>
            <a:ext cx="1939069" cy="461094"/>
          </a:xfrm>
          <a:prstGeom prst="rect">
            <a:avLst/>
          </a:prstGeom>
        </p:spPr>
      </p:pic>
    </p:spTree>
    <p:extLst>
      <p:ext uri="{BB962C8B-B14F-4D97-AF65-F5344CB8AC3E}">
        <p14:creationId xmlns:p14="http://schemas.microsoft.com/office/powerpoint/2010/main" val="3402444581"/>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type="title" preserve="1">
  <p:cSld name="Titel Slide - Finansrød (u.logo)">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3639773"/>
            <a:ext cx="7772400" cy="425068"/>
          </a:xfrm>
        </p:spPr>
        <p:txBody>
          <a:bodyPr/>
          <a:lstStyle>
            <a:lvl1pPr>
              <a:defRPr>
                <a:solidFill>
                  <a:schemeClr val="bg1"/>
                </a:solidFill>
              </a:defRPr>
            </a:lvl1pPr>
          </a:lstStyle>
          <a:p>
            <a:r>
              <a:rPr lang="en-US"/>
              <a:t>Click to edit Master title style</a:t>
            </a:r>
          </a:p>
        </p:txBody>
      </p:sp>
      <p:sp>
        <p:nvSpPr>
          <p:cNvPr id="3" name="Subtitle 2"/>
          <p:cNvSpPr>
            <a:spLocks noGrp="1"/>
          </p:cNvSpPr>
          <p:nvPr>
            <p:ph type="subTitle" idx="1"/>
          </p:nvPr>
        </p:nvSpPr>
        <p:spPr>
          <a:xfrm>
            <a:off x="685800" y="4071867"/>
            <a:ext cx="6400800" cy="379555"/>
          </a:xfrm>
        </p:spPr>
        <p:txBody>
          <a:bodyPr>
            <a:normAutofit/>
          </a:bodyPr>
          <a:lstStyle>
            <a:lvl1pPr marL="0" indent="0" algn="l">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71620487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1 White">
    <p:spTree>
      <p:nvGrpSpPr>
        <p:cNvPr id="1" name=""/>
        <p:cNvGrpSpPr/>
        <p:nvPr/>
      </p:nvGrpSpPr>
      <p:grpSpPr>
        <a:xfrm>
          <a:off x="0" y="0"/>
          <a:ext cx="0" cy="0"/>
          <a:chOff x="0" y="0"/>
          <a:chExt cx="0" cy="0"/>
        </a:xfrm>
      </p:grpSpPr>
      <p:grpSp>
        <p:nvGrpSpPr>
          <p:cNvPr id="22" name="Grupp 21">
            <a:extLst>
              <a:ext uri="{FF2B5EF4-FFF2-40B4-BE49-F238E27FC236}">
                <a16:creationId xmlns:a16="http://schemas.microsoft.com/office/drawing/2014/main" id="{58A4F037-5372-4F50-AB2C-80E4F015FDE0}"/>
              </a:ext>
            </a:extLst>
          </p:cNvPr>
          <p:cNvGrpSpPr/>
          <p:nvPr userDrawn="1"/>
        </p:nvGrpSpPr>
        <p:grpSpPr>
          <a:xfrm>
            <a:off x="4099911" y="-1804130"/>
            <a:ext cx="8908892" cy="8714685"/>
            <a:chOff x="3589405" y="387640"/>
            <a:chExt cx="5873827" cy="5872463"/>
          </a:xfrm>
          <a:solidFill>
            <a:schemeClr val="tx1">
              <a:alpha val="10000"/>
            </a:schemeClr>
          </a:solidFill>
        </p:grpSpPr>
        <p:sp>
          <p:nvSpPr>
            <p:cNvPr id="23" name="Freeform 5">
              <a:extLst>
                <a:ext uri="{FF2B5EF4-FFF2-40B4-BE49-F238E27FC236}">
                  <a16:creationId xmlns:a16="http://schemas.microsoft.com/office/drawing/2014/main" id="{7C1D4E85-F2CE-4336-8CC8-25E235311297}"/>
                </a:ext>
              </a:extLst>
            </p:cNvPr>
            <p:cNvSpPr>
              <a:spLocks/>
            </p:cNvSpPr>
            <p:nvPr/>
          </p:nvSpPr>
          <p:spPr bwMode="auto">
            <a:xfrm>
              <a:off x="3871774" y="678194"/>
              <a:ext cx="1392749" cy="1400934"/>
            </a:xfrm>
            <a:custGeom>
              <a:avLst/>
              <a:gdLst>
                <a:gd name="T0" fmla="*/ 2096 w 2096"/>
                <a:gd name="T1" fmla="*/ 0 h 2108"/>
                <a:gd name="T2" fmla="*/ 877 w 2096"/>
                <a:gd name="T3" fmla="*/ 863 h 2108"/>
                <a:gd name="T4" fmla="*/ 0 w 2096"/>
                <a:gd name="T5" fmla="*/ 2108 h 2108"/>
                <a:gd name="T6" fmla="*/ 981 w 2096"/>
                <a:gd name="T7" fmla="*/ 948 h 2108"/>
                <a:gd name="T8" fmla="*/ 2096 w 2096"/>
                <a:gd name="T9" fmla="*/ 0 h 2108"/>
              </a:gdLst>
              <a:ahLst/>
              <a:cxnLst>
                <a:cxn ang="0">
                  <a:pos x="T0" y="T1"/>
                </a:cxn>
                <a:cxn ang="0">
                  <a:pos x="T2" y="T3"/>
                </a:cxn>
                <a:cxn ang="0">
                  <a:pos x="T4" y="T5"/>
                </a:cxn>
                <a:cxn ang="0">
                  <a:pos x="T6" y="T7"/>
                </a:cxn>
                <a:cxn ang="0">
                  <a:pos x="T8" y="T9"/>
                </a:cxn>
              </a:cxnLst>
              <a:rect l="0" t="0" r="r" b="b"/>
              <a:pathLst>
                <a:path w="2096" h="2108">
                  <a:moveTo>
                    <a:pt x="2096" y="0"/>
                  </a:moveTo>
                  <a:cubicBezTo>
                    <a:pt x="1655" y="211"/>
                    <a:pt x="1242" y="498"/>
                    <a:pt x="877" y="863"/>
                  </a:cubicBezTo>
                  <a:cubicBezTo>
                    <a:pt x="504" y="1235"/>
                    <a:pt x="213" y="1658"/>
                    <a:pt x="0" y="2108"/>
                  </a:cubicBezTo>
                  <a:cubicBezTo>
                    <a:pt x="254" y="1741"/>
                    <a:pt x="588" y="1343"/>
                    <a:pt x="981" y="948"/>
                  </a:cubicBezTo>
                  <a:cubicBezTo>
                    <a:pt x="1360" y="571"/>
                    <a:pt x="1741" y="249"/>
                    <a:pt x="209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4" name="Freeform 6">
              <a:extLst>
                <a:ext uri="{FF2B5EF4-FFF2-40B4-BE49-F238E27FC236}">
                  <a16:creationId xmlns:a16="http://schemas.microsoft.com/office/drawing/2014/main" id="{AAC8634F-3E34-4168-8D60-19B3A00C0D81}"/>
                </a:ext>
              </a:extLst>
            </p:cNvPr>
            <p:cNvSpPr>
              <a:spLocks/>
            </p:cNvSpPr>
            <p:nvPr/>
          </p:nvSpPr>
          <p:spPr bwMode="auto">
            <a:xfrm>
              <a:off x="3635784" y="435383"/>
              <a:ext cx="2381724" cy="2399457"/>
            </a:xfrm>
            <a:custGeom>
              <a:avLst/>
              <a:gdLst>
                <a:gd name="T0" fmla="*/ 446 w 3585"/>
                <a:gd name="T1" fmla="*/ 2866 h 3609"/>
                <a:gd name="T2" fmla="*/ 484 w 3585"/>
                <a:gd name="T3" fmla="*/ 2811 h 3609"/>
                <a:gd name="T4" fmla="*/ 1565 w 3585"/>
                <a:gd name="T5" fmla="*/ 1541 h 3609"/>
                <a:gd name="T6" fmla="*/ 2835 w 3585"/>
                <a:gd name="T7" fmla="*/ 460 h 3609"/>
                <a:gd name="T8" fmla="*/ 2891 w 3585"/>
                <a:gd name="T9" fmla="*/ 422 h 3609"/>
                <a:gd name="T10" fmla="*/ 2945 w 3585"/>
                <a:gd name="T11" fmla="*/ 385 h 3609"/>
                <a:gd name="T12" fmla="*/ 3585 w 3585"/>
                <a:gd name="T13" fmla="*/ 0 h 3609"/>
                <a:gd name="T14" fmla="*/ 3071 w 3585"/>
                <a:gd name="T15" fmla="*/ 123 h 3609"/>
                <a:gd name="T16" fmla="*/ 2863 w 3585"/>
                <a:gd name="T17" fmla="*/ 239 h 3609"/>
                <a:gd name="T18" fmla="*/ 2809 w 3585"/>
                <a:gd name="T19" fmla="*/ 272 h 3609"/>
                <a:gd name="T20" fmla="*/ 2752 w 3585"/>
                <a:gd name="T21" fmla="*/ 307 h 3609"/>
                <a:gd name="T22" fmla="*/ 1420 w 3585"/>
                <a:gd name="T23" fmla="*/ 1396 h 3609"/>
                <a:gd name="T24" fmla="*/ 331 w 3585"/>
                <a:gd name="T25" fmla="*/ 2728 h 3609"/>
                <a:gd name="T26" fmla="*/ 296 w 3585"/>
                <a:gd name="T27" fmla="*/ 2785 h 3609"/>
                <a:gd name="T28" fmla="*/ 263 w 3585"/>
                <a:gd name="T29" fmla="*/ 2839 h 3609"/>
                <a:gd name="T30" fmla="*/ 113 w 3585"/>
                <a:gd name="T31" fmla="*/ 3114 h 3609"/>
                <a:gd name="T32" fmla="*/ 0 w 3585"/>
                <a:gd name="T33" fmla="*/ 3609 h 3609"/>
                <a:gd name="T34" fmla="*/ 408 w 3585"/>
                <a:gd name="T35" fmla="*/ 2921 h 3609"/>
                <a:gd name="T36" fmla="*/ 446 w 3585"/>
                <a:gd name="T37" fmla="*/ 2866 h 3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85" h="3609">
                  <a:moveTo>
                    <a:pt x="446" y="2866"/>
                  </a:moveTo>
                  <a:cubicBezTo>
                    <a:pt x="459" y="2848"/>
                    <a:pt x="471" y="2830"/>
                    <a:pt x="484" y="2811"/>
                  </a:cubicBezTo>
                  <a:cubicBezTo>
                    <a:pt x="775" y="2399"/>
                    <a:pt x="1141" y="1966"/>
                    <a:pt x="1565" y="1541"/>
                  </a:cubicBezTo>
                  <a:cubicBezTo>
                    <a:pt x="1990" y="1117"/>
                    <a:pt x="2423" y="751"/>
                    <a:pt x="2835" y="460"/>
                  </a:cubicBezTo>
                  <a:cubicBezTo>
                    <a:pt x="2854" y="447"/>
                    <a:pt x="2872" y="435"/>
                    <a:pt x="2891" y="422"/>
                  </a:cubicBezTo>
                  <a:cubicBezTo>
                    <a:pt x="2909" y="409"/>
                    <a:pt x="2927" y="397"/>
                    <a:pt x="2945" y="385"/>
                  </a:cubicBezTo>
                  <a:cubicBezTo>
                    <a:pt x="3167" y="233"/>
                    <a:pt x="3382" y="104"/>
                    <a:pt x="3585" y="0"/>
                  </a:cubicBezTo>
                  <a:cubicBezTo>
                    <a:pt x="3412" y="31"/>
                    <a:pt x="3240" y="72"/>
                    <a:pt x="3071" y="123"/>
                  </a:cubicBezTo>
                  <a:cubicBezTo>
                    <a:pt x="3004" y="158"/>
                    <a:pt x="2935" y="196"/>
                    <a:pt x="2863" y="239"/>
                  </a:cubicBezTo>
                  <a:cubicBezTo>
                    <a:pt x="2845" y="249"/>
                    <a:pt x="2827" y="261"/>
                    <a:pt x="2809" y="272"/>
                  </a:cubicBezTo>
                  <a:cubicBezTo>
                    <a:pt x="2790" y="284"/>
                    <a:pt x="2771" y="294"/>
                    <a:pt x="2752" y="307"/>
                  </a:cubicBezTo>
                  <a:cubicBezTo>
                    <a:pt x="2343" y="565"/>
                    <a:pt x="1875" y="939"/>
                    <a:pt x="1420" y="1396"/>
                  </a:cubicBezTo>
                  <a:cubicBezTo>
                    <a:pt x="963" y="1851"/>
                    <a:pt x="589" y="2319"/>
                    <a:pt x="331" y="2728"/>
                  </a:cubicBezTo>
                  <a:cubicBezTo>
                    <a:pt x="318" y="2747"/>
                    <a:pt x="308" y="2766"/>
                    <a:pt x="296" y="2785"/>
                  </a:cubicBezTo>
                  <a:cubicBezTo>
                    <a:pt x="285" y="2803"/>
                    <a:pt x="273" y="2821"/>
                    <a:pt x="263" y="2839"/>
                  </a:cubicBezTo>
                  <a:cubicBezTo>
                    <a:pt x="205" y="2935"/>
                    <a:pt x="156" y="3027"/>
                    <a:pt x="113" y="3114"/>
                  </a:cubicBezTo>
                  <a:cubicBezTo>
                    <a:pt x="65" y="3277"/>
                    <a:pt x="28" y="3443"/>
                    <a:pt x="0" y="3609"/>
                  </a:cubicBezTo>
                  <a:cubicBezTo>
                    <a:pt x="107" y="3392"/>
                    <a:pt x="245" y="3161"/>
                    <a:pt x="408" y="2921"/>
                  </a:cubicBezTo>
                  <a:cubicBezTo>
                    <a:pt x="421" y="2903"/>
                    <a:pt x="433" y="2885"/>
                    <a:pt x="446" y="28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5" name="Freeform 7">
              <a:extLst>
                <a:ext uri="{FF2B5EF4-FFF2-40B4-BE49-F238E27FC236}">
                  <a16:creationId xmlns:a16="http://schemas.microsoft.com/office/drawing/2014/main" id="{1044E1AF-5D57-4C57-A718-661729CA160C}"/>
                </a:ext>
              </a:extLst>
            </p:cNvPr>
            <p:cNvSpPr>
              <a:spLocks/>
            </p:cNvSpPr>
            <p:nvPr/>
          </p:nvSpPr>
          <p:spPr bwMode="auto">
            <a:xfrm>
              <a:off x="3589405" y="387640"/>
              <a:ext cx="3051498" cy="3077416"/>
            </a:xfrm>
            <a:custGeom>
              <a:avLst/>
              <a:gdLst>
                <a:gd name="T0" fmla="*/ 267 w 4592"/>
                <a:gd name="T1" fmla="*/ 4024 h 4629"/>
                <a:gd name="T2" fmla="*/ 1026 w 4592"/>
                <a:gd name="T3" fmla="*/ 2858 h 4629"/>
                <a:gd name="T4" fmla="*/ 1121 w 4592"/>
                <a:gd name="T5" fmla="*/ 2738 h 4629"/>
                <a:gd name="T6" fmla="*/ 1236 w 4592"/>
                <a:gd name="T7" fmla="*/ 2597 h 4629"/>
                <a:gd name="T8" fmla="*/ 1896 w 4592"/>
                <a:gd name="T9" fmla="*/ 1875 h 4629"/>
                <a:gd name="T10" fmla="*/ 2618 w 4592"/>
                <a:gd name="T11" fmla="*/ 1215 h 4629"/>
                <a:gd name="T12" fmla="*/ 2759 w 4592"/>
                <a:gd name="T13" fmla="*/ 1101 h 4629"/>
                <a:gd name="T14" fmla="*/ 2878 w 4592"/>
                <a:gd name="T15" fmla="*/ 1006 h 4629"/>
                <a:gd name="T16" fmla="*/ 4045 w 4592"/>
                <a:gd name="T17" fmla="*/ 246 h 4629"/>
                <a:gd name="T18" fmla="*/ 4104 w 4592"/>
                <a:gd name="T19" fmla="*/ 217 h 4629"/>
                <a:gd name="T20" fmla="*/ 4159 w 4592"/>
                <a:gd name="T21" fmla="*/ 189 h 4629"/>
                <a:gd name="T22" fmla="*/ 4592 w 4592"/>
                <a:gd name="T23" fmla="*/ 6 h 4629"/>
                <a:gd name="T24" fmla="*/ 4098 w 4592"/>
                <a:gd name="T25" fmla="*/ 16 h 4629"/>
                <a:gd name="T26" fmla="*/ 4059 w 4592"/>
                <a:gd name="T27" fmla="*/ 19 h 4629"/>
                <a:gd name="T28" fmla="*/ 4034 w 4592"/>
                <a:gd name="T29" fmla="*/ 29 h 4629"/>
                <a:gd name="T30" fmla="*/ 3987 w 4592"/>
                <a:gd name="T31" fmla="*/ 49 h 4629"/>
                <a:gd name="T32" fmla="*/ 3976 w 4592"/>
                <a:gd name="T33" fmla="*/ 53 h 4629"/>
                <a:gd name="T34" fmla="*/ 3018 w 4592"/>
                <a:gd name="T35" fmla="*/ 598 h 4629"/>
                <a:gd name="T36" fmla="*/ 2950 w 4592"/>
                <a:gd name="T37" fmla="*/ 644 h 4629"/>
                <a:gd name="T38" fmla="*/ 2877 w 4592"/>
                <a:gd name="T39" fmla="*/ 698 h 4629"/>
                <a:gd name="T40" fmla="*/ 1717 w 4592"/>
                <a:gd name="T41" fmla="*/ 1696 h 4629"/>
                <a:gd name="T42" fmla="*/ 718 w 4592"/>
                <a:gd name="T43" fmla="*/ 2856 h 4629"/>
                <a:gd name="T44" fmla="*/ 665 w 4592"/>
                <a:gd name="T45" fmla="*/ 2929 h 4629"/>
                <a:gd name="T46" fmla="*/ 618 w 4592"/>
                <a:gd name="T47" fmla="*/ 2997 h 4629"/>
                <a:gd name="T48" fmla="*/ 74 w 4592"/>
                <a:gd name="T49" fmla="*/ 3955 h 4629"/>
                <a:gd name="T50" fmla="*/ 50 w 4592"/>
                <a:gd name="T51" fmla="*/ 4013 h 4629"/>
                <a:gd name="T52" fmla="*/ 28 w 4592"/>
                <a:gd name="T53" fmla="*/ 4070 h 4629"/>
                <a:gd name="T54" fmla="*/ 17 w 4592"/>
                <a:gd name="T55" fmla="*/ 4101 h 4629"/>
                <a:gd name="T56" fmla="*/ 8 w 4592"/>
                <a:gd name="T57" fmla="*/ 4629 h 4629"/>
                <a:gd name="T58" fmla="*/ 210 w 4592"/>
                <a:gd name="T59" fmla="*/ 4138 h 4629"/>
                <a:gd name="T60" fmla="*/ 238 w 4592"/>
                <a:gd name="T61" fmla="*/ 4083 h 4629"/>
                <a:gd name="T62" fmla="*/ 267 w 4592"/>
                <a:gd name="T63" fmla="*/ 4024 h 4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92" h="4629">
                  <a:moveTo>
                    <a:pt x="267" y="4024"/>
                  </a:moveTo>
                  <a:cubicBezTo>
                    <a:pt x="457" y="3655"/>
                    <a:pt x="713" y="3259"/>
                    <a:pt x="1026" y="2858"/>
                  </a:cubicBezTo>
                  <a:cubicBezTo>
                    <a:pt x="1057" y="2818"/>
                    <a:pt x="1089" y="2778"/>
                    <a:pt x="1121" y="2738"/>
                  </a:cubicBezTo>
                  <a:cubicBezTo>
                    <a:pt x="1159" y="2691"/>
                    <a:pt x="1197" y="2644"/>
                    <a:pt x="1236" y="2597"/>
                  </a:cubicBezTo>
                  <a:cubicBezTo>
                    <a:pt x="1437" y="2356"/>
                    <a:pt x="1658" y="2114"/>
                    <a:pt x="1896" y="1875"/>
                  </a:cubicBezTo>
                  <a:cubicBezTo>
                    <a:pt x="2134" y="1637"/>
                    <a:pt x="2376" y="1417"/>
                    <a:pt x="2618" y="1215"/>
                  </a:cubicBezTo>
                  <a:cubicBezTo>
                    <a:pt x="2665" y="1176"/>
                    <a:pt x="2712" y="1138"/>
                    <a:pt x="2759" y="1101"/>
                  </a:cubicBezTo>
                  <a:cubicBezTo>
                    <a:pt x="2799" y="1068"/>
                    <a:pt x="2839" y="1037"/>
                    <a:pt x="2878" y="1006"/>
                  </a:cubicBezTo>
                  <a:cubicBezTo>
                    <a:pt x="3280" y="693"/>
                    <a:pt x="3675" y="437"/>
                    <a:pt x="4045" y="246"/>
                  </a:cubicBezTo>
                  <a:cubicBezTo>
                    <a:pt x="4065" y="236"/>
                    <a:pt x="4084" y="226"/>
                    <a:pt x="4104" y="217"/>
                  </a:cubicBezTo>
                  <a:cubicBezTo>
                    <a:pt x="4122" y="208"/>
                    <a:pt x="4141" y="198"/>
                    <a:pt x="4159" y="189"/>
                  </a:cubicBezTo>
                  <a:cubicBezTo>
                    <a:pt x="4309" y="116"/>
                    <a:pt x="4453" y="55"/>
                    <a:pt x="4592" y="6"/>
                  </a:cubicBezTo>
                  <a:cubicBezTo>
                    <a:pt x="4427" y="0"/>
                    <a:pt x="4262" y="3"/>
                    <a:pt x="4098" y="16"/>
                  </a:cubicBezTo>
                  <a:cubicBezTo>
                    <a:pt x="4085" y="17"/>
                    <a:pt x="4072" y="18"/>
                    <a:pt x="4059" y="19"/>
                  </a:cubicBezTo>
                  <a:cubicBezTo>
                    <a:pt x="4051" y="22"/>
                    <a:pt x="4043" y="26"/>
                    <a:pt x="4034" y="29"/>
                  </a:cubicBezTo>
                  <a:cubicBezTo>
                    <a:pt x="4019" y="35"/>
                    <a:pt x="4003" y="42"/>
                    <a:pt x="3987" y="49"/>
                  </a:cubicBezTo>
                  <a:cubicBezTo>
                    <a:pt x="3983" y="50"/>
                    <a:pt x="3980" y="51"/>
                    <a:pt x="3976" y="53"/>
                  </a:cubicBezTo>
                  <a:cubicBezTo>
                    <a:pt x="3689" y="174"/>
                    <a:pt x="3362" y="358"/>
                    <a:pt x="3018" y="598"/>
                  </a:cubicBezTo>
                  <a:cubicBezTo>
                    <a:pt x="2995" y="613"/>
                    <a:pt x="2973" y="628"/>
                    <a:pt x="2950" y="644"/>
                  </a:cubicBezTo>
                  <a:cubicBezTo>
                    <a:pt x="2926" y="661"/>
                    <a:pt x="2902" y="680"/>
                    <a:pt x="2877" y="698"/>
                  </a:cubicBezTo>
                  <a:cubicBezTo>
                    <a:pt x="2499" y="973"/>
                    <a:pt x="2103" y="1309"/>
                    <a:pt x="1717" y="1696"/>
                  </a:cubicBezTo>
                  <a:cubicBezTo>
                    <a:pt x="1330" y="2082"/>
                    <a:pt x="994" y="2478"/>
                    <a:pt x="718" y="2856"/>
                  </a:cubicBezTo>
                  <a:cubicBezTo>
                    <a:pt x="701" y="2881"/>
                    <a:pt x="682" y="2905"/>
                    <a:pt x="665" y="2929"/>
                  </a:cubicBezTo>
                  <a:cubicBezTo>
                    <a:pt x="649" y="2952"/>
                    <a:pt x="634" y="2974"/>
                    <a:pt x="618" y="2997"/>
                  </a:cubicBezTo>
                  <a:cubicBezTo>
                    <a:pt x="379" y="3341"/>
                    <a:pt x="195" y="3668"/>
                    <a:pt x="74" y="3955"/>
                  </a:cubicBezTo>
                  <a:cubicBezTo>
                    <a:pt x="66" y="3975"/>
                    <a:pt x="57" y="3994"/>
                    <a:pt x="50" y="4013"/>
                  </a:cubicBezTo>
                  <a:cubicBezTo>
                    <a:pt x="42" y="4032"/>
                    <a:pt x="35" y="4051"/>
                    <a:pt x="28" y="4070"/>
                  </a:cubicBezTo>
                  <a:cubicBezTo>
                    <a:pt x="24" y="4080"/>
                    <a:pt x="21" y="4090"/>
                    <a:pt x="17" y="4101"/>
                  </a:cubicBezTo>
                  <a:cubicBezTo>
                    <a:pt x="4" y="4276"/>
                    <a:pt x="0" y="4452"/>
                    <a:pt x="8" y="4629"/>
                  </a:cubicBezTo>
                  <a:cubicBezTo>
                    <a:pt x="60" y="4472"/>
                    <a:pt x="127" y="4309"/>
                    <a:pt x="210" y="4138"/>
                  </a:cubicBezTo>
                  <a:cubicBezTo>
                    <a:pt x="219" y="4120"/>
                    <a:pt x="228" y="4101"/>
                    <a:pt x="238" y="4083"/>
                  </a:cubicBezTo>
                  <a:cubicBezTo>
                    <a:pt x="247" y="4063"/>
                    <a:pt x="257" y="4044"/>
                    <a:pt x="267" y="40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6" name="Freeform 8">
              <a:extLst>
                <a:ext uri="{FF2B5EF4-FFF2-40B4-BE49-F238E27FC236}">
                  <a16:creationId xmlns:a16="http://schemas.microsoft.com/office/drawing/2014/main" id="{3377C1A4-0564-4448-BF92-C18ABDBCE824}"/>
                </a:ext>
              </a:extLst>
            </p:cNvPr>
            <p:cNvSpPr>
              <a:spLocks/>
            </p:cNvSpPr>
            <p:nvPr/>
          </p:nvSpPr>
          <p:spPr bwMode="auto">
            <a:xfrm>
              <a:off x="3736728" y="524050"/>
              <a:ext cx="4067755" cy="4096401"/>
            </a:xfrm>
            <a:custGeom>
              <a:avLst/>
              <a:gdLst>
                <a:gd name="T0" fmla="*/ 711 w 6120"/>
                <a:gd name="T1" fmla="*/ 4802 h 6162"/>
                <a:gd name="T2" fmla="*/ 755 w 6120"/>
                <a:gd name="T3" fmla="*/ 4721 h 6162"/>
                <a:gd name="T4" fmla="*/ 2492 w 6120"/>
                <a:gd name="T5" fmla="*/ 2487 h 6162"/>
                <a:gd name="T6" fmla="*/ 4726 w 6120"/>
                <a:gd name="T7" fmla="*/ 750 h 6162"/>
                <a:gd name="T8" fmla="*/ 4807 w 6120"/>
                <a:gd name="T9" fmla="*/ 706 h 6162"/>
                <a:gd name="T10" fmla="*/ 4883 w 6120"/>
                <a:gd name="T11" fmla="*/ 666 h 6162"/>
                <a:gd name="T12" fmla="*/ 5747 w 6120"/>
                <a:gd name="T13" fmla="*/ 308 h 6162"/>
                <a:gd name="T14" fmla="*/ 5804 w 6120"/>
                <a:gd name="T15" fmla="*/ 292 h 6162"/>
                <a:gd name="T16" fmla="*/ 5862 w 6120"/>
                <a:gd name="T17" fmla="*/ 276 h 6162"/>
                <a:gd name="T18" fmla="*/ 6120 w 6120"/>
                <a:gd name="T19" fmla="*/ 226 h 6162"/>
                <a:gd name="T20" fmla="*/ 5817 w 6120"/>
                <a:gd name="T21" fmla="*/ 96 h 6162"/>
                <a:gd name="T22" fmla="*/ 5740 w 6120"/>
                <a:gd name="T23" fmla="*/ 67 h 6162"/>
                <a:gd name="T24" fmla="*/ 5659 w 6120"/>
                <a:gd name="T25" fmla="*/ 37 h 6162"/>
                <a:gd name="T26" fmla="*/ 5541 w 6120"/>
                <a:gd name="T27" fmla="*/ 0 h 6162"/>
                <a:gd name="T28" fmla="*/ 4988 w 6120"/>
                <a:gd name="T29" fmla="*/ 131 h 6162"/>
                <a:gd name="T30" fmla="*/ 4928 w 6120"/>
                <a:gd name="T31" fmla="*/ 153 h 6162"/>
                <a:gd name="T32" fmla="*/ 4868 w 6120"/>
                <a:gd name="T33" fmla="*/ 175 h 6162"/>
                <a:gd name="T34" fmla="*/ 3700 w 6120"/>
                <a:gd name="T35" fmla="*/ 791 h 6162"/>
                <a:gd name="T36" fmla="*/ 3593 w 6120"/>
                <a:gd name="T37" fmla="*/ 862 h 6162"/>
                <a:gd name="T38" fmla="*/ 3473 w 6120"/>
                <a:gd name="T39" fmla="*/ 946 h 6162"/>
                <a:gd name="T40" fmla="*/ 2108 w 6120"/>
                <a:gd name="T41" fmla="*/ 2103 h 6162"/>
                <a:gd name="T42" fmla="*/ 951 w 6120"/>
                <a:gd name="T43" fmla="*/ 3469 h 6162"/>
                <a:gd name="T44" fmla="*/ 866 w 6120"/>
                <a:gd name="T45" fmla="*/ 3588 h 6162"/>
                <a:gd name="T46" fmla="*/ 796 w 6120"/>
                <a:gd name="T47" fmla="*/ 3695 h 6162"/>
                <a:gd name="T48" fmla="*/ 180 w 6120"/>
                <a:gd name="T49" fmla="*/ 4863 h 6162"/>
                <a:gd name="T50" fmla="*/ 157 w 6120"/>
                <a:gd name="T51" fmla="*/ 4924 h 6162"/>
                <a:gd name="T52" fmla="*/ 136 w 6120"/>
                <a:gd name="T53" fmla="*/ 4983 h 6162"/>
                <a:gd name="T54" fmla="*/ 0 w 6120"/>
                <a:gd name="T55" fmla="*/ 5601 h 6162"/>
                <a:gd name="T56" fmla="*/ 9 w 6120"/>
                <a:gd name="T57" fmla="*/ 5631 h 6162"/>
                <a:gd name="T58" fmla="*/ 39 w 6120"/>
                <a:gd name="T59" fmla="*/ 5719 h 6162"/>
                <a:gd name="T60" fmla="*/ 69 w 6120"/>
                <a:gd name="T61" fmla="*/ 5799 h 6162"/>
                <a:gd name="T62" fmla="*/ 225 w 6120"/>
                <a:gd name="T63" fmla="*/ 6162 h 6162"/>
                <a:gd name="T64" fmla="*/ 282 w 6120"/>
                <a:gd name="T65" fmla="*/ 5857 h 6162"/>
                <a:gd name="T66" fmla="*/ 297 w 6120"/>
                <a:gd name="T67" fmla="*/ 5799 h 6162"/>
                <a:gd name="T68" fmla="*/ 313 w 6120"/>
                <a:gd name="T69" fmla="*/ 5742 h 6162"/>
                <a:gd name="T70" fmla="*/ 671 w 6120"/>
                <a:gd name="T71" fmla="*/ 4877 h 6162"/>
                <a:gd name="T72" fmla="*/ 711 w 6120"/>
                <a:gd name="T73" fmla="*/ 4802 h 6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20" h="6162">
                  <a:moveTo>
                    <a:pt x="711" y="4802"/>
                  </a:moveTo>
                  <a:cubicBezTo>
                    <a:pt x="726" y="4775"/>
                    <a:pt x="740" y="4748"/>
                    <a:pt x="755" y="4721"/>
                  </a:cubicBezTo>
                  <a:cubicBezTo>
                    <a:pt x="1151" y="4012"/>
                    <a:pt x="1746" y="3234"/>
                    <a:pt x="2492" y="2487"/>
                  </a:cubicBezTo>
                  <a:cubicBezTo>
                    <a:pt x="3239" y="1741"/>
                    <a:pt x="4017" y="1146"/>
                    <a:pt x="4726" y="750"/>
                  </a:cubicBezTo>
                  <a:cubicBezTo>
                    <a:pt x="4753" y="735"/>
                    <a:pt x="4780" y="721"/>
                    <a:pt x="4807" y="706"/>
                  </a:cubicBezTo>
                  <a:cubicBezTo>
                    <a:pt x="4832" y="693"/>
                    <a:pt x="4857" y="679"/>
                    <a:pt x="4883" y="666"/>
                  </a:cubicBezTo>
                  <a:cubicBezTo>
                    <a:pt x="5189" y="506"/>
                    <a:pt x="5480" y="385"/>
                    <a:pt x="5747" y="308"/>
                  </a:cubicBezTo>
                  <a:cubicBezTo>
                    <a:pt x="5766" y="302"/>
                    <a:pt x="5785" y="297"/>
                    <a:pt x="5804" y="292"/>
                  </a:cubicBezTo>
                  <a:cubicBezTo>
                    <a:pt x="5824" y="286"/>
                    <a:pt x="5843" y="281"/>
                    <a:pt x="5862" y="276"/>
                  </a:cubicBezTo>
                  <a:cubicBezTo>
                    <a:pt x="5951" y="254"/>
                    <a:pt x="6037" y="238"/>
                    <a:pt x="6120" y="226"/>
                  </a:cubicBezTo>
                  <a:cubicBezTo>
                    <a:pt x="6020" y="179"/>
                    <a:pt x="5919" y="136"/>
                    <a:pt x="5817" y="96"/>
                  </a:cubicBezTo>
                  <a:cubicBezTo>
                    <a:pt x="5791" y="86"/>
                    <a:pt x="5766" y="76"/>
                    <a:pt x="5740" y="67"/>
                  </a:cubicBezTo>
                  <a:cubicBezTo>
                    <a:pt x="5713" y="57"/>
                    <a:pt x="5686" y="47"/>
                    <a:pt x="5659" y="37"/>
                  </a:cubicBezTo>
                  <a:cubicBezTo>
                    <a:pt x="5620" y="24"/>
                    <a:pt x="5580" y="12"/>
                    <a:pt x="5541" y="0"/>
                  </a:cubicBezTo>
                  <a:cubicBezTo>
                    <a:pt x="5373" y="19"/>
                    <a:pt x="5187" y="62"/>
                    <a:pt x="4988" y="131"/>
                  </a:cubicBezTo>
                  <a:cubicBezTo>
                    <a:pt x="4969" y="137"/>
                    <a:pt x="4948" y="145"/>
                    <a:pt x="4928" y="153"/>
                  </a:cubicBezTo>
                  <a:cubicBezTo>
                    <a:pt x="4909" y="160"/>
                    <a:pt x="4888" y="168"/>
                    <a:pt x="4868" y="175"/>
                  </a:cubicBezTo>
                  <a:cubicBezTo>
                    <a:pt x="4509" y="311"/>
                    <a:pt x="4113" y="520"/>
                    <a:pt x="3700" y="791"/>
                  </a:cubicBezTo>
                  <a:cubicBezTo>
                    <a:pt x="3665" y="815"/>
                    <a:pt x="3629" y="837"/>
                    <a:pt x="3593" y="862"/>
                  </a:cubicBezTo>
                  <a:cubicBezTo>
                    <a:pt x="3554" y="889"/>
                    <a:pt x="3513" y="918"/>
                    <a:pt x="3473" y="946"/>
                  </a:cubicBezTo>
                  <a:cubicBezTo>
                    <a:pt x="3022" y="1264"/>
                    <a:pt x="2557" y="1653"/>
                    <a:pt x="2108" y="2103"/>
                  </a:cubicBezTo>
                  <a:cubicBezTo>
                    <a:pt x="1657" y="2553"/>
                    <a:pt x="1269" y="3017"/>
                    <a:pt x="951" y="3469"/>
                  </a:cubicBezTo>
                  <a:cubicBezTo>
                    <a:pt x="922" y="3509"/>
                    <a:pt x="893" y="3549"/>
                    <a:pt x="866" y="3588"/>
                  </a:cubicBezTo>
                  <a:cubicBezTo>
                    <a:pt x="842" y="3624"/>
                    <a:pt x="819" y="3660"/>
                    <a:pt x="796" y="3695"/>
                  </a:cubicBezTo>
                  <a:cubicBezTo>
                    <a:pt x="525" y="4108"/>
                    <a:pt x="316" y="4504"/>
                    <a:pt x="180" y="4863"/>
                  </a:cubicBezTo>
                  <a:cubicBezTo>
                    <a:pt x="173" y="4883"/>
                    <a:pt x="165" y="4904"/>
                    <a:pt x="157" y="4924"/>
                  </a:cubicBezTo>
                  <a:cubicBezTo>
                    <a:pt x="150" y="4943"/>
                    <a:pt x="142" y="4964"/>
                    <a:pt x="136" y="4983"/>
                  </a:cubicBezTo>
                  <a:cubicBezTo>
                    <a:pt x="58" y="5209"/>
                    <a:pt x="13" y="5416"/>
                    <a:pt x="0" y="5601"/>
                  </a:cubicBezTo>
                  <a:cubicBezTo>
                    <a:pt x="3" y="5611"/>
                    <a:pt x="6" y="5621"/>
                    <a:pt x="9" y="5631"/>
                  </a:cubicBezTo>
                  <a:cubicBezTo>
                    <a:pt x="19" y="5660"/>
                    <a:pt x="29" y="5690"/>
                    <a:pt x="39" y="5719"/>
                  </a:cubicBezTo>
                  <a:cubicBezTo>
                    <a:pt x="49" y="5746"/>
                    <a:pt x="59" y="5772"/>
                    <a:pt x="69" y="5799"/>
                  </a:cubicBezTo>
                  <a:cubicBezTo>
                    <a:pt x="116" y="5922"/>
                    <a:pt x="168" y="6043"/>
                    <a:pt x="225" y="6162"/>
                  </a:cubicBezTo>
                  <a:cubicBezTo>
                    <a:pt x="236" y="6065"/>
                    <a:pt x="255" y="5963"/>
                    <a:pt x="282" y="5857"/>
                  </a:cubicBezTo>
                  <a:cubicBezTo>
                    <a:pt x="286" y="5838"/>
                    <a:pt x="291" y="5819"/>
                    <a:pt x="297" y="5799"/>
                  </a:cubicBezTo>
                  <a:cubicBezTo>
                    <a:pt x="302" y="5780"/>
                    <a:pt x="307" y="5761"/>
                    <a:pt x="313" y="5742"/>
                  </a:cubicBezTo>
                  <a:cubicBezTo>
                    <a:pt x="390" y="5475"/>
                    <a:pt x="511" y="5184"/>
                    <a:pt x="671" y="4877"/>
                  </a:cubicBezTo>
                  <a:cubicBezTo>
                    <a:pt x="684" y="4852"/>
                    <a:pt x="698" y="4827"/>
                    <a:pt x="711" y="48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7" name="Freeform 9">
              <a:extLst>
                <a:ext uri="{FF2B5EF4-FFF2-40B4-BE49-F238E27FC236}">
                  <a16:creationId xmlns:a16="http://schemas.microsoft.com/office/drawing/2014/main" id="{6EC9FAE3-1492-416A-BCFC-66F77187622F}"/>
                </a:ext>
              </a:extLst>
            </p:cNvPr>
            <p:cNvSpPr>
              <a:spLocks/>
            </p:cNvSpPr>
            <p:nvPr/>
          </p:nvSpPr>
          <p:spPr bwMode="auto">
            <a:xfrm>
              <a:off x="4160964" y="945558"/>
              <a:ext cx="4516544" cy="4545190"/>
            </a:xfrm>
            <a:custGeom>
              <a:avLst/>
              <a:gdLst>
                <a:gd name="T0" fmla="*/ 6710 w 6796"/>
                <a:gd name="T1" fmla="*/ 461 h 6838"/>
                <a:gd name="T2" fmla="*/ 6619 w 6796"/>
                <a:gd name="T3" fmla="*/ 375 h 6838"/>
                <a:gd name="T4" fmla="*/ 6553 w 6796"/>
                <a:gd name="T5" fmla="*/ 312 h 6838"/>
                <a:gd name="T6" fmla="*/ 6484 w 6796"/>
                <a:gd name="T7" fmla="*/ 252 h 6838"/>
                <a:gd name="T8" fmla="*/ 6170 w 6796"/>
                <a:gd name="T9" fmla="*/ 1 h 6838"/>
                <a:gd name="T10" fmla="*/ 6125 w 6796"/>
                <a:gd name="T11" fmla="*/ 0 h 6838"/>
                <a:gd name="T12" fmla="*/ 5991 w 6796"/>
                <a:gd name="T13" fmla="*/ 6 h 6838"/>
                <a:gd name="T14" fmla="*/ 5933 w 6796"/>
                <a:gd name="T15" fmla="*/ 11 h 6838"/>
                <a:gd name="T16" fmla="*/ 5874 w 6796"/>
                <a:gd name="T17" fmla="*/ 18 h 6838"/>
                <a:gd name="T18" fmla="*/ 5184 w 6796"/>
                <a:gd name="T19" fmla="*/ 205 h 6838"/>
                <a:gd name="T20" fmla="*/ 5119 w 6796"/>
                <a:gd name="T21" fmla="*/ 231 h 6838"/>
                <a:gd name="T22" fmla="*/ 5050 w 6796"/>
                <a:gd name="T23" fmla="*/ 259 h 6838"/>
                <a:gd name="T24" fmla="*/ 3758 w 6796"/>
                <a:gd name="T25" fmla="*/ 987 h 6838"/>
                <a:gd name="T26" fmla="*/ 3625 w 6796"/>
                <a:gd name="T27" fmla="*/ 1081 h 6838"/>
                <a:gd name="T28" fmla="*/ 3479 w 6796"/>
                <a:gd name="T29" fmla="*/ 1189 h 6838"/>
                <a:gd name="T30" fmla="*/ 2254 w 6796"/>
                <a:gd name="T31" fmla="*/ 2254 h 6838"/>
                <a:gd name="T32" fmla="*/ 1188 w 6796"/>
                <a:gd name="T33" fmla="*/ 3479 h 6838"/>
                <a:gd name="T34" fmla="*/ 1081 w 6796"/>
                <a:gd name="T35" fmla="*/ 3626 h 6838"/>
                <a:gd name="T36" fmla="*/ 987 w 6796"/>
                <a:gd name="T37" fmla="*/ 3758 h 6838"/>
                <a:gd name="T38" fmla="*/ 259 w 6796"/>
                <a:gd name="T39" fmla="*/ 5050 h 6838"/>
                <a:gd name="T40" fmla="*/ 231 w 6796"/>
                <a:gd name="T41" fmla="*/ 5119 h 6838"/>
                <a:gd name="T42" fmla="*/ 205 w 6796"/>
                <a:gd name="T43" fmla="*/ 5184 h 6838"/>
                <a:gd name="T44" fmla="*/ 18 w 6796"/>
                <a:gd name="T45" fmla="*/ 5874 h 6838"/>
                <a:gd name="T46" fmla="*/ 11 w 6796"/>
                <a:gd name="T47" fmla="*/ 5933 h 6838"/>
                <a:gd name="T48" fmla="*/ 6 w 6796"/>
                <a:gd name="T49" fmla="*/ 5991 h 6838"/>
                <a:gd name="T50" fmla="*/ 0 w 6796"/>
                <a:gd name="T51" fmla="*/ 6125 h 6838"/>
                <a:gd name="T52" fmla="*/ 3 w 6796"/>
                <a:gd name="T53" fmla="*/ 6220 h 6838"/>
                <a:gd name="T54" fmla="*/ 208 w 6796"/>
                <a:gd name="T55" fmla="*/ 6475 h 6838"/>
                <a:gd name="T56" fmla="*/ 270 w 6796"/>
                <a:gd name="T57" fmla="*/ 6547 h 6838"/>
                <a:gd name="T58" fmla="*/ 332 w 6796"/>
                <a:gd name="T59" fmla="*/ 6615 h 6838"/>
                <a:gd name="T60" fmla="*/ 442 w 6796"/>
                <a:gd name="T61" fmla="*/ 6729 h 6838"/>
                <a:gd name="T62" fmla="*/ 556 w 6796"/>
                <a:gd name="T63" fmla="*/ 6838 h 6838"/>
                <a:gd name="T64" fmla="*/ 548 w 6796"/>
                <a:gd name="T65" fmla="*/ 6702 h 6838"/>
                <a:gd name="T66" fmla="*/ 551 w 6796"/>
                <a:gd name="T67" fmla="*/ 6619 h 6838"/>
                <a:gd name="T68" fmla="*/ 556 w 6796"/>
                <a:gd name="T69" fmla="*/ 6560 h 6838"/>
                <a:gd name="T70" fmla="*/ 561 w 6796"/>
                <a:gd name="T71" fmla="*/ 6501 h 6838"/>
                <a:gd name="T72" fmla="*/ 700 w 6796"/>
                <a:gd name="T73" fmla="*/ 5918 h 6838"/>
                <a:gd name="T74" fmla="*/ 724 w 6796"/>
                <a:gd name="T75" fmla="*/ 5852 h 6838"/>
                <a:gd name="T76" fmla="*/ 750 w 6796"/>
                <a:gd name="T77" fmla="*/ 5782 h 6838"/>
                <a:gd name="T78" fmla="*/ 1285 w 6796"/>
                <a:gd name="T79" fmla="*/ 4735 h 6838"/>
                <a:gd name="T80" fmla="*/ 1353 w 6796"/>
                <a:gd name="T81" fmla="*/ 4628 h 6838"/>
                <a:gd name="T82" fmla="*/ 1430 w 6796"/>
                <a:gd name="T83" fmla="*/ 4511 h 6838"/>
                <a:gd name="T84" fmla="*/ 2828 w 6796"/>
                <a:gd name="T85" fmla="*/ 2828 h 6838"/>
                <a:gd name="T86" fmla="*/ 4511 w 6796"/>
                <a:gd name="T87" fmla="*/ 1430 h 6838"/>
                <a:gd name="T88" fmla="*/ 4627 w 6796"/>
                <a:gd name="T89" fmla="*/ 1354 h 6838"/>
                <a:gd name="T90" fmla="*/ 4735 w 6796"/>
                <a:gd name="T91" fmla="*/ 1285 h 6838"/>
                <a:gd name="T92" fmla="*/ 5781 w 6796"/>
                <a:gd name="T93" fmla="*/ 750 h 6838"/>
                <a:gd name="T94" fmla="*/ 5851 w 6796"/>
                <a:gd name="T95" fmla="*/ 724 h 6838"/>
                <a:gd name="T96" fmla="*/ 5918 w 6796"/>
                <a:gd name="T97" fmla="*/ 700 h 6838"/>
                <a:gd name="T98" fmla="*/ 6501 w 6796"/>
                <a:gd name="T99" fmla="*/ 561 h 6838"/>
                <a:gd name="T100" fmla="*/ 6560 w 6796"/>
                <a:gd name="T101" fmla="*/ 556 h 6838"/>
                <a:gd name="T102" fmla="*/ 6620 w 6796"/>
                <a:gd name="T103" fmla="*/ 551 h 6838"/>
                <a:gd name="T104" fmla="*/ 6702 w 6796"/>
                <a:gd name="T105" fmla="*/ 548 h 6838"/>
                <a:gd name="T106" fmla="*/ 6796 w 6796"/>
                <a:gd name="T107" fmla="*/ 552 h 6838"/>
                <a:gd name="T108" fmla="*/ 6710 w 6796"/>
                <a:gd name="T109" fmla="*/ 461 h 6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796" h="6838">
                  <a:moveTo>
                    <a:pt x="6710" y="461"/>
                  </a:moveTo>
                  <a:cubicBezTo>
                    <a:pt x="6680" y="431"/>
                    <a:pt x="6649" y="403"/>
                    <a:pt x="6619" y="375"/>
                  </a:cubicBezTo>
                  <a:cubicBezTo>
                    <a:pt x="6597" y="354"/>
                    <a:pt x="6575" y="332"/>
                    <a:pt x="6553" y="312"/>
                  </a:cubicBezTo>
                  <a:cubicBezTo>
                    <a:pt x="6530" y="291"/>
                    <a:pt x="6507" y="272"/>
                    <a:pt x="6484" y="252"/>
                  </a:cubicBezTo>
                  <a:cubicBezTo>
                    <a:pt x="6382" y="163"/>
                    <a:pt x="6278" y="79"/>
                    <a:pt x="6170" y="1"/>
                  </a:cubicBezTo>
                  <a:cubicBezTo>
                    <a:pt x="6155" y="1"/>
                    <a:pt x="6140" y="0"/>
                    <a:pt x="6125" y="0"/>
                  </a:cubicBezTo>
                  <a:cubicBezTo>
                    <a:pt x="6082" y="0"/>
                    <a:pt x="6037" y="2"/>
                    <a:pt x="5991" y="6"/>
                  </a:cubicBezTo>
                  <a:cubicBezTo>
                    <a:pt x="5972" y="7"/>
                    <a:pt x="5953" y="9"/>
                    <a:pt x="5933" y="11"/>
                  </a:cubicBezTo>
                  <a:cubicBezTo>
                    <a:pt x="5914" y="13"/>
                    <a:pt x="5894" y="15"/>
                    <a:pt x="5874" y="18"/>
                  </a:cubicBezTo>
                  <a:cubicBezTo>
                    <a:pt x="5664" y="47"/>
                    <a:pt x="5432" y="110"/>
                    <a:pt x="5184" y="205"/>
                  </a:cubicBezTo>
                  <a:cubicBezTo>
                    <a:pt x="5162" y="214"/>
                    <a:pt x="5141" y="222"/>
                    <a:pt x="5119" y="231"/>
                  </a:cubicBezTo>
                  <a:cubicBezTo>
                    <a:pt x="5096" y="240"/>
                    <a:pt x="5073" y="249"/>
                    <a:pt x="5050" y="259"/>
                  </a:cubicBezTo>
                  <a:cubicBezTo>
                    <a:pt x="4649" y="427"/>
                    <a:pt x="4210" y="673"/>
                    <a:pt x="3758" y="987"/>
                  </a:cubicBezTo>
                  <a:cubicBezTo>
                    <a:pt x="3714" y="1018"/>
                    <a:pt x="3670" y="1049"/>
                    <a:pt x="3625" y="1081"/>
                  </a:cubicBezTo>
                  <a:cubicBezTo>
                    <a:pt x="3576" y="1116"/>
                    <a:pt x="3528" y="1152"/>
                    <a:pt x="3479" y="1189"/>
                  </a:cubicBezTo>
                  <a:cubicBezTo>
                    <a:pt x="3071" y="1494"/>
                    <a:pt x="2657" y="1851"/>
                    <a:pt x="2254" y="2254"/>
                  </a:cubicBezTo>
                  <a:cubicBezTo>
                    <a:pt x="1851" y="2657"/>
                    <a:pt x="1494" y="3071"/>
                    <a:pt x="1188" y="3479"/>
                  </a:cubicBezTo>
                  <a:cubicBezTo>
                    <a:pt x="1151" y="3528"/>
                    <a:pt x="1116" y="3577"/>
                    <a:pt x="1081" y="3626"/>
                  </a:cubicBezTo>
                  <a:cubicBezTo>
                    <a:pt x="1049" y="3670"/>
                    <a:pt x="1017" y="3714"/>
                    <a:pt x="987" y="3758"/>
                  </a:cubicBezTo>
                  <a:cubicBezTo>
                    <a:pt x="673" y="4210"/>
                    <a:pt x="427" y="4649"/>
                    <a:pt x="259" y="5050"/>
                  </a:cubicBezTo>
                  <a:cubicBezTo>
                    <a:pt x="249" y="5073"/>
                    <a:pt x="240" y="5096"/>
                    <a:pt x="231" y="5119"/>
                  </a:cubicBezTo>
                  <a:cubicBezTo>
                    <a:pt x="222" y="5141"/>
                    <a:pt x="214" y="5162"/>
                    <a:pt x="205" y="5184"/>
                  </a:cubicBezTo>
                  <a:cubicBezTo>
                    <a:pt x="110" y="5432"/>
                    <a:pt x="47" y="5665"/>
                    <a:pt x="18" y="5874"/>
                  </a:cubicBezTo>
                  <a:cubicBezTo>
                    <a:pt x="15" y="5894"/>
                    <a:pt x="13" y="5914"/>
                    <a:pt x="11" y="5933"/>
                  </a:cubicBezTo>
                  <a:cubicBezTo>
                    <a:pt x="8" y="5953"/>
                    <a:pt x="7" y="5972"/>
                    <a:pt x="6" y="5991"/>
                  </a:cubicBezTo>
                  <a:cubicBezTo>
                    <a:pt x="2" y="6037"/>
                    <a:pt x="0" y="6082"/>
                    <a:pt x="0" y="6125"/>
                  </a:cubicBezTo>
                  <a:cubicBezTo>
                    <a:pt x="0" y="6157"/>
                    <a:pt x="1" y="6189"/>
                    <a:pt x="3" y="6220"/>
                  </a:cubicBezTo>
                  <a:cubicBezTo>
                    <a:pt x="67" y="6307"/>
                    <a:pt x="136" y="6392"/>
                    <a:pt x="208" y="6475"/>
                  </a:cubicBezTo>
                  <a:cubicBezTo>
                    <a:pt x="228" y="6499"/>
                    <a:pt x="249" y="6524"/>
                    <a:pt x="270" y="6547"/>
                  </a:cubicBezTo>
                  <a:cubicBezTo>
                    <a:pt x="290" y="6570"/>
                    <a:pt x="312" y="6592"/>
                    <a:pt x="332" y="6615"/>
                  </a:cubicBezTo>
                  <a:cubicBezTo>
                    <a:pt x="368" y="6653"/>
                    <a:pt x="404" y="6692"/>
                    <a:pt x="442" y="6729"/>
                  </a:cubicBezTo>
                  <a:cubicBezTo>
                    <a:pt x="479" y="6767"/>
                    <a:pt x="517" y="6802"/>
                    <a:pt x="556" y="6838"/>
                  </a:cubicBezTo>
                  <a:cubicBezTo>
                    <a:pt x="551" y="6794"/>
                    <a:pt x="548" y="6749"/>
                    <a:pt x="548" y="6702"/>
                  </a:cubicBezTo>
                  <a:cubicBezTo>
                    <a:pt x="548" y="6675"/>
                    <a:pt x="550" y="6647"/>
                    <a:pt x="551" y="6619"/>
                  </a:cubicBezTo>
                  <a:cubicBezTo>
                    <a:pt x="552" y="6600"/>
                    <a:pt x="554" y="6580"/>
                    <a:pt x="556" y="6560"/>
                  </a:cubicBezTo>
                  <a:cubicBezTo>
                    <a:pt x="557" y="6541"/>
                    <a:pt x="559" y="6521"/>
                    <a:pt x="561" y="6501"/>
                  </a:cubicBezTo>
                  <a:cubicBezTo>
                    <a:pt x="582" y="6322"/>
                    <a:pt x="629" y="6126"/>
                    <a:pt x="700" y="5918"/>
                  </a:cubicBezTo>
                  <a:cubicBezTo>
                    <a:pt x="708" y="5896"/>
                    <a:pt x="716" y="5874"/>
                    <a:pt x="724" y="5852"/>
                  </a:cubicBezTo>
                  <a:cubicBezTo>
                    <a:pt x="733" y="5828"/>
                    <a:pt x="741" y="5805"/>
                    <a:pt x="750" y="5782"/>
                  </a:cubicBezTo>
                  <a:cubicBezTo>
                    <a:pt x="875" y="5455"/>
                    <a:pt x="1056" y="5102"/>
                    <a:pt x="1285" y="4735"/>
                  </a:cubicBezTo>
                  <a:cubicBezTo>
                    <a:pt x="1308" y="4699"/>
                    <a:pt x="1330" y="4664"/>
                    <a:pt x="1353" y="4628"/>
                  </a:cubicBezTo>
                  <a:cubicBezTo>
                    <a:pt x="1378" y="4589"/>
                    <a:pt x="1404" y="4550"/>
                    <a:pt x="1430" y="4511"/>
                  </a:cubicBezTo>
                  <a:cubicBezTo>
                    <a:pt x="1799" y="3961"/>
                    <a:pt x="2271" y="3385"/>
                    <a:pt x="2828" y="2828"/>
                  </a:cubicBezTo>
                  <a:cubicBezTo>
                    <a:pt x="3385" y="2271"/>
                    <a:pt x="3960" y="1799"/>
                    <a:pt x="4511" y="1430"/>
                  </a:cubicBezTo>
                  <a:cubicBezTo>
                    <a:pt x="4550" y="1404"/>
                    <a:pt x="4589" y="1379"/>
                    <a:pt x="4627" y="1354"/>
                  </a:cubicBezTo>
                  <a:cubicBezTo>
                    <a:pt x="4663" y="1330"/>
                    <a:pt x="4699" y="1308"/>
                    <a:pt x="4735" y="1285"/>
                  </a:cubicBezTo>
                  <a:cubicBezTo>
                    <a:pt x="5102" y="1056"/>
                    <a:pt x="5455" y="875"/>
                    <a:pt x="5781" y="750"/>
                  </a:cubicBezTo>
                  <a:cubicBezTo>
                    <a:pt x="5805" y="741"/>
                    <a:pt x="5828" y="733"/>
                    <a:pt x="5851" y="724"/>
                  </a:cubicBezTo>
                  <a:cubicBezTo>
                    <a:pt x="5874" y="716"/>
                    <a:pt x="5896" y="708"/>
                    <a:pt x="5918" y="700"/>
                  </a:cubicBezTo>
                  <a:cubicBezTo>
                    <a:pt x="6126" y="629"/>
                    <a:pt x="6322" y="582"/>
                    <a:pt x="6501" y="561"/>
                  </a:cubicBezTo>
                  <a:cubicBezTo>
                    <a:pt x="6521" y="559"/>
                    <a:pt x="6541" y="557"/>
                    <a:pt x="6560" y="556"/>
                  </a:cubicBezTo>
                  <a:cubicBezTo>
                    <a:pt x="6580" y="554"/>
                    <a:pt x="6600" y="552"/>
                    <a:pt x="6620" y="551"/>
                  </a:cubicBezTo>
                  <a:cubicBezTo>
                    <a:pt x="6647" y="550"/>
                    <a:pt x="6675" y="549"/>
                    <a:pt x="6702" y="548"/>
                  </a:cubicBezTo>
                  <a:cubicBezTo>
                    <a:pt x="6734" y="548"/>
                    <a:pt x="6765" y="550"/>
                    <a:pt x="6796" y="552"/>
                  </a:cubicBezTo>
                  <a:cubicBezTo>
                    <a:pt x="6767" y="521"/>
                    <a:pt x="6739" y="491"/>
                    <a:pt x="6710" y="4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8" name="Freeform 10">
              <a:extLst>
                <a:ext uri="{FF2B5EF4-FFF2-40B4-BE49-F238E27FC236}">
                  <a16:creationId xmlns:a16="http://schemas.microsoft.com/office/drawing/2014/main" id="{54CE5925-9480-4C02-A7F9-3B31E37C904C}"/>
                </a:ext>
              </a:extLst>
            </p:cNvPr>
            <p:cNvSpPr>
              <a:spLocks/>
            </p:cNvSpPr>
            <p:nvPr/>
          </p:nvSpPr>
          <p:spPr bwMode="auto">
            <a:xfrm>
              <a:off x="3956348" y="740943"/>
              <a:ext cx="4194616" cy="4225990"/>
            </a:xfrm>
            <a:custGeom>
              <a:avLst/>
              <a:gdLst>
                <a:gd name="T0" fmla="*/ 1126 w 6312"/>
                <a:gd name="T1" fmla="*/ 4101 h 6355"/>
                <a:gd name="T2" fmla="*/ 1212 w 6312"/>
                <a:gd name="T3" fmla="*/ 3976 h 6355"/>
                <a:gd name="T4" fmla="*/ 2479 w 6312"/>
                <a:gd name="T5" fmla="*/ 2477 h 6355"/>
                <a:gd name="T6" fmla="*/ 3978 w 6312"/>
                <a:gd name="T7" fmla="*/ 1210 h 6355"/>
                <a:gd name="T8" fmla="*/ 4103 w 6312"/>
                <a:gd name="T9" fmla="*/ 1124 h 6355"/>
                <a:gd name="T10" fmla="*/ 4216 w 6312"/>
                <a:gd name="T11" fmla="*/ 1049 h 6355"/>
                <a:gd name="T12" fmla="*/ 5392 w 6312"/>
                <a:gd name="T13" fmla="*/ 423 h 6355"/>
                <a:gd name="T14" fmla="*/ 5456 w 6312"/>
                <a:gd name="T15" fmla="*/ 399 h 6355"/>
                <a:gd name="T16" fmla="*/ 5518 w 6312"/>
                <a:gd name="T17" fmla="*/ 376 h 6355"/>
                <a:gd name="T18" fmla="*/ 6164 w 6312"/>
                <a:gd name="T19" fmla="*/ 208 h 6355"/>
                <a:gd name="T20" fmla="*/ 6222 w 6312"/>
                <a:gd name="T21" fmla="*/ 201 h 6355"/>
                <a:gd name="T22" fmla="*/ 6281 w 6312"/>
                <a:gd name="T23" fmla="*/ 195 h 6355"/>
                <a:gd name="T24" fmla="*/ 6312 w 6312"/>
                <a:gd name="T25" fmla="*/ 193 h 6355"/>
                <a:gd name="T26" fmla="*/ 6276 w 6312"/>
                <a:gd name="T27" fmla="*/ 170 h 6355"/>
                <a:gd name="T28" fmla="*/ 6203 w 6312"/>
                <a:gd name="T29" fmla="*/ 124 h 6355"/>
                <a:gd name="T30" fmla="*/ 6122 w 6312"/>
                <a:gd name="T31" fmla="*/ 74 h 6355"/>
                <a:gd name="T32" fmla="*/ 5988 w 6312"/>
                <a:gd name="T33" fmla="*/ 0 h 6355"/>
                <a:gd name="T34" fmla="*/ 5542 w 6312"/>
                <a:gd name="T35" fmla="*/ 68 h 6355"/>
                <a:gd name="T36" fmla="*/ 5484 w 6312"/>
                <a:gd name="T37" fmla="*/ 83 h 6355"/>
                <a:gd name="T38" fmla="*/ 5425 w 6312"/>
                <a:gd name="T39" fmla="*/ 101 h 6355"/>
                <a:gd name="T40" fmla="*/ 4488 w 6312"/>
                <a:gd name="T41" fmla="*/ 508 h 6355"/>
                <a:gd name="T42" fmla="*/ 4405 w 6312"/>
                <a:gd name="T43" fmla="*/ 555 h 6355"/>
                <a:gd name="T44" fmla="*/ 4316 w 6312"/>
                <a:gd name="T45" fmla="*/ 606 h 6355"/>
                <a:gd name="T46" fmla="*/ 2245 w 6312"/>
                <a:gd name="T47" fmla="*/ 2243 h 6355"/>
                <a:gd name="T48" fmla="*/ 608 w 6312"/>
                <a:gd name="T49" fmla="*/ 4314 h 6355"/>
                <a:gd name="T50" fmla="*/ 557 w 6312"/>
                <a:gd name="T51" fmla="*/ 4404 h 6355"/>
                <a:gd name="T52" fmla="*/ 510 w 6312"/>
                <a:gd name="T53" fmla="*/ 4486 h 6355"/>
                <a:gd name="T54" fmla="*/ 103 w 6312"/>
                <a:gd name="T55" fmla="*/ 5423 h 6355"/>
                <a:gd name="T56" fmla="*/ 85 w 6312"/>
                <a:gd name="T57" fmla="*/ 5482 h 6355"/>
                <a:gd name="T58" fmla="*/ 70 w 6312"/>
                <a:gd name="T59" fmla="*/ 5540 h 6355"/>
                <a:gd name="T60" fmla="*/ 1 w 6312"/>
                <a:gd name="T61" fmla="*/ 6034 h 6355"/>
                <a:gd name="T62" fmla="*/ 1 w 6312"/>
                <a:gd name="T63" fmla="*/ 6039 h 6355"/>
                <a:gd name="T64" fmla="*/ 36 w 6312"/>
                <a:gd name="T65" fmla="*/ 6102 h 6355"/>
                <a:gd name="T66" fmla="*/ 85 w 6312"/>
                <a:gd name="T67" fmla="*/ 6186 h 6355"/>
                <a:gd name="T68" fmla="*/ 134 w 6312"/>
                <a:gd name="T69" fmla="*/ 6264 h 6355"/>
                <a:gd name="T70" fmla="*/ 192 w 6312"/>
                <a:gd name="T71" fmla="*/ 6355 h 6355"/>
                <a:gd name="T72" fmla="*/ 197 w 6312"/>
                <a:gd name="T73" fmla="*/ 6279 h 6355"/>
                <a:gd name="T74" fmla="*/ 203 w 6312"/>
                <a:gd name="T75" fmla="*/ 6220 h 6355"/>
                <a:gd name="T76" fmla="*/ 210 w 6312"/>
                <a:gd name="T77" fmla="*/ 6162 h 6355"/>
                <a:gd name="T78" fmla="*/ 378 w 6312"/>
                <a:gd name="T79" fmla="*/ 5516 h 6355"/>
                <a:gd name="T80" fmla="*/ 400 w 6312"/>
                <a:gd name="T81" fmla="*/ 5454 h 6355"/>
                <a:gd name="T82" fmla="*/ 425 w 6312"/>
                <a:gd name="T83" fmla="*/ 5390 h 6355"/>
                <a:gd name="T84" fmla="*/ 1050 w 6312"/>
                <a:gd name="T85" fmla="*/ 4214 h 6355"/>
                <a:gd name="T86" fmla="*/ 1126 w 6312"/>
                <a:gd name="T87" fmla="*/ 4101 h 6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2" h="6355">
                  <a:moveTo>
                    <a:pt x="1126" y="4101"/>
                  </a:moveTo>
                  <a:cubicBezTo>
                    <a:pt x="1154" y="4060"/>
                    <a:pt x="1183" y="4018"/>
                    <a:pt x="1212" y="3976"/>
                  </a:cubicBezTo>
                  <a:cubicBezTo>
                    <a:pt x="1559" y="3480"/>
                    <a:pt x="1986" y="2971"/>
                    <a:pt x="2479" y="2477"/>
                  </a:cubicBezTo>
                  <a:cubicBezTo>
                    <a:pt x="2973" y="1984"/>
                    <a:pt x="3482" y="1557"/>
                    <a:pt x="3978" y="1210"/>
                  </a:cubicBezTo>
                  <a:cubicBezTo>
                    <a:pt x="4020" y="1181"/>
                    <a:pt x="4061" y="1152"/>
                    <a:pt x="4103" y="1124"/>
                  </a:cubicBezTo>
                  <a:cubicBezTo>
                    <a:pt x="4141" y="1098"/>
                    <a:pt x="4179" y="1073"/>
                    <a:pt x="4216" y="1049"/>
                  </a:cubicBezTo>
                  <a:cubicBezTo>
                    <a:pt x="4626" y="780"/>
                    <a:pt x="5024" y="569"/>
                    <a:pt x="5392" y="423"/>
                  </a:cubicBezTo>
                  <a:cubicBezTo>
                    <a:pt x="5414" y="415"/>
                    <a:pt x="5435" y="407"/>
                    <a:pt x="5456" y="399"/>
                  </a:cubicBezTo>
                  <a:cubicBezTo>
                    <a:pt x="5477" y="391"/>
                    <a:pt x="5498" y="383"/>
                    <a:pt x="5518" y="376"/>
                  </a:cubicBezTo>
                  <a:cubicBezTo>
                    <a:pt x="5747" y="293"/>
                    <a:pt x="5964" y="236"/>
                    <a:pt x="6164" y="208"/>
                  </a:cubicBezTo>
                  <a:cubicBezTo>
                    <a:pt x="6183" y="206"/>
                    <a:pt x="6203" y="203"/>
                    <a:pt x="6222" y="201"/>
                  </a:cubicBezTo>
                  <a:cubicBezTo>
                    <a:pt x="6242" y="199"/>
                    <a:pt x="6262" y="197"/>
                    <a:pt x="6281" y="195"/>
                  </a:cubicBezTo>
                  <a:cubicBezTo>
                    <a:pt x="6292" y="194"/>
                    <a:pt x="6302" y="193"/>
                    <a:pt x="6312" y="193"/>
                  </a:cubicBezTo>
                  <a:cubicBezTo>
                    <a:pt x="6300" y="185"/>
                    <a:pt x="6288" y="178"/>
                    <a:pt x="6276" y="170"/>
                  </a:cubicBezTo>
                  <a:cubicBezTo>
                    <a:pt x="6252" y="155"/>
                    <a:pt x="6228" y="139"/>
                    <a:pt x="6203" y="124"/>
                  </a:cubicBezTo>
                  <a:cubicBezTo>
                    <a:pt x="6176" y="108"/>
                    <a:pt x="6149" y="90"/>
                    <a:pt x="6122" y="74"/>
                  </a:cubicBezTo>
                  <a:cubicBezTo>
                    <a:pt x="6077" y="49"/>
                    <a:pt x="6032" y="24"/>
                    <a:pt x="5988" y="0"/>
                  </a:cubicBezTo>
                  <a:cubicBezTo>
                    <a:pt x="5852" y="4"/>
                    <a:pt x="5703" y="27"/>
                    <a:pt x="5542" y="68"/>
                  </a:cubicBezTo>
                  <a:cubicBezTo>
                    <a:pt x="5523" y="73"/>
                    <a:pt x="5503" y="78"/>
                    <a:pt x="5484" y="83"/>
                  </a:cubicBezTo>
                  <a:cubicBezTo>
                    <a:pt x="5464" y="89"/>
                    <a:pt x="5445" y="95"/>
                    <a:pt x="5425" y="101"/>
                  </a:cubicBezTo>
                  <a:cubicBezTo>
                    <a:pt x="5140" y="186"/>
                    <a:pt x="4823" y="324"/>
                    <a:pt x="4488" y="508"/>
                  </a:cubicBezTo>
                  <a:cubicBezTo>
                    <a:pt x="4461" y="523"/>
                    <a:pt x="4433" y="539"/>
                    <a:pt x="4405" y="555"/>
                  </a:cubicBezTo>
                  <a:cubicBezTo>
                    <a:pt x="4376" y="572"/>
                    <a:pt x="4346" y="588"/>
                    <a:pt x="4316" y="606"/>
                  </a:cubicBezTo>
                  <a:cubicBezTo>
                    <a:pt x="3656" y="993"/>
                    <a:pt x="2935" y="1552"/>
                    <a:pt x="2245" y="2243"/>
                  </a:cubicBezTo>
                  <a:cubicBezTo>
                    <a:pt x="1554" y="2933"/>
                    <a:pt x="995" y="3654"/>
                    <a:pt x="608" y="4314"/>
                  </a:cubicBezTo>
                  <a:cubicBezTo>
                    <a:pt x="590" y="4344"/>
                    <a:pt x="573" y="4374"/>
                    <a:pt x="557" y="4404"/>
                  </a:cubicBezTo>
                  <a:cubicBezTo>
                    <a:pt x="541" y="4431"/>
                    <a:pt x="525" y="4459"/>
                    <a:pt x="510" y="4486"/>
                  </a:cubicBezTo>
                  <a:cubicBezTo>
                    <a:pt x="326" y="4822"/>
                    <a:pt x="188" y="5138"/>
                    <a:pt x="103" y="5423"/>
                  </a:cubicBezTo>
                  <a:cubicBezTo>
                    <a:pt x="97" y="5443"/>
                    <a:pt x="91" y="5462"/>
                    <a:pt x="85" y="5482"/>
                  </a:cubicBezTo>
                  <a:cubicBezTo>
                    <a:pt x="80" y="5501"/>
                    <a:pt x="75" y="5521"/>
                    <a:pt x="70" y="5540"/>
                  </a:cubicBezTo>
                  <a:cubicBezTo>
                    <a:pt x="24" y="5720"/>
                    <a:pt x="0" y="5886"/>
                    <a:pt x="1" y="6034"/>
                  </a:cubicBezTo>
                  <a:cubicBezTo>
                    <a:pt x="1" y="6035"/>
                    <a:pt x="1" y="6037"/>
                    <a:pt x="1" y="6039"/>
                  </a:cubicBezTo>
                  <a:cubicBezTo>
                    <a:pt x="12" y="6060"/>
                    <a:pt x="24" y="6081"/>
                    <a:pt x="36" y="6102"/>
                  </a:cubicBezTo>
                  <a:cubicBezTo>
                    <a:pt x="52" y="6130"/>
                    <a:pt x="68" y="6158"/>
                    <a:pt x="85" y="6186"/>
                  </a:cubicBezTo>
                  <a:cubicBezTo>
                    <a:pt x="101" y="6212"/>
                    <a:pt x="117" y="6238"/>
                    <a:pt x="134" y="6264"/>
                  </a:cubicBezTo>
                  <a:cubicBezTo>
                    <a:pt x="153" y="6294"/>
                    <a:pt x="172" y="6325"/>
                    <a:pt x="192" y="6355"/>
                  </a:cubicBezTo>
                  <a:cubicBezTo>
                    <a:pt x="193" y="6330"/>
                    <a:pt x="195" y="6305"/>
                    <a:pt x="197" y="6279"/>
                  </a:cubicBezTo>
                  <a:cubicBezTo>
                    <a:pt x="199" y="6260"/>
                    <a:pt x="201" y="6240"/>
                    <a:pt x="203" y="6220"/>
                  </a:cubicBezTo>
                  <a:cubicBezTo>
                    <a:pt x="205" y="6201"/>
                    <a:pt x="208" y="6181"/>
                    <a:pt x="210" y="6162"/>
                  </a:cubicBezTo>
                  <a:cubicBezTo>
                    <a:pt x="238" y="5962"/>
                    <a:pt x="295" y="5745"/>
                    <a:pt x="378" y="5516"/>
                  </a:cubicBezTo>
                  <a:cubicBezTo>
                    <a:pt x="385" y="5496"/>
                    <a:pt x="392" y="5475"/>
                    <a:pt x="400" y="5454"/>
                  </a:cubicBezTo>
                  <a:cubicBezTo>
                    <a:pt x="408" y="5433"/>
                    <a:pt x="417" y="5412"/>
                    <a:pt x="425" y="5390"/>
                  </a:cubicBezTo>
                  <a:cubicBezTo>
                    <a:pt x="571" y="5022"/>
                    <a:pt x="782" y="4624"/>
                    <a:pt x="1050" y="4214"/>
                  </a:cubicBezTo>
                  <a:cubicBezTo>
                    <a:pt x="1075" y="4177"/>
                    <a:pt x="1100" y="4139"/>
                    <a:pt x="1126" y="410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9" name="Freeform 11">
              <a:extLst>
                <a:ext uri="{FF2B5EF4-FFF2-40B4-BE49-F238E27FC236}">
                  <a16:creationId xmlns:a16="http://schemas.microsoft.com/office/drawing/2014/main" id="{9BF6A145-B04A-4D96-B42A-F9F9564194A0}"/>
                </a:ext>
              </a:extLst>
            </p:cNvPr>
            <p:cNvSpPr>
              <a:spLocks/>
            </p:cNvSpPr>
            <p:nvPr/>
          </p:nvSpPr>
          <p:spPr bwMode="auto">
            <a:xfrm>
              <a:off x="4604297" y="1387527"/>
              <a:ext cx="4412873" cy="4441519"/>
            </a:xfrm>
            <a:custGeom>
              <a:avLst/>
              <a:gdLst>
                <a:gd name="T0" fmla="*/ 4682 w 6640"/>
                <a:gd name="T1" fmla="*/ 1069 h 6679"/>
                <a:gd name="T2" fmla="*/ 4782 w 6640"/>
                <a:gd name="T3" fmla="*/ 1013 h 6679"/>
                <a:gd name="T4" fmla="*/ 4876 w 6640"/>
                <a:gd name="T5" fmla="*/ 962 h 6679"/>
                <a:gd name="T6" fmla="*/ 5665 w 6640"/>
                <a:gd name="T7" fmla="*/ 626 h 6679"/>
                <a:gd name="T8" fmla="*/ 5735 w 6640"/>
                <a:gd name="T9" fmla="*/ 605 h 6679"/>
                <a:gd name="T10" fmla="*/ 5804 w 6640"/>
                <a:gd name="T11" fmla="*/ 586 h 6679"/>
                <a:gd name="T12" fmla="*/ 6300 w 6640"/>
                <a:gd name="T13" fmla="*/ 507 h 6679"/>
                <a:gd name="T14" fmla="*/ 6355 w 6640"/>
                <a:gd name="T15" fmla="*/ 505 h 6679"/>
                <a:gd name="T16" fmla="*/ 6360 w 6640"/>
                <a:gd name="T17" fmla="*/ 505 h 6679"/>
                <a:gd name="T18" fmla="*/ 6419 w 6640"/>
                <a:gd name="T19" fmla="*/ 507 h 6679"/>
                <a:gd name="T20" fmla="*/ 6640 w 6640"/>
                <a:gd name="T21" fmla="*/ 536 h 6679"/>
                <a:gd name="T22" fmla="*/ 6443 w 6640"/>
                <a:gd name="T23" fmla="*/ 254 h 6679"/>
                <a:gd name="T24" fmla="*/ 6385 w 6640"/>
                <a:gd name="T25" fmla="*/ 179 h 6679"/>
                <a:gd name="T26" fmla="*/ 6323 w 6640"/>
                <a:gd name="T27" fmla="*/ 102 h 6679"/>
                <a:gd name="T28" fmla="*/ 6253 w 6640"/>
                <a:gd name="T29" fmla="*/ 21 h 6679"/>
                <a:gd name="T30" fmla="*/ 6036 w 6640"/>
                <a:gd name="T31" fmla="*/ 1 h 6679"/>
                <a:gd name="T32" fmla="*/ 5943 w 6640"/>
                <a:gd name="T33" fmla="*/ 3 h 6679"/>
                <a:gd name="T34" fmla="*/ 5884 w 6640"/>
                <a:gd name="T35" fmla="*/ 8 h 6679"/>
                <a:gd name="T36" fmla="*/ 5824 w 6640"/>
                <a:gd name="T37" fmla="*/ 15 h 6679"/>
                <a:gd name="T38" fmla="*/ 5212 w 6640"/>
                <a:gd name="T39" fmla="*/ 174 h 6679"/>
                <a:gd name="T40" fmla="*/ 5142 w 6640"/>
                <a:gd name="T41" fmla="*/ 200 h 6679"/>
                <a:gd name="T42" fmla="*/ 5070 w 6640"/>
                <a:gd name="T43" fmla="*/ 229 h 6679"/>
                <a:gd name="T44" fmla="*/ 3933 w 6640"/>
                <a:gd name="T45" fmla="*/ 848 h 6679"/>
                <a:gd name="T46" fmla="*/ 3812 w 6640"/>
                <a:gd name="T47" fmla="*/ 929 h 6679"/>
                <a:gd name="T48" fmla="*/ 3679 w 6640"/>
                <a:gd name="T49" fmla="*/ 1023 h 6679"/>
                <a:gd name="T50" fmla="*/ 2245 w 6640"/>
                <a:gd name="T51" fmla="*/ 2245 h 6679"/>
                <a:gd name="T52" fmla="*/ 1023 w 6640"/>
                <a:gd name="T53" fmla="*/ 3679 h 6679"/>
                <a:gd name="T54" fmla="*/ 929 w 6640"/>
                <a:gd name="T55" fmla="*/ 3812 h 6679"/>
                <a:gd name="T56" fmla="*/ 848 w 6640"/>
                <a:gd name="T57" fmla="*/ 3933 h 6679"/>
                <a:gd name="T58" fmla="*/ 229 w 6640"/>
                <a:gd name="T59" fmla="*/ 5070 h 6679"/>
                <a:gd name="T60" fmla="*/ 200 w 6640"/>
                <a:gd name="T61" fmla="*/ 5142 h 6679"/>
                <a:gd name="T62" fmla="*/ 174 w 6640"/>
                <a:gd name="T63" fmla="*/ 5212 h 6679"/>
                <a:gd name="T64" fmla="*/ 15 w 6640"/>
                <a:gd name="T65" fmla="*/ 5824 h 6679"/>
                <a:gd name="T66" fmla="*/ 8 w 6640"/>
                <a:gd name="T67" fmla="*/ 5884 h 6679"/>
                <a:gd name="T68" fmla="*/ 3 w 6640"/>
                <a:gd name="T69" fmla="*/ 5943 h 6679"/>
                <a:gd name="T70" fmla="*/ 1 w 6640"/>
                <a:gd name="T71" fmla="*/ 6036 h 6679"/>
                <a:gd name="T72" fmla="*/ 30 w 6640"/>
                <a:gd name="T73" fmla="*/ 6297 h 6679"/>
                <a:gd name="T74" fmla="*/ 54 w 6640"/>
                <a:gd name="T75" fmla="*/ 6318 h 6679"/>
                <a:gd name="T76" fmla="*/ 132 w 6640"/>
                <a:gd name="T77" fmla="*/ 6383 h 6679"/>
                <a:gd name="T78" fmla="*/ 211 w 6640"/>
                <a:gd name="T79" fmla="*/ 6444 h 6679"/>
                <a:gd name="T80" fmla="*/ 547 w 6640"/>
                <a:gd name="T81" fmla="*/ 6679 h 6679"/>
                <a:gd name="T82" fmla="*/ 507 w 6640"/>
                <a:gd name="T83" fmla="*/ 6419 h 6679"/>
                <a:gd name="T84" fmla="*/ 505 w 6640"/>
                <a:gd name="T85" fmla="*/ 6360 h 6679"/>
                <a:gd name="T86" fmla="*/ 505 w 6640"/>
                <a:gd name="T87" fmla="*/ 6356 h 6679"/>
                <a:gd name="T88" fmla="*/ 507 w 6640"/>
                <a:gd name="T89" fmla="*/ 6300 h 6679"/>
                <a:gd name="T90" fmla="*/ 586 w 6640"/>
                <a:gd name="T91" fmla="*/ 5804 h 6679"/>
                <a:gd name="T92" fmla="*/ 605 w 6640"/>
                <a:gd name="T93" fmla="*/ 5735 h 6679"/>
                <a:gd name="T94" fmla="*/ 626 w 6640"/>
                <a:gd name="T95" fmla="*/ 5665 h 6679"/>
                <a:gd name="T96" fmla="*/ 962 w 6640"/>
                <a:gd name="T97" fmla="*/ 4876 h 6679"/>
                <a:gd name="T98" fmla="*/ 1013 w 6640"/>
                <a:gd name="T99" fmla="*/ 4781 h 6679"/>
                <a:gd name="T100" fmla="*/ 1069 w 6640"/>
                <a:gd name="T101" fmla="*/ 4682 h 6679"/>
                <a:gd name="T102" fmla="*/ 2654 w 6640"/>
                <a:gd name="T103" fmla="*/ 2654 h 6679"/>
                <a:gd name="T104" fmla="*/ 4682 w 6640"/>
                <a:gd name="T105" fmla="*/ 1069 h 6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640" h="6679">
                  <a:moveTo>
                    <a:pt x="4682" y="1069"/>
                  </a:moveTo>
                  <a:cubicBezTo>
                    <a:pt x="4715" y="1050"/>
                    <a:pt x="4748" y="1031"/>
                    <a:pt x="4782" y="1013"/>
                  </a:cubicBezTo>
                  <a:cubicBezTo>
                    <a:pt x="4813" y="996"/>
                    <a:pt x="4845" y="979"/>
                    <a:pt x="4876" y="962"/>
                  </a:cubicBezTo>
                  <a:cubicBezTo>
                    <a:pt x="5153" y="816"/>
                    <a:pt x="5418" y="703"/>
                    <a:pt x="5665" y="626"/>
                  </a:cubicBezTo>
                  <a:cubicBezTo>
                    <a:pt x="5688" y="619"/>
                    <a:pt x="5712" y="612"/>
                    <a:pt x="5735" y="605"/>
                  </a:cubicBezTo>
                  <a:cubicBezTo>
                    <a:pt x="5758" y="599"/>
                    <a:pt x="5781" y="592"/>
                    <a:pt x="5804" y="586"/>
                  </a:cubicBezTo>
                  <a:cubicBezTo>
                    <a:pt x="5981" y="539"/>
                    <a:pt x="6147" y="513"/>
                    <a:pt x="6300" y="507"/>
                  </a:cubicBezTo>
                  <a:cubicBezTo>
                    <a:pt x="6318" y="506"/>
                    <a:pt x="6337" y="505"/>
                    <a:pt x="6355" y="505"/>
                  </a:cubicBezTo>
                  <a:cubicBezTo>
                    <a:pt x="6357" y="505"/>
                    <a:pt x="6358" y="505"/>
                    <a:pt x="6360" y="505"/>
                  </a:cubicBezTo>
                  <a:cubicBezTo>
                    <a:pt x="6380" y="505"/>
                    <a:pt x="6399" y="506"/>
                    <a:pt x="6419" y="507"/>
                  </a:cubicBezTo>
                  <a:cubicBezTo>
                    <a:pt x="6496" y="511"/>
                    <a:pt x="6571" y="520"/>
                    <a:pt x="6640" y="536"/>
                  </a:cubicBezTo>
                  <a:cubicBezTo>
                    <a:pt x="6579" y="440"/>
                    <a:pt x="6513" y="346"/>
                    <a:pt x="6443" y="254"/>
                  </a:cubicBezTo>
                  <a:cubicBezTo>
                    <a:pt x="6424" y="229"/>
                    <a:pt x="6404" y="204"/>
                    <a:pt x="6385" y="179"/>
                  </a:cubicBezTo>
                  <a:cubicBezTo>
                    <a:pt x="6364" y="153"/>
                    <a:pt x="6344" y="128"/>
                    <a:pt x="6323" y="102"/>
                  </a:cubicBezTo>
                  <a:cubicBezTo>
                    <a:pt x="6300" y="75"/>
                    <a:pt x="6276" y="48"/>
                    <a:pt x="6253" y="21"/>
                  </a:cubicBezTo>
                  <a:cubicBezTo>
                    <a:pt x="6186" y="8"/>
                    <a:pt x="6114" y="1"/>
                    <a:pt x="6036" y="1"/>
                  </a:cubicBezTo>
                  <a:cubicBezTo>
                    <a:pt x="6006" y="0"/>
                    <a:pt x="5975" y="2"/>
                    <a:pt x="5943" y="3"/>
                  </a:cubicBezTo>
                  <a:cubicBezTo>
                    <a:pt x="5924" y="4"/>
                    <a:pt x="5904" y="6"/>
                    <a:pt x="5884" y="8"/>
                  </a:cubicBezTo>
                  <a:cubicBezTo>
                    <a:pt x="5864" y="10"/>
                    <a:pt x="5844" y="13"/>
                    <a:pt x="5824" y="15"/>
                  </a:cubicBezTo>
                  <a:cubicBezTo>
                    <a:pt x="5639" y="39"/>
                    <a:pt x="5433" y="93"/>
                    <a:pt x="5212" y="174"/>
                  </a:cubicBezTo>
                  <a:cubicBezTo>
                    <a:pt x="5189" y="183"/>
                    <a:pt x="5166" y="191"/>
                    <a:pt x="5142" y="200"/>
                  </a:cubicBezTo>
                  <a:cubicBezTo>
                    <a:pt x="5118" y="210"/>
                    <a:pt x="5094" y="219"/>
                    <a:pt x="5070" y="229"/>
                  </a:cubicBezTo>
                  <a:cubicBezTo>
                    <a:pt x="4719" y="373"/>
                    <a:pt x="4334" y="582"/>
                    <a:pt x="3933" y="848"/>
                  </a:cubicBezTo>
                  <a:cubicBezTo>
                    <a:pt x="3893" y="874"/>
                    <a:pt x="3852" y="902"/>
                    <a:pt x="3812" y="929"/>
                  </a:cubicBezTo>
                  <a:cubicBezTo>
                    <a:pt x="3767" y="960"/>
                    <a:pt x="3723" y="991"/>
                    <a:pt x="3679" y="1023"/>
                  </a:cubicBezTo>
                  <a:cubicBezTo>
                    <a:pt x="3206" y="1360"/>
                    <a:pt x="2718" y="1771"/>
                    <a:pt x="2245" y="2245"/>
                  </a:cubicBezTo>
                  <a:cubicBezTo>
                    <a:pt x="1771" y="2718"/>
                    <a:pt x="1360" y="3206"/>
                    <a:pt x="1023" y="3679"/>
                  </a:cubicBezTo>
                  <a:cubicBezTo>
                    <a:pt x="991" y="3723"/>
                    <a:pt x="960" y="3768"/>
                    <a:pt x="929" y="3812"/>
                  </a:cubicBezTo>
                  <a:cubicBezTo>
                    <a:pt x="902" y="3852"/>
                    <a:pt x="874" y="3893"/>
                    <a:pt x="848" y="3933"/>
                  </a:cubicBezTo>
                  <a:cubicBezTo>
                    <a:pt x="582" y="4334"/>
                    <a:pt x="373" y="4719"/>
                    <a:pt x="229" y="5070"/>
                  </a:cubicBezTo>
                  <a:cubicBezTo>
                    <a:pt x="219" y="5094"/>
                    <a:pt x="210" y="5118"/>
                    <a:pt x="200" y="5142"/>
                  </a:cubicBezTo>
                  <a:cubicBezTo>
                    <a:pt x="191" y="5166"/>
                    <a:pt x="183" y="5189"/>
                    <a:pt x="174" y="5212"/>
                  </a:cubicBezTo>
                  <a:cubicBezTo>
                    <a:pt x="93" y="5433"/>
                    <a:pt x="39" y="5639"/>
                    <a:pt x="15" y="5824"/>
                  </a:cubicBezTo>
                  <a:cubicBezTo>
                    <a:pt x="12" y="5844"/>
                    <a:pt x="10" y="5864"/>
                    <a:pt x="8" y="5884"/>
                  </a:cubicBezTo>
                  <a:cubicBezTo>
                    <a:pt x="6" y="5904"/>
                    <a:pt x="5" y="5924"/>
                    <a:pt x="3" y="5943"/>
                  </a:cubicBezTo>
                  <a:cubicBezTo>
                    <a:pt x="2" y="5975"/>
                    <a:pt x="0" y="6006"/>
                    <a:pt x="1" y="6036"/>
                  </a:cubicBezTo>
                  <a:cubicBezTo>
                    <a:pt x="1" y="6131"/>
                    <a:pt x="10" y="6218"/>
                    <a:pt x="30" y="6297"/>
                  </a:cubicBezTo>
                  <a:cubicBezTo>
                    <a:pt x="38" y="6304"/>
                    <a:pt x="46" y="6311"/>
                    <a:pt x="54" y="6318"/>
                  </a:cubicBezTo>
                  <a:cubicBezTo>
                    <a:pt x="80" y="6340"/>
                    <a:pt x="106" y="6362"/>
                    <a:pt x="132" y="6383"/>
                  </a:cubicBezTo>
                  <a:cubicBezTo>
                    <a:pt x="158" y="6404"/>
                    <a:pt x="184" y="6424"/>
                    <a:pt x="211" y="6444"/>
                  </a:cubicBezTo>
                  <a:cubicBezTo>
                    <a:pt x="320" y="6528"/>
                    <a:pt x="432" y="6606"/>
                    <a:pt x="547" y="6679"/>
                  </a:cubicBezTo>
                  <a:cubicBezTo>
                    <a:pt x="524" y="6598"/>
                    <a:pt x="511" y="6511"/>
                    <a:pt x="507" y="6419"/>
                  </a:cubicBezTo>
                  <a:cubicBezTo>
                    <a:pt x="506" y="6399"/>
                    <a:pt x="505" y="6380"/>
                    <a:pt x="505" y="6360"/>
                  </a:cubicBezTo>
                  <a:cubicBezTo>
                    <a:pt x="505" y="6358"/>
                    <a:pt x="505" y="6357"/>
                    <a:pt x="505" y="6356"/>
                  </a:cubicBezTo>
                  <a:cubicBezTo>
                    <a:pt x="505" y="6337"/>
                    <a:pt x="506" y="6318"/>
                    <a:pt x="507" y="6300"/>
                  </a:cubicBezTo>
                  <a:cubicBezTo>
                    <a:pt x="512" y="6147"/>
                    <a:pt x="539" y="5981"/>
                    <a:pt x="586" y="5804"/>
                  </a:cubicBezTo>
                  <a:cubicBezTo>
                    <a:pt x="592" y="5781"/>
                    <a:pt x="599" y="5758"/>
                    <a:pt x="605" y="5735"/>
                  </a:cubicBezTo>
                  <a:cubicBezTo>
                    <a:pt x="612" y="5712"/>
                    <a:pt x="619" y="5688"/>
                    <a:pt x="626" y="5665"/>
                  </a:cubicBezTo>
                  <a:cubicBezTo>
                    <a:pt x="703" y="5418"/>
                    <a:pt x="817" y="5153"/>
                    <a:pt x="962" y="4876"/>
                  </a:cubicBezTo>
                  <a:cubicBezTo>
                    <a:pt x="979" y="4845"/>
                    <a:pt x="996" y="4813"/>
                    <a:pt x="1013" y="4781"/>
                  </a:cubicBezTo>
                  <a:cubicBezTo>
                    <a:pt x="1031" y="4748"/>
                    <a:pt x="1050" y="4715"/>
                    <a:pt x="1069" y="4682"/>
                  </a:cubicBezTo>
                  <a:cubicBezTo>
                    <a:pt x="1441" y="4031"/>
                    <a:pt x="1982" y="3328"/>
                    <a:pt x="2654" y="2654"/>
                  </a:cubicBezTo>
                  <a:cubicBezTo>
                    <a:pt x="3328" y="1982"/>
                    <a:pt x="4031" y="1441"/>
                    <a:pt x="4682" y="10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0" name="Freeform 12">
              <a:extLst>
                <a:ext uri="{FF2B5EF4-FFF2-40B4-BE49-F238E27FC236}">
                  <a16:creationId xmlns:a16="http://schemas.microsoft.com/office/drawing/2014/main" id="{6967A9C6-FB4D-4270-BB09-0FBE5B7A6E5E}"/>
                </a:ext>
              </a:extLst>
            </p:cNvPr>
            <p:cNvSpPr>
              <a:spLocks/>
            </p:cNvSpPr>
            <p:nvPr/>
          </p:nvSpPr>
          <p:spPr bwMode="auto">
            <a:xfrm>
              <a:off x="5525067" y="2309661"/>
              <a:ext cx="3917703" cy="3936801"/>
            </a:xfrm>
            <a:custGeom>
              <a:avLst/>
              <a:gdLst>
                <a:gd name="T0" fmla="*/ 3424 w 5896"/>
                <a:gd name="T1" fmla="*/ 1876 h 5920"/>
                <a:gd name="T2" fmla="*/ 3633 w 5896"/>
                <a:gd name="T3" fmla="*/ 1712 h 5920"/>
                <a:gd name="T4" fmla="*/ 3808 w 5896"/>
                <a:gd name="T5" fmla="*/ 1582 h 5920"/>
                <a:gd name="T6" fmla="*/ 4916 w 5896"/>
                <a:gd name="T7" fmla="*/ 937 h 5920"/>
                <a:gd name="T8" fmla="*/ 5004 w 5896"/>
                <a:gd name="T9" fmla="*/ 901 h 5920"/>
                <a:gd name="T10" fmla="*/ 5086 w 5896"/>
                <a:gd name="T11" fmla="*/ 873 h 5920"/>
                <a:gd name="T12" fmla="*/ 5614 w 5896"/>
                <a:gd name="T13" fmla="*/ 767 h 5920"/>
                <a:gd name="T14" fmla="*/ 5621 w 5896"/>
                <a:gd name="T15" fmla="*/ 767 h 5920"/>
                <a:gd name="T16" fmla="*/ 5682 w 5896"/>
                <a:gd name="T17" fmla="*/ 770 h 5920"/>
                <a:gd name="T18" fmla="*/ 5742 w 5896"/>
                <a:gd name="T19" fmla="*/ 777 h 5920"/>
                <a:gd name="T20" fmla="*/ 5896 w 5896"/>
                <a:gd name="T21" fmla="*/ 821 h 5920"/>
                <a:gd name="T22" fmla="*/ 5826 w 5896"/>
                <a:gd name="T23" fmla="*/ 476 h 5920"/>
                <a:gd name="T24" fmla="*/ 5792 w 5896"/>
                <a:gd name="T25" fmla="*/ 349 h 5920"/>
                <a:gd name="T26" fmla="*/ 5752 w 5896"/>
                <a:gd name="T27" fmla="*/ 214 h 5920"/>
                <a:gd name="T28" fmla="*/ 5714 w 5896"/>
                <a:gd name="T29" fmla="*/ 97 h 5920"/>
                <a:gd name="T30" fmla="*/ 5444 w 5896"/>
                <a:gd name="T31" fmla="*/ 9 h 5920"/>
                <a:gd name="T32" fmla="*/ 5385 w 5896"/>
                <a:gd name="T33" fmla="*/ 3 h 5920"/>
                <a:gd name="T34" fmla="*/ 5324 w 5896"/>
                <a:gd name="T35" fmla="*/ 1 h 5920"/>
                <a:gd name="T36" fmla="*/ 5312 w 5896"/>
                <a:gd name="T37" fmla="*/ 0 h 5920"/>
                <a:gd name="T38" fmla="*/ 5307 w 5896"/>
                <a:gd name="T39" fmla="*/ 0 h 5920"/>
                <a:gd name="T40" fmla="*/ 4713 w 5896"/>
                <a:gd name="T41" fmla="*/ 112 h 5920"/>
                <a:gd name="T42" fmla="*/ 4636 w 5896"/>
                <a:gd name="T43" fmla="*/ 137 h 5920"/>
                <a:gd name="T44" fmla="*/ 4555 w 5896"/>
                <a:gd name="T45" fmla="*/ 168 h 5920"/>
                <a:gd name="T46" fmla="*/ 3688 w 5896"/>
                <a:gd name="T47" fmla="*/ 607 h 5920"/>
                <a:gd name="T48" fmla="*/ 3564 w 5896"/>
                <a:gd name="T49" fmla="*/ 684 h 5920"/>
                <a:gd name="T50" fmla="*/ 3430 w 5896"/>
                <a:gd name="T51" fmla="*/ 773 h 5920"/>
                <a:gd name="T52" fmla="*/ 1980 w 5896"/>
                <a:gd name="T53" fmla="*/ 1980 h 5920"/>
                <a:gd name="T54" fmla="*/ 774 w 5896"/>
                <a:gd name="T55" fmla="*/ 3429 h 5920"/>
                <a:gd name="T56" fmla="*/ 685 w 5896"/>
                <a:gd name="T57" fmla="*/ 3563 h 5920"/>
                <a:gd name="T58" fmla="*/ 607 w 5896"/>
                <a:gd name="T59" fmla="*/ 3688 h 5920"/>
                <a:gd name="T60" fmla="*/ 169 w 5896"/>
                <a:gd name="T61" fmla="*/ 4554 h 5920"/>
                <a:gd name="T62" fmla="*/ 137 w 5896"/>
                <a:gd name="T63" fmla="*/ 4635 h 5920"/>
                <a:gd name="T64" fmla="*/ 113 w 5896"/>
                <a:gd name="T65" fmla="*/ 4712 h 5920"/>
                <a:gd name="T66" fmla="*/ 1 w 5896"/>
                <a:gd name="T67" fmla="*/ 5311 h 5920"/>
                <a:gd name="T68" fmla="*/ 2 w 5896"/>
                <a:gd name="T69" fmla="*/ 5323 h 5920"/>
                <a:gd name="T70" fmla="*/ 4 w 5896"/>
                <a:gd name="T71" fmla="*/ 5384 h 5920"/>
                <a:gd name="T72" fmla="*/ 10 w 5896"/>
                <a:gd name="T73" fmla="*/ 5443 h 5920"/>
                <a:gd name="T74" fmla="*/ 121 w 5896"/>
                <a:gd name="T75" fmla="*/ 5747 h 5920"/>
                <a:gd name="T76" fmla="*/ 150 w 5896"/>
                <a:gd name="T77" fmla="*/ 5756 h 5920"/>
                <a:gd name="T78" fmla="*/ 291 w 5896"/>
                <a:gd name="T79" fmla="*/ 5800 h 5920"/>
                <a:gd name="T80" fmla="*/ 425 w 5896"/>
                <a:gd name="T81" fmla="*/ 5836 h 5920"/>
                <a:gd name="T82" fmla="*/ 835 w 5896"/>
                <a:gd name="T83" fmla="*/ 5920 h 5920"/>
                <a:gd name="T84" fmla="*/ 778 w 5896"/>
                <a:gd name="T85" fmla="*/ 5741 h 5920"/>
                <a:gd name="T86" fmla="*/ 771 w 5896"/>
                <a:gd name="T87" fmla="*/ 5681 h 5920"/>
                <a:gd name="T88" fmla="*/ 769 w 5896"/>
                <a:gd name="T89" fmla="*/ 5620 h 5920"/>
                <a:gd name="T90" fmla="*/ 768 w 5896"/>
                <a:gd name="T91" fmla="*/ 5612 h 5920"/>
                <a:gd name="T92" fmla="*/ 874 w 5896"/>
                <a:gd name="T93" fmla="*/ 5084 h 5920"/>
                <a:gd name="T94" fmla="*/ 903 w 5896"/>
                <a:gd name="T95" fmla="*/ 5002 h 5920"/>
                <a:gd name="T96" fmla="*/ 938 w 5896"/>
                <a:gd name="T97" fmla="*/ 4915 h 5920"/>
                <a:gd name="T98" fmla="*/ 1583 w 5896"/>
                <a:gd name="T99" fmla="*/ 3807 h 5920"/>
                <a:gd name="T100" fmla="*/ 1713 w 5896"/>
                <a:gd name="T101" fmla="*/ 3632 h 5920"/>
                <a:gd name="T102" fmla="*/ 1877 w 5896"/>
                <a:gd name="T103" fmla="*/ 3424 h 5920"/>
                <a:gd name="T104" fmla="*/ 2610 w 5896"/>
                <a:gd name="T105" fmla="*/ 2610 h 5920"/>
                <a:gd name="T106" fmla="*/ 3424 w 5896"/>
                <a:gd name="T107" fmla="*/ 1876 h 5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96" h="5920">
                  <a:moveTo>
                    <a:pt x="3424" y="1876"/>
                  </a:moveTo>
                  <a:cubicBezTo>
                    <a:pt x="3494" y="1819"/>
                    <a:pt x="3564" y="1765"/>
                    <a:pt x="3633" y="1712"/>
                  </a:cubicBezTo>
                  <a:cubicBezTo>
                    <a:pt x="3692" y="1667"/>
                    <a:pt x="3750" y="1624"/>
                    <a:pt x="3808" y="1582"/>
                  </a:cubicBezTo>
                  <a:cubicBezTo>
                    <a:pt x="4204" y="1295"/>
                    <a:pt x="4581" y="1076"/>
                    <a:pt x="4916" y="937"/>
                  </a:cubicBezTo>
                  <a:cubicBezTo>
                    <a:pt x="4945" y="925"/>
                    <a:pt x="4975" y="912"/>
                    <a:pt x="5004" y="901"/>
                  </a:cubicBezTo>
                  <a:cubicBezTo>
                    <a:pt x="5032" y="891"/>
                    <a:pt x="5058" y="882"/>
                    <a:pt x="5086" y="873"/>
                  </a:cubicBezTo>
                  <a:cubicBezTo>
                    <a:pt x="5281" y="806"/>
                    <a:pt x="5460" y="768"/>
                    <a:pt x="5614" y="767"/>
                  </a:cubicBezTo>
                  <a:cubicBezTo>
                    <a:pt x="5616" y="767"/>
                    <a:pt x="5618" y="767"/>
                    <a:pt x="5621" y="767"/>
                  </a:cubicBezTo>
                  <a:cubicBezTo>
                    <a:pt x="5642" y="768"/>
                    <a:pt x="5662" y="768"/>
                    <a:pt x="5682" y="770"/>
                  </a:cubicBezTo>
                  <a:cubicBezTo>
                    <a:pt x="5702" y="771"/>
                    <a:pt x="5722" y="774"/>
                    <a:pt x="5742" y="777"/>
                  </a:cubicBezTo>
                  <a:cubicBezTo>
                    <a:pt x="5797" y="785"/>
                    <a:pt x="5849" y="800"/>
                    <a:pt x="5896" y="821"/>
                  </a:cubicBezTo>
                  <a:cubicBezTo>
                    <a:pt x="5877" y="705"/>
                    <a:pt x="5854" y="590"/>
                    <a:pt x="5826" y="476"/>
                  </a:cubicBezTo>
                  <a:cubicBezTo>
                    <a:pt x="5816" y="433"/>
                    <a:pt x="5804" y="391"/>
                    <a:pt x="5792" y="349"/>
                  </a:cubicBezTo>
                  <a:cubicBezTo>
                    <a:pt x="5779" y="304"/>
                    <a:pt x="5766" y="259"/>
                    <a:pt x="5752" y="214"/>
                  </a:cubicBezTo>
                  <a:cubicBezTo>
                    <a:pt x="5740" y="175"/>
                    <a:pt x="5728" y="136"/>
                    <a:pt x="5714" y="97"/>
                  </a:cubicBezTo>
                  <a:cubicBezTo>
                    <a:pt x="5639" y="51"/>
                    <a:pt x="5549" y="22"/>
                    <a:pt x="5444" y="9"/>
                  </a:cubicBezTo>
                  <a:cubicBezTo>
                    <a:pt x="5425" y="6"/>
                    <a:pt x="5405" y="4"/>
                    <a:pt x="5385" y="3"/>
                  </a:cubicBezTo>
                  <a:cubicBezTo>
                    <a:pt x="5365" y="1"/>
                    <a:pt x="5345" y="1"/>
                    <a:pt x="5324" y="1"/>
                  </a:cubicBezTo>
                  <a:cubicBezTo>
                    <a:pt x="5320" y="1"/>
                    <a:pt x="5316" y="0"/>
                    <a:pt x="5312" y="0"/>
                  </a:cubicBezTo>
                  <a:cubicBezTo>
                    <a:pt x="5311" y="0"/>
                    <a:pt x="5309" y="0"/>
                    <a:pt x="5307" y="0"/>
                  </a:cubicBezTo>
                  <a:cubicBezTo>
                    <a:pt x="5135" y="0"/>
                    <a:pt x="4934" y="40"/>
                    <a:pt x="4713" y="112"/>
                  </a:cubicBezTo>
                  <a:cubicBezTo>
                    <a:pt x="4687" y="120"/>
                    <a:pt x="4662" y="127"/>
                    <a:pt x="4636" y="137"/>
                  </a:cubicBezTo>
                  <a:cubicBezTo>
                    <a:pt x="4610" y="146"/>
                    <a:pt x="4582" y="158"/>
                    <a:pt x="4555" y="168"/>
                  </a:cubicBezTo>
                  <a:cubicBezTo>
                    <a:pt x="4287" y="270"/>
                    <a:pt x="3995" y="418"/>
                    <a:pt x="3688" y="607"/>
                  </a:cubicBezTo>
                  <a:cubicBezTo>
                    <a:pt x="3647" y="632"/>
                    <a:pt x="3606" y="657"/>
                    <a:pt x="3564" y="684"/>
                  </a:cubicBezTo>
                  <a:cubicBezTo>
                    <a:pt x="3520" y="713"/>
                    <a:pt x="3475" y="743"/>
                    <a:pt x="3430" y="773"/>
                  </a:cubicBezTo>
                  <a:cubicBezTo>
                    <a:pt x="2956" y="1092"/>
                    <a:pt x="2460" y="1499"/>
                    <a:pt x="1980" y="1980"/>
                  </a:cubicBezTo>
                  <a:cubicBezTo>
                    <a:pt x="1500" y="2459"/>
                    <a:pt x="1093" y="2956"/>
                    <a:pt x="774" y="3429"/>
                  </a:cubicBezTo>
                  <a:cubicBezTo>
                    <a:pt x="744" y="3474"/>
                    <a:pt x="714" y="3519"/>
                    <a:pt x="685" y="3563"/>
                  </a:cubicBezTo>
                  <a:cubicBezTo>
                    <a:pt x="658" y="3605"/>
                    <a:pt x="633" y="3646"/>
                    <a:pt x="607" y="3688"/>
                  </a:cubicBezTo>
                  <a:cubicBezTo>
                    <a:pt x="419" y="3994"/>
                    <a:pt x="271" y="4287"/>
                    <a:pt x="169" y="4554"/>
                  </a:cubicBezTo>
                  <a:cubicBezTo>
                    <a:pt x="158" y="4581"/>
                    <a:pt x="147" y="4609"/>
                    <a:pt x="137" y="4635"/>
                  </a:cubicBezTo>
                  <a:cubicBezTo>
                    <a:pt x="128" y="4661"/>
                    <a:pt x="121" y="4686"/>
                    <a:pt x="113" y="4712"/>
                  </a:cubicBezTo>
                  <a:cubicBezTo>
                    <a:pt x="40" y="4935"/>
                    <a:pt x="0" y="5138"/>
                    <a:pt x="1" y="5311"/>
                  </a:cubicBezTo>
                  <a:cubicBezTo>
                    <a:pt x="1" y="5315"/>
                    <a:pt x="1" y="5319"/>
                    <a:pt x="2" y="5323"/>
                  </a:cubicBezTo>
                  <a:cubicBezTo>
                    <a:pt x="2" y="5344"/>
                    <a:pt x="2" y="5364"/>
                    <a:pt x="4" y="5384"/>
                  </a:cubicBezTo>
                  <a:cubicBezTo>
                    <a:pt x="5" y="5404"/>
                    <a:pt x="7" y="5424"/>
                    <a:pt x="10" y="5443"/>
                  </a:cubicBezTo>
                  <a:cubicBezTo>
                    <a:pt x="25" y="5564"/>
                    <a:pt x="62" y="5665"/>
                    <a:pt x="121" y="5747"/>
                  </a:cubicBezTo>
                  <a:cubicBezTo>
                    <a:pt x="131" y="5750"/>
                    <a:pt x="140" y="5753"/>
                    <a:pt x="150" y="5756"/>
                  </a:cubicBezTo>
                  <a:cubicBezTo>
                    <a:pt x="197" y="5771"/>
                    <a:pt x="244" y="5786"/>
                    <a:pt x="291" y="5800"/>
                  </a:cubicBezTo>
                  <a:cubicBezTo>
                    <a:pt x="336" y="5813"/>
                    <a:pt x="380" y="5825"/>
                    <a:pt x="425" y="5836"/>
                  </a:cubicBezTo>
                  <a:cubicBezTo>
                    <a:pt x="560" y="5870"/>
                    <a:pt x="697" y="5898"/>
                    <a:pt x="835" y="5920"/>
                  </a:cubicBezTo>
                  <a:cubicBezTo>
                    <a:pt x="807" y="5866"/>
                    <a:pt x="788" y="5806"/>
                    <a:pt x="778" y="5741"/>
                  </a:cubicBezTo>
                  <a:cubicBezTo>
                    <a:pt x="775" y="5721"/>
                    <a:pt x="773" y="5701"/>
                    <a:pt x="771" y="5681"/>
                  </a:cubicBezTo>
                  <a:cubicBezTo>
                    <a:pt x="769" y="5661"/>
                    <a:pt x="769" y="5641"/>
                    <a:pt x="769" y="5620"/>
                  </a:cubicBezTo>
                  <a:cubicBezTo>
                    <a:pt x="769" y="5617"/>
                    <a:pt x="768" y="5615"/>
                    <a:pt x="768" y="5612"/>
                  </a:cubicBezTo>
                  <a:cubicBezTo>
                    <a:pt x="769" y="5459"/>
                    <a:pt x="807" y="5280"/>
                    <a:pt x="874" y="5084"/>
                  </a:cubicBezTo>
                  <a:cubicBezTo>
                    <a:pt x="884" y="5057"/>
                    <a:pt x="892" y="5030"/>
                    <a:pt x="903" y="5002"/>
                  </a:cubicBezTo>
                  <a:cubicBezTo>
                    <a:pt x="913" y="4974"/>
                    <a:pt x="926" y="4944"/>
                    <a:pt x="938" y="4915"/>
                  </a:cubicBezTo>
                  <a:cubicBezTo>
                    <a:pt x="1077" y="4580"/>
                    <a:pt x="1296" y="4203"/>
                    <a:pt x="1583" y="3807"/>
                  </a:cubicBezTo>
                  <a:cubicBezTo>
                    <a:pt x="1625" y="3749"/>
                    <a:pt x="1668" y="3691"/>
                    <a:pt x="1713" y="3632"/>
                  </a:cubicBezTo>
                  <a:cubicBezTo>
                    <a:pt x="1765" y="3563"/>
                    <a:pt x="1820" y="3493"/>
                    <a:pt x="1877" y="3424"/>
                  </a:cubicBezTo>
                  <a:cubicBezTo>
                    <a:pt x="2095" y="3154"/>
                    <a:pt x="2341" y="2880"/>
                    <a:pt x="2610" y="2610"/>
                  </a:cubicBezTo>
                  <a:cubicBezTo>
                    <a:pt x="2881" y="2340"/>
                    <a:pt x="3155" y="2095"/>
                    <a:pt x="3424" y="187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1" name="Freeform 13">
              <a:extLst>
                <a:ext uri="{FF2B5EF4-FFF2-40B4-BE49-F238E27FC236}">
                  <a16:creationId xmlns:a16="http://schemas.microsoft.com/office/drawing/2014/main" id="{85D81FB3-8A4F-49F2-A164-8A0BF5C67920}"/>
                </a:ext>
              </a:extLst>
            </p:cNvPr>
            <p:cNvSpPr>
              <a:spLocks/>
            </p:cNvSpPr>
            <p:nvPr/>
          </p:nvSpPr>
          <p:spPr bwMode="auto">
            <a:xfrm>
              <a:off x="6849611" y="3634205"/>
              <a:ext cx="2613621" cy="2625898"/>
            </a:xfrm>
            <a:custGeom>
              <a:avLst/>
              <a:gdLst>
                <a:gd name="T0" fmla="*/ 3902 w 3934"/>
                <a:gd name="T1" fmla="*/ 32 h 3950"/>
                <a:gd name="T2" fmla="*/ 3727 w 3934"/>
                <a:gd name="T3" fmla="*/ 0 h 3950"/>
                <a:gd name="T4" fmla="*/ 3687 w 3934"/>
                <a:gd name="T5" fmla="*/ 3 h 3950"/>
                <a:gd name="T6" fmla="*/ 3616 w 3934"/>
                <a:gd name="T7" fmla="*/ 8 h 3950"/>
                <a:gd name="T8" fmla="*/ 3541 w 3934"/>
                <a:gd name="T9" fmla="*/ 21 h 3950"/>
                <a:gd name="T10" fmla="*/ 3005 w 3934"/>
                <a:gd name="T11" fmla="*/ 222 h 3950"/>
                <a:gd name="T12" fmla="*/ 2891 w 3934"/>
                <a:gd name="T13" fmla="*/ 283 h 3950"/>
                <a:gd name="T14" fmla="*/ 2768 w 3934"/>
                <a:gd name="T15" fmla="*/ 353 h 3950"/>
                <a:gd name="T16" fmla="*/ 1424 w 3934"/>
                <a:gd name="T17" fmla="*/ 1424 h 3950"/>
                <a:gd name="T18" fmla="*/ 353 w 3934"/>
                <a:gd name="T19" fmla="*/ 2768 h 3950"/>
                <a:gd name="T20" fmla="*/ 283 w 3934"/>
                <a:gd name="T21" fmla="*/ 2891 h 3950"/>
                <a:gd name="T22" fmla="*/ 222 w 3934"/>
                <a:gd name="T23" fmla="*/ 3005 h 3950"/>
                <a:gd name="T24" fmla="*/ 22 w 3934"/>
                <a:gd name="T25" fmla="*/ 3540 h 3950"/>
                <a:gd name="T26" fmla="*/ 8 w 3934"/>
                <a:gd name="T27" fmla="*/ 3616 h 3950"/>
                <a:gd name="T28" fmla="*/ 3 w 3934"/>
                <a:gd name="T29" fmla="*/ 3686 h 3950"/>
                <a:gd name="T30" fmla="*/ 1 w 3934"/>
                <a:gd name="T31" fmla="*/ 3727 h 3950"/>
                <a:gd name="T32" fmla="*/ 32 w 3934"/>
                <a:gd name="T33" fmla="*/ 3902 h 3950"/>
                <a:gd name="T34" fmla="*/ 56 w 3934"/>
                <a:gd name="T35" fmla="*/ 3950 h 3950"/>
                <a:gd name="T36" fmla="*/ 79 w 3934"/>
                <a:gd name="T37" fmla="*/ 3947 h 3950"/>
                <a:gd name="T38" fmla="*/ 282 w 3934"/>
                <a:gd name="T39" fmla="*/ 3917 h 3950"/>
                <a:gd name="T40" fmla="*/ 1127 w 3934"/>
                <a:gd name="T41" fmla="*/ 3685 h 3950"/>
                <a:gd name="T42" fmla="*/ 1020 w 3934"/>
                <a:gd name="T43" fmla="*/ 3624 h 3950"/>
                <a:gd name="T44" fmla="*/ 959 w 3934"/>
                <a:gd name="T45" fmla="*/ 3517 h 3950"/>
                <a:gd name="T46" fmla="*/ 946 w 3934"/>
                <a:gd name="T47" fmla="*/ 3454 h 3950"/>
                <a:gd name="T48" fmla="*/ 943 w 3934"/>
                <a:gd name="T49" fmla="*/ 3410 h 3950"/>
                <a:gd name="T50" fmla="*/ 945 w 3934"/>
                <a:gd name="T51" fmla="*/ 3382 h 3950"/>
                <a:gd name="T52" fmla="*/ 1060 w 3934"/>
                <a:gd name="T53" fmla="*/ 2995 h 3950"/>
                <a:gd name="T54" fmla="*/ 1123 w 3934"/>
                <a:gd name="T55" fmla="*/ 2873 h 3950"/>
                <a:gd name="T56" fmla="*/ 1207 w 3934"/>
                <a:gd name="T57" fmla="*/ 2729 h 3950"/>
                <a:gd name="T58" fmla="*/ 1890 w 3934"/>
                <a:gd name="T59" fmla="*/ 1890 h 3950"/>
                <a:gd name="T60" fmla="*/ 2729 w 3934"/>
                <a:gd name="T61" fmla="*/ 1207 h 3950"/>
                <a:gd name="T62" fmla="*/ 2873 w 3934"/>
                <a:gd name="T63" fmla="*/ 1123 h 3950"/>
                <a:gd name="T64" fmla="*/ 2994 w 3934"/>
                <a:gd name="T65" fmla="*/ 1061 h 3950"/>
                <a:gd name="T66" fmla="*/ 3382 w 3934"/>
                <a:gd name="T67" fmla="*/ 946 h 3950"/>
                <a:gd name="T68" fmla="*/ 3410 w 3934"/>
                <a:gd name="T69" fmla="*/ 943 h 3950"/>
                <a:gd name="T70" fmla="*/ 3454 w 3934"/>
                <a:gd name="T71" fmla="*/ 947 h 3950"/>
                <a:gd name="T72" fmla="*/ 3517 w 3934"/>
                <a:gd name="T73" fmla="*/ 959 h 3950"/>
                <a:gd name="T74" fmla="*/ 3624 w 3934"/>
                <a:gd name="T75" fmla="*/ 1020 h 3950"/>
                <a:gd name="T76" fmla="*/ 3679 w 3934"/>
                <a:gd name="T77" fmla="*/ 1109 h 3950"/>
                <a:gd name="T78" fmla="*/ 3893 w 3934"/>
                <a:gd name="T79" fmla="*/ 331 h 3950"/>
                <a:gd name="T80" fmla="*/ 3924 w 3934"/>
                <a:gd name="T81" fmla="*/ 131 h 3950"/>
                <a:gd name="T82" fmla="*/ 3934 w 3934"/>
                <a:gd name="T83" fmla="*/ 47 h 3950"/>
                <a:gd name="T84" fmla="*/ 3902 w 3934"/>
                <a:gd name="T85" fmla="*/ 32 h 3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34" h="3950">
                  <a:moveTo>
                    <a:pt x="3902" y="32"/>
                  </a:moveTo>
                  <a:cubicBezTo>
                    <a:pt x="3854" y="12"/>
                    <a:pt x="3797" y="1"/>
                    <a:pt x="3727" y="0"/>
                  </a:cubicBezTo>
                  <a:cubicBezTo>
                    <a:pt x="3714" y="0"/>
                    <a:pt x="3700" y="2"/>
                    <a:pt x="3687" y="3"/>
                  </a:cubicBezTo>
                  <a:cubicBezTo>
                    <a:pt x="3664" y="4"/>
                    <a:pt x="3641" y="5"/>
                    <a:pt x="3616" y="8"/>
                  </a:cubicBezTo>
                  <a:cubicBezTo>
                    <a:pt x="3592" y="12"/>
                    <a:pt x="3567" y="16"/>
                    <a:pt x="3541" y="21"/>
                  </a:cubicBezTo>
                  <a:cubicBezTo>
                    <a:pt x="3386" y="53"/>
                    <a:pt x="3204" y="121"/>
                    <a:pt x="3005" y="222"/>
                  </a:cubicBezTo>
                  <a:cubicBezTo>
                    <a:pt x="2967" y="241"/>
                    <a:pt x="2929" y="262"/>
                    <a:pt x="2891" y="283"/>
                  </a:cubicBezTo>
                  <a:cubicBezTo>
                    <a:pt x="2851" y="305"/>
                    <a:pt x="2810" y="329"/>
                    <a:pt x="2768" y="353"/>
                  </a:cubicBezTo>
                  <a:cubicBezTo>
                    <a:pt x="2350" y="601"/>
                    <a:pt x="1878" y="968"/>
                    <a:pt x="1424" y="1424"/>
                  </a:cubicBezTo>
                  <a:cubicBezTo>
                    <a:pt x="967" y="1878"/>
                    <a:pt x="601" y="2350"/>
                    <a:pt x="353" y="2768"/>
                  </a:cubicBezTo>
                  <a:cubicBezTo>
                    <a:pt x="329" y="2810"/>
                    <a:pt x="305" y="2851"/>
                    <a:pt x="283" y="2891"/>
                  </a:cubicBezTo>
                  <a:cubicBezTo>
                    <a:pt x="261" y="2930"/>
                    <a:pt x="241" y="2968"/>
                    <a:pt x="222" y="3005"/>
                  </a:cubicBezTo>
                  <a:cubicBezTo>
                    <a:pt x="121" y="3204"/>
                    <a:pt x="53" y="3386"/>
                    <a:pt x="22" y="3540"/>
                  </a:cubicBezTo>
                  <a:cubicBezTo>
                    <a:pt x="16" y="3566"/>
                    <a:pt x="12" y="3592"/>
                    <a:pt x="8" y="3616"/>
                  </a:cubicBezTo>
                  <a:cubicBezTo>
                    <a:pt x="5" y="3641"/>
                    <a:pt x="4" y="3664"/>
                    <a:pt x="3" y="3686"/>
                  </a:cubicBezTo>
                  <a:cubicBezTo>
                    <a:pt x="2" y="3700"/>
                    <a:pt x="0" y="3714"/>
                    <a:pt x="1" y="3727"/>
                  </a:cubicBezTo>
                  <a:cubicBezTo>
                    <a:pt x="1" y="3797"/>
                    <a:pt x="12" y="3854"/>
                    <a:pt x="32" y="3902"/>
                  </a:cubicBezTo>
                  <a:cubicBezTo>
                    <a:pt x="39" y="3919"/>
                    <a:pt x="47" y="3935"/>
                    <a:pt x="56" y="3950"/>
                  </a:cubicBezTo>
                  <a:cubicBezTo>
                    <a:pt x="64" y="3949"/>
                    <a:pt x="71" y="3948"/>
                    <a:pt x="79" y="3947"/>
                  </a:cubicBezTo>
                  <a:cubicBezTo>
                    <a:pt x="147" y="3939"/>
                    <a:pt x="214" y="3929"/>
                    <a:pt x="282" y="3917"/>
                  </a:cubicBezTo>
                  <a:cubicBezTo>
                    <a:pt x="569" y="3868"/>
                    <a:pt x="852" y="3791"/>
                    <a:pt x="1127" y="3685"/>
                  </a:cubicBezTo>
                  <a:cubicBezTo>
                    <a:pt x="1087" y="3673"/>
                    <a:pt x="1050" y="3653"/>
                    <a:pt x="1020" y="3624"/>
                  </a:cubicBezTo>
                  <a:cubicBezTo>
                    <a:pt x="990" y="3594"/>
                    <a:pt x="971" y="3557"/>
                    <a:pt x="959" y="3517"/>
                  </a:cubicBezTo>
                  <a:cubicBezTo>
                    <a:pt x="953" y="3497"/>
                    <a:pt x="949" y="3476"/>
                    <a:pt x="946" y="3454"/>
                  </a:cubicBezTo>
                  <a:cubicBezTo>
                    <a:pt x="945" y="3440"/>
                    <a:pt x="943" y="3425"/>
                    <a:pt x="943" y="3410"/>
                  </a:cubicBezTo>
                  <a:cubicBezTo>
                    <a:pt x="944" y="3401"/>
                    <a:pt x="945" y="3392"/>
                    <a:pt x="945" y="3382"/>
                  </a:cubicBezTo>
                  <a:cubicBezTo>
                    <a:pt x="952" y="3271"/>
                    <a:pt x="992" y="3140"/>
                    <a:pt x="1060" y="2995"/>
                  </a:cubicBezTo>
                  <a:cubicBezTo>
                    <a:pt x="1079" y="2955"/>
                    <a:pt x="1100" y="2914"/>
                    <a:pt x="1123" y="2873"/>
                  </a:cubicBezTo>
                  <a:cubicBezTo>
                    <a:pt x="1148" y="2826"/>
                    <a:pt x="1176" y="2778"/>
                    <a:pt x="1207" y="2729"/>
                  </a:cubicBezTo>
                  <a:cubicBezTo>
                    <a:pt x="1371" y="2466"/>
                    <a:pt x="1606" y="2176"/>
                    <a:pt x="1890" y="1890"/>
                  </a:cubicBezTo>
                  <a:cubicBezTo>
                    <a:pt x="2176" y="1606"/>
                    <a:pt x="2466" y="1372"/>
                    <a:pt x="2729" y="1207"/>
                  </a:cubicBezTo>
                  <a:cubicBezTo>
                    <a:pt x="2778" y="1176"/>
                    <a:pt x="2825" y="1149"/>
                    <a:pt x="2873" y="1123"/>
                  </a:cubicBezTo>
                  <a:cubicBezTo>
                    <a:pt x="2914" y="1100"/>
                    <a:pt x="2955" y="1079"/>
                    <a:pt x="2994" y="1061"/>
                  </a:cubicBezTo>
                  <a:cubicBezTo>
                    <a:pt x="3140" y="992"/>
                    <a:pt x="3271" y="953"/>
                    <a:pt x="3382" y="946"/>
                  </a:cubicBezTo>
                  <a:cubicBezTo>
                    <a:pt x="3392" y="945"/>
                    <a:pt x="3401" y="944"/>
                    <a:pt x="3410" y="943"/>
                  </a:cubicBezTo>
                  <a:cubicBezTo>
                    <a:pt x="3425" y="943"/>
                    <a:pt x="3440" y="945"/>
                    <a:pt x="3454" y="947"/>
                  </a:cubicBezTo>
                  <a:cubicBezTo>
                    <a:pt x="3476" y="949"/>
                    <a:pt x="3497" y="953"/>
                    <a:pt x="3517" y="959"/>
                  </a:cubicBezTo>
                  <a:cubicBezTo>
                    <a:pt x="3557" y="971"/>
                    <a:pt x="3594" y="990"/>
                    <a:pt x="3624" y="1020"/>
                  </a:cubicBezTo>
                  <a:cubicBezTo>
                    <a:pt x="3649" y="1045"/>
                    <a:pt x="3667" y="1076"/>
                    <a:pt x="3679" y="1109"/>
                  </a:cubicBezTo>
                  <a:cubicBezTo>
                    <a:pt x="3774" y="856"/>
                    <a:pt x="3846" y="595"/>
                    <a:pt x="3893" y="331"/>
                  </a:cubicBezTo>
                  <a:cubicBezTo>
                    <a:pt x="3905" y="265"/>
                    <a:pt x="3915" y="198"/>
                    <a:pt x="3924" y="131"/>
                  </a:cubicBezTo>
                  <a:cubicBezTo>
                    <a:pt x="3928" y="103"/>
                    <a:pt x="3931" y="75"/>
                    <a:pt x="3934" y="47"/>
                  </a:cubicBezTo>
                  <a:cubicBezTo>
                    <a:pt x="3924" y="41"/>
                    <a:pt x="3913" y="37"/>
                    <a:pt x="3902" y="3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sp>
        <p:nvSpPr>
          <p:cNvPr id="8" name="Platshållare för bild 7"/>
          <p:cNvSpPr>
            <a:spLocks noGrp="1"/>
          </p:cNvSpPr>
          <p:nvPr>
            <p:ph type="pic" sz="quarter" idx="15" hasCustomPrompt="1"/>
          </p:nvPr>
        </p:nvSpPr>
        <p:spPr>
          <a:xfrm>
            <a:off x="4584700" y="952575"/>
            <a:ext cx="4156148" cy="3289235"/>
          </a:xfrm>
          <a:prstGeom prst="rect">
            <a:avLst/>
          </a:prstGeom>
        </p:spPr>
        <p:txBody>
          <a:bodyPr/>
          <a:lstStyle>
            <a:lvl1pPr marL="0" indent="0">
              <a:buNone/>
              <a:defRPr/>
            </a:lvl1pPr>
          </a:lstStyle>
          <a:p>
            <a:r>
              <a:rPr lang="sv-SE"/>
              <a:t> </a:t>
            </a:r>
          </a:p>
        </p:txBody>
      </p:sp>
      <p:sp>
        <p:nvSpPr>
          <p:cNvPr id="34" name="Rubrik 33"/>
          <p:cNvSpPr>
            <a:spLocks noGrp="1"/>
          </p:cNvSpPr>
          <p:nvPr>
            <p:ph type="title" hasCustomPrompt="1"/>
          </p:nvPr>
        </p:nvSpPr>
        <p:spPr>
          <a:xfrm>
            <a:off x="380999" y="231140"/>
            <a:ext cx="8370889" cy="793918"/>
          </a:xfrm>
          <a:prstGeom prst="rect">
            <a:avLst/>
          </a:prstGeom>
        </p:spPr>
        <p:txBody>
          <a:bodyPr lIns="0" tIns="0" rIns="0" bIns="0" anchor="t" anchorCtr="0">
            <a:normAutofit/>
          </a:bodyPr>
          <a:lstStyle>
            <a:lvl1pPr algn="l">
              <a:defRPr sz="3600">
                <a:solidFill>
                  <a:schemeClr val="tx1"/>
                </a:solidFill>
                <a:latin typeface="Calibri"/>
                <a:cs typeface="Calibri"/>
              </a:defRPr>
            </a:lvl1pPr>
          </a:lstStyle>
          <a:p>
            <a:r>
              <a:rPr lang="en-GB"/>
              <a:t>Heading</a:t>
            </a:r>
            <a:endParaRPr lang="sv-SE"/>
          </a:p>
        </p:txBody>
      </p:sp>
      <p:sp>
        <p:nvSpPr>
          <p:cNvPr id="21" name="Platshållare för text 2"/>
          <p:cNvSpPr>
            <a:spLocks noGrp="1"/>
          </p:cNvSpPr>
          <p:nvPr>
            <p:ph type="body" sz="quarter" idx="17" hasCustomPrompt="1"/>
          </p:nvPr>
        </p:nvSpPr>
        <p:spPr>
          <a:xfrm>
            <a:off x="381000" y="1238250"/>
            <a:ext cx="4186238" cy="3257612"/>
          </a:xfrm>
          <a:prstGeom prst="rect">
            <a:avLst/>
          </a:prstGeom>
        </p:spPr>
        <p:txBody>
          <a:bodyPr lIns="0" tIns="0" rIns="0" bIns="0"/>
          <a:lstStyle>
            <a:lvl1pPr marL="190500" indent="-190500">
              <a:spcBef>
                <a:spcPts val="50"/>
              </a:spcBef>
              <a:defRPr sz="2000"/>
            </a:lvl1pPr>
            <a:lvl2pPr marL="190500" indent="254000">
              <a:spcBef>
                <a:spcPts val="50"/>
              </a:spcBef>
              <a:buFont typeface="Lucida Grande"/>
              <a:buChar char="–"/>
              <a:defRPr sz="2000"/>
            </a:lvl2pPr>
            <a:lvl3pPr marL="571500" indent="-254000">
              <a:spcBef>
                <a:spcPts val="50"/>
              </a:spcBef>
              <a:buFont typeface="Lucida Grande"/>
              <a:buChar char="–"/>
              <a:defRPr sz="1800"/>
            </a:lvl3pPr>
            <a:lvl4pPr marL="698500" indent="-254000">
              <a:spcBef>
                <a:spcPts val="50"/>
              </a:spcBef>
              <a:buFont typeface="Lucida Grande"/>
              <a:buChar char="–"/>
              <a:defRPr sz="1800"/>
            </a:lvl4pPr>
            <a:lvl5pPr marL="825500" indent="-254000">
              <a:spcBef>
                <a:spcPts val="50"/>
              </a:spcBef>
              <a:buFont typeface="Lucida Grande"/>
              <a:buChar char="–"/>
              <a:defRPr sz="1800"/>
            </a:lvl5pPr>
          </a:lstStyle>
          <a:p>
            <a:pPr lvl="0"/>
            <a:r>
              <a:rPr lang="en-GB" noProof="0"/>
              <a:t>Level 1</a:t>
            </a:r>
          </a:p>
          <a:p>
            <a:pPr lvl="1"/>
            <a:r>
              <a:rPr lang="en-GB" noProof="0"/>
              <a:t>Level 2</a:t>
            </a:r>
          </a:p>
          <a:p>
            <a:pPr lvl="2"/>
            <a:r>
              <a:rPr lang="en-GB" noProof="0"/>
              <a:t>Level 3</a:t>
            </a:r>
          </a:p>
          <a:p>
            <a:pPr lvl="3"/>
            <a:r>
              <a:rPr lang="en-GB" noProof="0"/>
              <a:t>Level 4</a:t>
            </a:r>
          </a:p>
          <a:p>
            <a:pPr lvl="4"/>
            <a:r>
              <a:rPr lang="en-GB" noProof="0"/>
              <a:t>Level 5</a:t>
            </a:r>
          </a:p>
        </p:txBody>
      </p:sp>
      <p:pic>
        <p:nvPicPr>
          <p:cNvPr id="33" name="Bildobjekt 3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0201" y="4590290"/>
            <a:ext cx="850195" cy="307734"/>
          </a:xfrm>
          <a:prstGeom prst="rect">
            <a:avLst/>
          </a:prstGeom>
        </p:spPr>
      </p:pic>
      <p:sp>
        <p:nvSpPr>
          <p:cNvPr id="35" name="Platshållare för sidfot 4">
            <a:extLst>
              <a:ext uri="{FF2B5EF4-FFF2-40B4-BE49-F238E27FC236}">
                <a16:creationId xmlns:a16="http://schemas.microsoft.com/office/drawing/2014/main" id="{1AE47823-13BB-41B4-906A-1E7095218F39}"/>
              </a:ext>
            </a:extLst>
          </p:cNvPr>
          <p:cNvSpPr>
            <a:spLocks noGrp="1"/>
          </p:cNvSpPr>
          <p:nvPr>
            <p:ph type="ftr" sz="quarter" idx="11"/>
          </p:nvPr>
        </p:nvSpPr>
        <p:spPr>
          <a:xfrm>
            <a:off x="5824413" y="4483997"/>
            <a:ext cx="2509889" cy="382813"/>
          </a:xfrm>
          <a:prstGeom prst="rect">
            <a:avLst/>
          </a:prstGeom>
        </p:spPr>
        <p:txBody>
          <a:bodyPr lIns="0" tIns="0" rIns="0" bIns="0" anchor="b" anchorCtr="0"/>
          <a:lstStyle>
            <a:lvl1pPr algn="r">
              <a:defRPr sz="900" b="0">
                <a:solidFill>
                  <a:schemeClr val="tx1"/>
                </a:solidFill>
              </a:defRPr>
            </a:lvl1pPr>
          </a:lstStyle>
          <a:p>
            <a:r>
              <a:rPr lang="en-US"/>
              <a:t>Stakeholder Forum Agenda - Classification: External</a:t>
            </a:r>
            <a:endParaRPr lang="sv-SE"/>
          </a:p>
        </p:txBody>
      </p:sp>
      <p:sp>
        <p:nvSpPr>
          <p:cNvPr id="38" name="Platshållare för datum 3">
            <a:extLst>
              <a:ext uri="{FF2B5EF4-FFF2-40B4-BE49-F238E27FC236}">
                <a16:creationId xmlns:a16="http://schemas.microsoft.com/office/drawing/2014/main" id="{A2D83CD8-8E25-4C26-9DB9-3677376AED03}"/>
              </a:ext>
            </a:extLst>
          </p:cNvPr>
          <p:cNvSpPr>
            <a:spLocks noGrp="1"/>
          </p:cNvSpPr>
          <p:nvPr>
            <p:ph type="dt" sz="half" idx="10"/>
          </p:nvPr>
        </p:nvSpPr>
        <p:spPr>
          <a:xfrm>
            <a:off x="4734099" y="4495861"/>
            <a:ext cx="1018558" cy="370949"/>
          </a:xfrm>
          <a:prstGeom prst="rect">
            <a:avLst/>
          </a:prstGeom>
        </p:spPr>
        <p:txBody>
          <a:bodyPr lIns="0" tIns="0" rIns="0" bIns="0" anchor="b" anchorCtr="0"/>
          <a:lstStyle>
            <a:lvl1pPr algn="l">
              <a:defRPr sz="900" b="0" i="0" cap="all">
                <a:solidFill>
                  <a:schemeClr val="tx1"/>
                </a:solidFill>
              </a:defRPr>
            </a:lvl1pPr>
          </a:lstStyle>
          <a:p>
            <a:r>
              <a:rPr lang="sv-SE"/>
              <a:t>26/03/2026</a:t>
            </a:r>
          </a:p>
        </p:txBody>
      </p:sp>
      <p:sp>
        <p:nvSpPr>
          <p:cNvPr id="39" name="Platshållare för bildnummer 5">
            <a:extLst>
              <a:ext uri="{FF2B5EF4-FFF2-40B4-BE49-F238E27FC236}">
                <a16:creationId xmlns:a16="http://schemas.microsoft.com/office/drawing/2014/main" id="{8C9913A8-7165-4444-B771-69D3C4AA9391}"/>
              </a:ext>
            </a:extLst>
          </p:cNvPr>
          <p:cNvSpPr>
            <a:spLocks noGrp="1"/>
          </p:cNvSpPr>
          <p:nvPr>
            <p:ph type="sldNum" sz="quarter" idx="12"/>
          </p:nvPr>
        </p:nvSpPr>
        <p:spPr>
          <a:xfrm>
            <a:off x="8383230" y="4469824"/>
            <a:ext cx="368658" cy="396987"/>
          </a:xfrm>
          <a:prstGeom prst="rect">
            <a:avLst/>
          </a:prstGeom>
          <a:noFill/>
        </p:spPr>
        <p:txBody>
          <a:bodyPr lIns="25400" tIns="0" rIns="0" bIns="0" anchor="b" anchorCtr="0"/>
          <a:lstStyle>
            <a:lvl1pPr algn="r">
              <a:defRPr sz="900">
                <a:solidFill>
                  <a:schemeClr val="tx1"/>
                </a:solidFill>
              </a:defRPr>
            </a:lvl1pPr>
          </a:lstStyle>
          <a:p>
            <a:fld id="{394EE31B-4DFC-CF4D-9A18-3F5D4D7C7302}" type="slidenum">
              <a:rPr lang="sv-SE" smtClean="0"/>
              <a:pPr/>
              <a:t>‹#›</a:t>
            </a:fld>
            <a:endParaRPr lang="sv-SE"/>
          </a:p>
        </p:txBody>
      </p:sp>
    </p:spTree>
    <p:extLst>
      <p:ext uri="{BB962C8B-B14F-4D97-AF65-F5344CB8AC3E}">
        <p14:creationId xmlns:p14="http://schemas.microsoft.com/office/powerpoint/2010/main" val="399349116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 preserve="1">
  <p:cSld name="Titel Slide - hvid (med footer)">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265970"/>
            <a:ext cx="7772400" cy="467575"/>
          </a:xfrm>
        </p:spPr>
        <p:txBody>
          <a:bodyPr/>
          <a:lstStyle/>
          <a:p>
            <a:r>
              <a:rPr lang="en-US"/>
              <a:t>Click to edit Master title style</a:t>
            </a:r>
          </a:p>
        </p:txBody>
      </p:sp>
      <p:sp>
        <p:nvSpPr>
          <p:cNvPr id="3" name="Subtitle 2"/>
          <p:cNvSpPr>
            <a:spLocks noGrp="1"/>
          </p:cNvSpPr>
          <p:nvPr>
            <p:ph type="subTitle" idx="1"/>
          </p:nvPr>
        </p:nvSpPr>
        <p:spPr>
          <a:xfrm>
            <a:off x="685800" y="2700339"/>
            <a:ext cx="6400800" cy="1314450"/>
          </a:xfrm>
        </p:spPr>
        <p:txBody>
          <a:bodyPr>
            <a:normAutofit/>
          </a:bodyPr>
          <a:lstStyle>
            <a:lvl1pPr marL="0" indent="0" algn="l">
              <a:buNone/>
              <a:defRPr sz="16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TextBox 6">
            <a:extLst>
              <a:ext uri="{FF2B5EF4-FFF2-40B4-BE49-F238E27FC236}">
                <a16:creationId xmlns:a16="http://schemas.microsoft.com/office/drawing/2014/main" id="{16416EA0-CDE2-48EE-B51C-42034E024A37}"/>
              </a:ext>
            </a:extLst>
          </p:cNvPr>
          <p:cNvSpPr txBox="1"/>
          <p:nvPr userDrawn="1"/>
        </p:nvSpPr>
        <p:spPr>
          <a:xfrm>
            <a:off x="8314543" y="4811035"/>
            <a:ext cx="372257" cy="169277"/>
          </a:xfrm>
          <a:prstGeom prst="rect">
            <a:avLst/>
          </a:prstGeom>
          <a:noFill/>
        </p:spPr>
        <p:txBody>
          <a:bodyPr wrap="square" rtlCol="0">
            <a:spAutoFit/>
          </a:bodyPr>
          <a:lstStyle/>
          <a:p>
            <a:fld id="{790B8636-E7B9-49D1-9120-DEA72B94B27F}" type="slidenum">
              <a:rPr lang="en-US" sz="500" b="1" smtClean="0"/>
              <a:t>‹#›</a:t>
            </a:fld>
            <a:endParaRPr lang="en-US" sz="500" b="1"/>
          </a:p>
        </p:txBody>
      </p:sp>
      <p:sp>
        <p:nvSpPr>
          <p:cNvPr id="8" name="TextBox 7">
            <a:extLst>
              <a:ext uri="{FF2B5EF4-FFF2-40B4-BE49-F238E27FC236}">
                <a16:creationId xmlns:a16="http://schemas.microsoft.com/office/drawing/2014/main" id="{09BD1B62-F8EB-4008-8159-AA92A6198642}"/>
              </a:ext>
            </a:extLst>
          </p:cNvPr>
          <p:cNvSpPr txBox="1"/>
          <p:nvPr userDrawn="1"/>
        </p:nvSpPr>
        <p:spPr>
          <a:xfrm>
            <a:off x="1160533" y="4811035"/>
            <a:ext cx="582531" cy="169277"/>
          </a:xfrm>
          <a:prstGeom prst="rect">
            <a:avLst/>
          </a:prstGeom>
          <a:noFill/>
        </p:spPr>
        <p:txBody>
          <a:bodyPr wrap="square" rtlCol="0">
            <a:spAutoFit/>
          </a:bodyPr>
          <a:lstStyle/>
          <a:p>
            <a:fld id="{B2CD9848-DBA9-4B21-8F2B-FAA437491B3F}" type="datetime3">
              <a:rPr lang="da-DK" sz="500" b="1" smtClean="0"/>
              <a:t>27.03.2026</a:t>
            </a:fld>
            <a:endParaRPr lang="en-US" sz="500" b="1"/>
          </a:p>
        </p:txBody>
      </p:sp>
    </p:spTree>
    <p:extLst>
      <p:ext uri="{BB962C8B-B14F-4D97-AF65-F5344CB8AC3E}">
        <p14:creationId xmlns:p14="http://schemas.microsoft.com/office/powerpoint/2010/main" val="314933579"/>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title" preserve="1">
  <p:cSld name="Titel Slide - Finansrød (med footer)">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265970"/>
            <a:ext cx="7772400" cy="467575"/>
          </a:xfrm>
        </p:spPr>
        <p:txBody>
          <a:bodyPr/>
          <a:lstStyle>
            <a:lvl1pPr>
              <a:defRPr>
                <a:solidFill>
                  <a:schemeClr val="bg1"/>
                </a:solidFill>
              </a:defRPr>
            </a:lvl1pPr>
          </a:lstStyle>
          <a:p>
            <a:r>
              <a:rPr lang="en-US"/>
              <a:t>Click to edit Master title style</a:t>
            </a:r>
          </a:p>
        </p:txBody>
      </p:sp>
      <p:sp>
        <p:nvSpPr>
          <p:cNvPr id="3" name="Subtitle 2"/>
          <p:cNvSpPr>
            <a:spLocks noGrp="1"/>
          </p:cNvSpPr>
          <p:nvPr>
            <p:ph type="subTitle" idx="1"/>
          </p:nvPr>
        </p:nvSpPr>
        <p:spPr>
          <a:xfrm>
            <a:off x="685800" y="2700339"/>
            <a:ext cx="6400800" cy="1314450"/>
          </a:xfrm>
        </p:spPr>
        <p:txBody>
          <a:bodyPr>
            <a:normAutofit/>
          </a:bodyPr>
          <a:lstStyle>
            <a:lvl1pPr marL="0" indent="0" algn="l">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9" name="Rektangel 8"/>
          <p:cNvSpPr/>
          <p:nvPr userDrawn="1"/>
        </p:nvSpPr>
        <p:spPr>
          <a:xfrm>
            <a:off x="1" y="4767264"/>
            <a:ext cx="1172632" cy="37623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solidFill>
                <a:prstClr val="white"/>
              </a:solidFill>
              <a:latin typeface="Century Gothic"/>
            </a:endParaRPr>
          </a:p>
        </p:txBody>
      </p:sp>
      <p:pic>
        <p:nvPicPr>
          <p:cNvPr id="11" name="Billed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8541" y="4868026"/>
            <a:ext cx="700651" cy="69538"/>
          </a:xfrm>
          <a:prstGeom prst="rect">
            <a:avLst/>
          </a:prstGeom>
        </p:spPr>
      </p:pic>
      <p:sp>
        <p:nvSpPr>
          <p:cNvPr id="8" name="TextBox 7">
            <a:extLst>
              <a:ext uri="{FF2B5EF4-FFF2-40B4-BE49-F238E27FC236}">
                <a16:creationId xmlns:a16="http://schemas.microsoft.com/office/drawing/2014/main" id="{954B6AE3-9F0D-4F55-87BE-D0F70185CD96}"/>
              </a:ext>
            </a:extLst>
          </p:cNvPr>
          <p:cNvSpPr txBox="1"/>
          <p:nvPr userDrawn="1"/>
        </p:nvSpPr>
        <p:spPr>
          <a:xfrm>
            <a:off x="8314543" y="4811035"/>
            <a:ext cx="372257" cy="169277"/>
          </a:xfrm>
          <a:prstGeom prst="rect">
            <a:avLst/>
          </a:prstGeom>
          <a:noFill/>
        </p:spPr>
        <p:txBody>
          <a:bodyPr wrap="square" rtlCol="0">
            <a:spAutoFit/>
          </a:bodyPr>
          <a:lstStyle/>
          <a:p>
            <a:fld id="{790B8636-E7B9-49D1-9120-DEA72B94B27F}" type="slidenum">
              <a:rPr lang="en-US" sz="500" b="1" smtClean="0">
                <a:solidFill>
                  <a:schemeClr val="tx1"/>
                </a:solidFill>
              </a:rPr>
              <a:t>‹#›</a:t>
            </a:fld>
            <a:endParaRPr lang="en-US" sz="500" b="1">
              <a:solidFill>
                <a:schemeClr val="tx1"/>
              </a:solidFill>
            </a:endParaRPr>
          </a:p>
        </p:txBody>
      </p:sp>
      <p:sp>
        <p:nvSpPr>
          <p:cNvPr id="10" name="TextBox 9">
            <a:extLst>
              <a:ext uri="{FF2B5EF4-FFF2-40B4-BE49-F238E27FC236}">
                <a16:creationId xmlns:a16="http://schemas.microsoft.com/office/drawing/2014/main" id="{D39027B9-2638-4C27-8F8D-EDD2F768C9D5}"/>
              </a:ext>
            </a:extLst>
          </p:cNvPr>
          <p:cNvSpPr txBox="1"/>
          <p:nvPr userDrawn="1"/>
        </p:nvSpPr>
        <p:spPr>
          <a:xfrm>
            <a:off x="1160533" y="4811035"/>
            <a:ext cx="582531" cy="169277"/>
          </a:xfrm>
          <a:prstGeom prst="rect">
            <a:avLst/>
          </a:prstGeom>
          <a:noFill/>
        </p:spPr>
        <p:txBody>
          <a:bodyPr wrap="square" rtlCol="0">
            <a:spAutoFit/>
          </a:bodyPr>
          <a:lstStyle/>
          <a:p>
            <a:fld id="{A8CA596B-C87A-456A-9DED-C2EA47DAAA55}" type="datetime3">
              <a:rPr lang="da-DK" sz="500" b="1" smtClean="0">
                <a:solidFill>
                  <a:schemeClr val="tx1"/>
                </a:solidFill>
              </a:rPr>
              <a:t>27.03.2026</a:t>
            </a:fld>
            <a:endParaRPr lang="en-US" sz="500" b="1">
              <a:solidFill>
                <a:schemeClr val="tx1"/>
              </a:solidFill>
            </a:endParaRPr>
          </a:p>
        </p:txBody>
      </p:sp>
    </p:spTree>
    <p:extLst>
      <p:ext uri="{BB962C8B-B14F-4D97-AF65-F5344CB8AC3E}">
        <p14:creationId xmlns:p14="http://schemas.microsoft.com/office/powerpoint/2010/main" val="2332285320"/>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7" name="Rektangel 6"/>
          <p:cNvSpPr/>
          <p:nvPr userDrawn="1"/>
        </p:nvSpPr>
        <p:spPr>
          <a:xfrm>
            <a:off x="4574778" y="205978"/>
            <a:ext cx="4344193" cy="434419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solidFill>
                <a:prstClr val="white"/>
              </a:solidFill>
              <a:latin typeface="Century Gothic"/>
            </a:endParaRPr>
          </a:p>
        </p:txBody>
      </p:sp>
      <p:sp>
        <p:nvSpPr>
          <p:cNvPr id="2" name="Title 1"/>
          <p:cNvSpPr>
            <a:spLocks noGrp="1"/>
          </p:cNvSpPr>
          <p:nvPr>
            <p:ph type="ctrTitle"/>
          </p:nvPr>
        </p:nvSpPr>
        <p:spPr>
          <a:xfrm>
            <a:off x="254000" y="205978"/>
            <a:ext cx="4146550" cy="4344193"/>
          </a:xfrm>
        </p:spPr>
        <p:txBody>
          <a:bodyPr/>
          <a:lstStyle>
            <a:lvl1pPr algn="r">
              <a:defRPr/>
            </a:lvl1pPr>
          </a:lstStyle>
          <a:p>
            <a:r>
              <a:rPr lang="en-US"/>
              <a:t>Click to edit Master title style</a:t>
            </a:r>
          </a:p>
        </p:txBody>
      </p:sp>
      <p:sp>
        <p:nvSpPr>
          <p:cNvPr id="12" name="Pladsholder til indhold 11"/>
          <p:cNvSpPr>
            <a:spLocks noGrp="1"/>
          </p:cNvSpPr>
          <p:nvPr>
            <p:ph sz="quarter" idx="13"/>
          </p:nvPr>
        </p:nvSpPr>
        <p:spPr>
          <a:xfrm>
            <a:off x="4953000" y="642938"/>
            <a:ext cx="3568700" cy="3662362"/>
          </a:xfrm>
        </p:spPr>
        <p:txBody>
          <a:bodyPr anchor="ctr">
            <a:normAutofit/>
          </a:bodyPr>
          <a:lstStyle>
            <a:lvl1pPr marL="0" indent="0">
              <a:buClr>
                <a:schemeClr val="bg1"/>
              </a:buClr>
              <a:buFont typeface="Arial" panose="020B0604020202020204" pitchFamily="34" charset="0"/>
              <a:buNone/>
              <a:defRPr sz="1600">
                <a:solidFill>
                  <a:srgbClr val="FFFFFF"/>
                </a:solidFill>
              </a:defRPr>
            </a:lvl1pPr>
            <a:lvl2pPr marL="457200" indent="0">
              <a:buClr>
                <a:schemeClr val="bg1"/>
              </a:buClr>
              <a:buFont typeface="Arial" panose="020B0604020202020204" pitchFamily="34" charset="0"/>
              <a:buNone/>
              <a:defRPr sz="1100">
                <a:solidFill>
                  <a:srgbClr val="FFFFFF"/>
                </a:solidFill>
              </a:defRPr>
            </a:lvl2pPr>
            <a:lvl3pPr marL="914400" indent="0">
              <a:buClr>
                <a:schemeClr val="bg1"/>
              </a:buClr>
              <a:buFont typeface="Arial" panose="020B0604020202020204" pitchFamily="34" charset="0"/>
              <a:buNone/>
              <a:defRPr sz="1100">
                <a:solidFill>
                  <a:srgbClr val="FFFFFF"/>
                </a:solidFill>
              </a:defRPr>
            </a:lvl3pPr>
            <a:lvl4pPr marL="1371600" indent="0">
              <a:buClr>
                <a:schemeClr val="bg1"/>
              </a:buClr>
              <a:buFont typeface="Arial" panose="020B0604020202020204" pitchFamily="34" charset="0"/>
              <a:buNone/>
              <a:defRPr sz="1100">
                <a:solidFill>
                  <a:srgbClr val="FFFFFF"/>
                </a:solidFill>
              </a:defRPr>
            </a:lvl4pPr>
            <a:lvl5pPr marL="1828800" indent="0">
              <a:buClr>
                <a:schemeClr val="bg1"/>
              </a:buClr>
              <a:buFont typeface="Arial" panose="020B0604020202020204" pitchFamily="34" charset="0"/>
              <a:buNone/>
              <a:defRPr sz="1100">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8" name="TextBox 7">
            <a:extLst>
              <a:ext uri="{FF2B5EF4-FFF2-40B4-BE49-F238E27FC236}">
                <a16:creationId xmlns:a16="http://schemas.microsoft.com/office/drawing/2014/main" id="{DE007BD4-7619-4A34-A587-5550B24B149B}"/>
              </a:ext>
            </a:extLst>
          </p:cNvPr>
          <p:cNvSpPr txBox="1"/>
          <p:nvPr userDrawn="1"/>
        </p:nvSpPr>
        <p:spPr>
          <a:xfrm>
            <a:off x="8314543" y="4811035"/>
            <a:ext cx="372257" cy="169277"/>
          </a:xfrm>
          <a:prstGeom prst="rect">
            <a:avLst/>
          </a:prstGeom>
          <a:noFill/>
        </p:spPr>
        <p:txBody>
          <a:bodyPr wrap="square" rtlCol="0">
            <a:spAutoFit/>
          </a:bodyPr>
          <a:lstStyle/>
          <a:p>
            <a:fld id="{790B8636-E7B9-49D1-9120-DEA72B94B27F}" type="slidenum">
              <a:rPr lang="en-US" sz="500" b="1" smtClean="0"/>
              <a:t>‹#›</a:t>
            </a:fld>
            <a:endParaRPr lang="en-US" sz="500" b="1"/>
          </a:p>
        </p:txBody>
      </p:sp>
      <p:sp>
        <p:nvSpPr>
          <p:cNvPr id="9" name="TextBox 8">
            <a:extLst>
              <a:ext uri="{FF2B5EF4-FFF2-40B4-BE49-F238E27FC236}">
                <a16:creationId xmlns:a16="http://schemas.microsoft.com/office/drawing/2014/main" id="{38EA5468-DEF3-49E2-9B7F-E5D957F8BD29}"/>
              </a:ext>
            </a:extLst>
          </p:cNvPr>
          <p:cNvSpPr txBox="1"/>
          <p:nvPr userDrawn="1"/>
        </p:nvSpPr>
        <p:spPr>
          <a:xfrm>
            <a:off x="1160533" y="4811035"/>
            <a:ext cx="582531" cy="169277"/>
          </a:xfrm>
          <a:prstGeom prst="rect">
            <a:avLst/>
          </a:prstGeom>
          <a:noFill/>
        </p:spPr>
        <p:txBody>
          <a:bodyPr wrap="square" rtlCol="0">
            <a:spAutoFit/>
          </a:bodyPr>
          <a:lstStyle/>
          <a:p>
            <a:fld id="{C6CF9D9B-313C-4CCE-9A00-9421696FD7BA}" type="datetime3">
              <a:rPr lang="da-DK" sz="500" b="1" smtClean="0"/>
              <a:t>27.03.2026</a:t>
            </a:fld>
            <a:endParaRPr lang="en-US" sz="500" b="1"/>
          </a:p>
        </p:txBody>
      </p:sp>
    </p:spTree>
    <p:extLst>
      <p:ext uri="{BB962C8B-B14F-4D97-AF65-F5344CB8AC3E}">
        <p14:creationId xmlns:p14="http://schemas.microsoft.com/office/powerpoint/2010/main" val="3628838991"/>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reserve="1">
  <p:cSld name="Titel og indhold (med foo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0" indent="0">
              <a:buClr>
                <a:schemeClr val="tx1"/>
              </a:buClr>
              <a:buFont typeface="Arial" panose="020B0604020202020204" pitchFamily="34" charset="0"/>
              <a:buNone/>
              <a:defRPr>
                <a:solidFill>
                  <a:schemeClr val="tx1"/>
                </a:solidFill>
              </a:defRPr>
            </a:lvl1pPr>
            <a:lvl2pPr marL="457200" indent="0">
              <a:buClr>
                <a:schemeClr val="tx1"/>
              </a:buClr>
              <a:buFont typeface="Arial" panose="020B0604020202020204" pitchFamily="34" charset="0"/>
              <a:buNone/>
              <a:defRPr>
                <a:solidFill>
                  <a:schemeClr val="tx1"/>
                </a:solidFill>
              </a:defRPr>
            </a:lvl2pPr>
            <a:lvl3pPr marL="914400" indent="0">
              <a:buClr>
                <a:schemeClr val="tx1"/>
              </a:buClr>
              <a:buFont typeface="Arial" panose="020B0604020202020204" pitchFamily="34" charset="0"/>
              <a:buNone/>
              <a:defRPr>
                <a:solidFill>
                  <a:schemeClr val="tx1"/>
                </a:solidFill>
              </a:defRPr>
            </a:lvl3pPr>
            <a:lvl4pPr marL="1371600" indent="0">
              <a:buClr>
                <a:schemeClr val="tx1"/>
              </a:buClr>
              <a:buFont typeface="Arial" panose="020B0604020202020204" pitchFamily="34" charset="0"/>
              <a:buNone/>
              <a:defRPr>
                <a:solidFill>
                  <a:schemeClr val="tx1"/>
                </a:solidFill>
              </a:defRPr>
            </a:lvl4pPr>
            <a:lvl5pPr marL="1828800" indent="0">
              <a:buClr>
                <a:schemeClr val="tx1"/>
              </a:buClr>
              <a:buFont typeface="Arial" panose="020B0604020202020204" pitchFamily="34" charset="0"/>
              <a:buNone/>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9C551C79-81BD-4C73-8345-E823CDE51F37}"/>
              </a:ext>
            </a:extLst>
          </p:cNvPr>
          <p:cNvSpPr txBox="1"/>
          <p:nvPr userDrawn="1"/>
        </p:nvSpPr>
        <p:spPr>
          <a:xfrm>
            <a:off x="8314543" y="4811035"/>
            <a:ext cx="372257" cy="169277"/>
          </a:xfrm>
          <a:prstGeom prst="rect">
            <a:avLst/>
          </a:prstGeom>
          <a:noFill/>
        </p:spPr>
        <p:txBody>
          <a:bodyPr wrap="square" rtlCol="0">
            <a:spAutoFit/>
          </a:bodyPr>
          <a:lstStyle/>
          <a:p>
            <a:fld id="{790B8636-E7B9-49D1-9120-DEA72B94B27F}" type="slidenum">
              <a:rPr lang="en-US" sz="500" b="1" smtClean="0"/>
              <a:t>‹#›</a:t>
            </a:fld>
            <a:endParaRPr lang="en-US" sz="500" b="1"/>
          </a:p>
        </p:txBody>
      </p:sp>
      <p:sp>
        <p:nvSpPr>
          <p:cNvPr id="8" name="TextBox 7">
            <a:extLst>
              <a:ext uri="{FF2B5EF4-FFF2-40B4-BE49-F238E27FC236}">
                <a16:creationId xmlns:a16="http://schemas.microsoft.com/office/drawing/2014/main" id="{D7CD0480-B1E2-46EC-8460-9D96E5679120}"/>
              </a:ext>
            </a:extLst>
          </p:cNvPr>
          <p:cNvSpPr txBox="1"/>
          <p:nvPr userDrawn="1"/>
        </p:nvSpPr>
        <p:spPr>
          <a:xfrm>
            <a:off x="1160533" y="4811035"/>
            <a:ext cx="582531" cy="169277"/>
          </a:xfrm>
          <a:prstGeom prst="rect">
            <a:avLst/>
          </a:prstGeom>
          <a:noFill/>
        </p:spPr>
        <p:txBody>
          <a:bodyPr wrap="square" rtlCol="0">
            <a:spAutoFit/>
          </a:bodyPr>
          <a:lstStyle/>
          <a:p>
            <a:fld id="{2CE0A734-E442-4074-A89B-5D70589A3EAA}" type="datetime3">
              <a:rPr lang="da-DK" sz="500" b="1" smtClean="0"/>
              <a:t>27.03.2026</a:t>
            </a:fld>
            <a:endParaRPr lang="en-US" sz="500" b="1"/>
          </a:p>
        </p:txBody>
      </p:sp>
    </p:spTree>
    <p:extLst>
      <p:ext uri="{BB962C8B-B14F-4D97-AF65-F5344CB8AC3E}">
        <p14:creationId xmlns:p14="http://schemas.microsoft.com/office/powerpoint/2010/main" val="4040051583"/>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type="secHead" preserve="1">
  <p:cSld name="Sektion slide - hvid (med footer)">
    <p:spTree>
      <p:nvGrpSpPr>
        <p:cNvPr id="1" name=""/>
        <p:cNvGrpSpPr/>
        <p:nvPr/>
      </p:nvGrpSpPr>
      <p:grpSpPr>
        <a:xfrm>
          <a:off x="0" y="0"/>
          <a:ext cx="0" cy="0"/>
          <a:chOff x="0" y="0"/>
          <a:chExt cx="0" cy="0"/>
        </a:xfrm>
      </p:grpSpPr>
      <p:sp>
        <p:nvSpPr>
          <p:cNvPr id="2" name="Title 1"/>
          <p:cNvSpPr>
            <a:spLocks noGrp="1"/>
          </p:cNvSpPr>
          <p:nvPr>
            <p:ph type="title"/>
          </p:nvPr>
        </p:nvSpPr>
        <p:spPr>
          <a:xfrm>
            <a:off x="722313" y="3745707"/>
            <a:ext cx="7772400" cy="1021557"/>
          </a:xfrm>
        </p:spPr>
        <p:txBody>
          <a:bodyPr anchor="t">
            <a:normAutofit/>
          </a:bodyPr>
          <a:lstStyle>
            <a:lvl1pPr algn="l">
              <a:defRPr sz="3000" b="1" cap="none"/>
            </a:lvl1pPr>
          </a:lstStyle>
          <a:p>
            <a:r>
              <a:rPr lang="en-US"/>
              <a:t>Click to edit Master title style</a:t>
            </a:r>
          </a:p>
        </p:txBody>
      </p:sp>
      <p:sp>
        <p:nvSpPr>
          <p:cNvPr id="3" name="Text Placeholder 2"/>
          <p:cNvSpPr>
            <a:spLocks noGrp="1"/>
          </p:cNvSpPr>
          <p:nvPr>
            <p:ph type="body" idx="1"/>
          </p:nvPr>
        </p:nvSpPr>
        <p:spPr>
          <a:xfrm>
            <a:off x="722313" y="2620566"/>
            <a:ext cx="7772400" cy="1125140"/>
          </a:xfrm>
        </p:spPr>
        <p:txBody>
          <a:bodyPr anchor="b"/>
          <a:lstStyle>
            <a:lvl1pPr marL="0" indent="0">
              <a:buNone/>
              <a:defRPr sz="18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7" name="TextBox 6">
            <a:extLst>
              <a:ext uri="{FF2B5EF4-FFF2-40B4-BE49-F238E27FC236}">
                <a16:creationId xmlns:a16="http://schemas.microsoft.com/office/drawing/2014/main" id="{CF7B4E1B-8593-4A56-8EDD-1252981BA7CD}"/>
              </a:ext>
            </a:extLst>
          </p:cNvPr>
          <p:cNvSpPr txBox="1"/>
          <p:nvPr userDrawn="1"/>
        </p:nvSpPr>
        <p:spPr>
          <a:xfrm>
            <a:off x="8314543" y="4811035"/>
            <a:ext cx="372257" cy="169277"/>
          </a:xfrm>
          <a:prstGeom prst="rect">
            <a:avLst/>
          </a:prstGeom>
          <a:noFill/>
        </p:spPr>
        <p:txBody>
          <a:bodyPr wrap="square" rtlCol="0">
            <a:spAutoFit/>
          </a:bodyPr>
          <a:lstStyle/>
          <a:p>
            <a:fld id="{790B8636-E7B9-49D1-9120-DEA72B94B27F}" type="slidenum">
              <a:rPr lang="en-US" sz="500" b="1" smtClean="0"/>
              <a:t>‹#›</a:t>
            </a:fld>
            <a:endParaRPr lang="en-US" sz="500" b="1"/>
          </a:p>
        </p:txBody>
      </p:sp>
      <p:sp>
        <p:nvSpPr>
          <p:cNvPr id="8" name="TextBox 7">
            <a:extLst>
              <a:ext uri="{FF2B5EF4-FFF2-40B4-BE49-F238E27FC236}">
                <a16:creationId xmlns:a16="http://schemas.microsoft.com/office/drawing/2014/main" id="{8D30C6ED-86AA-49CA-9A17-AD9A8707C6A6}"/>
              </a:ext>
            </a:extLst>
          </p:cNvPr>
          <p:cNvSpPr txBox="1"/>
          <p:nvPr userDrawn="1"/>
        </p:nvSpPr>
        <p:spPr>
          <a:xfrm>
            <a:off x="1160533" y="4811035"/>
            <a:ext cx="582531" cy="169277"/>
          </a:xfrm>
          <a:prstGeom prst="rect">
            <a:avLst/>
          </a:prstGeom>
          <a:noFill/>
        </p:spPr>
        <p:txBody>
          <a:bodyPr wrap="square" rtlCol="0">
            <a:spAutoFit/>
          </a:bodyPr>
          <a:lstStyle/>
          <a:p>
            <a:fld id="{F6AB3F8A-D367-4E0B-83F6-4D1ADD822983}" type="datetime3">
              <a:rPr lang="da-DK" sz="500" b="1" smtClean="0"/>
              <a:t>27.03.2026</a:t>
            </a:fld>
            <a:endParaRPr lang="en-US" sz="500" b="1"/>
          </a:p>
        </p:txBody>
      </p:sp>
    </p:spTree>
    <p:extLst>
      <p:ext uri="{BB962C8B-B14F-4D97-AF65-F5344CB8AC3E}">
        <p14:creationId xmlns:p14="http://schemas.microsoft.com/office/powerpoint/2010/main" val="3840230784"/>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type="secHead" preserve="1">
  <p:cSld name="Sektion slide - finansrød (med footer)">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2313" y="3745707"/>
            <a:ext cx="7772400" cy="1021557"/>
          </a:xfrm>
        </p:spPr>
        <p:txBody>
          <a:bodyPr anchor="t">
            <a:normAutofit/>
          </a:bodyPr>
          <a:lstStyle>
            <a:lvl1pPr algn="l">
              <a:defRPr sz="3000" b="1" cap="none">
                <a:solidFill>
                  <a:schemeClr val="bg1"/>
                </a:solidFill>
              </a:defRPr>
            </a:lvl1pPr>
          </a:lstStyle>
          <a:p>
            <a:r>
              <a:rPr lang="en-US"/>
              <a:t>Click to edit Master title style</a:t>
            </a:r>
          </a:p>
        </p:txBody>
      </p:sp>
      <p:sp>
        <p:nvSpPr>
          <p:cNvPr id="3" name="Text Placeholder 2"/>
          <p:cNvSpPr>
            <a:spLocks noGrp="1"/>
          </p:cNvSpPr>
          <p:nvPr>
            <p:ph type="body" idx="1"/>
          </p:nvPr>
        </p:nvSpPr>
        <p:spPr>
          <a:xfrm>
            <a:off x="722313" y="2620566"/>
            <a:ext cx="7772400" cy="1125140"/>
          </a:xfrm>
        </p:spPr>
        <p:txBody>
          <a:bodyPr anchor="b"/>
          <a:lstStyle>
            <a:lvl1pPr marL="0" indent="0">
              <a:buNone/>
              <a:defRPr sz="1800">
                <a:solidFill>
                  <a:srgbClr val="1C2935"/>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pic>
        <p:nvPicPr>
          <p:cNvPr id="10" name="Billed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8541" y="4868026"/>
            <a:ext cx="700651" cy="69538"/>
          </a:xfrm>
          <a:prstGeom prst="rect">
            <a:avLst/>
          </a:prstGeom>
        </p:spPr>
      </p:pic>
      <p:sp>
        <p:nvSpPr>
          <p:cNvPr id="7" name="TextBox 6">
            <a:extLst>
              <a:ext uri="{FF2B5EF4-FFF2-40B4-BE49-F238E27FC236}">
                <a16:creationId xmlns:a16="http://schemas.microsoft.com/office/drawing/2014/main" id="{27DEB20F-56C7-45F5-9CE2-3F3BA5BAD424}"/>
              </a:ext>
            </a:extLst>
          </p:cNvPr>
          <p:cNvSpPr txBox="1"/>
          <p:nvPr userDrawn="1"/>
        </p:nvSpPr>
        <p:spPr>
          <a:xfrm>
            <a:off x="8314543" y="4811035"/>
            <a:ext cx="372257" cy="169277"/>
          </a:xfrm>
          <a:prstGeom prst="rect">
            <a:avLst/>
          </a:prstGeom>
          <a:noFill/>
        </p:spPr>
        <p:txBody>
          <a:bodyPr wrap="square" rtlCol="0">
            <a:spAutoFit/>
          </a:bodyPr>
          <a:lstStyle/>
          <a:p>
            <a:fld id="{790B8636-E7B9-49D1-9120-DEA72B94B27F}" type="slidenum">
              <a:rPr lang="en-US" sz="500" b="1" smtClean="0">
                <a:solidFill>
                  <a:schemeClr val="bg1"/>
                </a:solidFill>
              </a:rPr>
              <a:t>‹#›</a:t>
            </a:fld>
            <a:endParaRPr lang="en-US" sz="500" b="1">
              <a:solidFill>
                <a:schemeClr val="bg1"/>
              </a:solidFill>
            </a:endParaRPr>
          </a:p>
        </p:txBody>
      </p:sp>
      <p:sp>
        <p:nvSpPr>
          <p:cNvPr id="8" name="TextBox 7">
            <a:extLst>
              <a:ext uri="{FF2B5EF4-FFF2-40B4-BE49-F238E27FC236}">
                <a16:creationId xmlns:a16="http://schemas.microsoft.com/office/drawing/2014/main" id="{2DCA69F7-E765-432B-BABD-1F43DC56BC9C}"/>
              </a:ext>
            </a:extLst>
          </p:cNvPr>
          <p:cNvSpPr txBox="1"/>
          <p:nvPr userDrawn="1"/>
        </p:nvSpPr>
        <p:spPr>
          <a:xfrm>
            <a:off x="1160533" y="4811035"/>
            <a:ext cx="582531" cy="169277"/>
          </a:xfrm>
          <a:prstGeom prst="rect">
            <a:avLst/>
          </a:prstGeom>
          <a:noFill/>
        </p:spPr>
        <p:txBody>
          <a:bodyPr wrap="square" rtlCol="0">
            <a:spAutoFit/>
          </a:bodyPr>
          <a:lstStyle/>
          <a:p>
            <a:fld id="{D7206746-AF45-4F23-99F0-542C10E60F50}" type="datetime3">
              <a:rPr lang="da-DK" sz="500" b="1" smtClean="0">
                <a:solidFill>
                  <a:schemeClr val="bg1"/>
                </a:solidFill>
              </a:rPr>
              <a:t>27.03.2026</a:t>
            </a:fld>
            <a:endParaRPr lang="en-US" sz="500" b="1">
              <a:solidFill>
                <a:schemeClr val="bg1"/>
              </a:solidFill>
            </a:endParaRPr>
          </a:p>
        </p:txBody>
      </p:sp>
    </p:spTree>
    <p:extLst>
      <p:ext uri="{BB962C8B-B14F-4D97-AF65-F5344CB8AC3E}">
        <p14:creationId xmlns:p14="http://schemas.microsoft.com/office/powerpoint/2010/main" val="3160204070"/>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type="twoObj" preserve="1">
  <p:cSld name="Indholdsslide - 2 spalter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00150"/>
            <a:ext cx="4038600" cy="3394472"/>
          </a:xfrm>
        </p:spPr>
        <p:txBody>
          <a:bodyPr>
            <a:normAutofit/>
          </a:bodyPr>
          <a:lstStyle>
            <a:lvl1pPr marL="0" indent="0">
              <a:buClr>
                <a:schemeClr val="tx1"/>
              </a:buClr>
              <a:buFont typeface="Arial" panose="020B0604020202020204" pitchFamily="34" charset="0"/>
              <a:buNone/>
              <a:defRPr sz="1600">
                <a:solidFill>
                  <a:schemeClr val="tx1"/>
                </a:solidFill>
              </a:defRPr>
            </a:lvl1pPr>
            <a:lvl2pPr marL="457200" indent="0">
              <a:buClr>
                <a:schemeClr val="tx1"/>
              </a:buClr>
              <a:buFont typeface="Arial" panose="020B0604020202020204" pitchFamily="34" charset="0"/>
              <a:buNone/>
              <a:defRPr sz="1600">
                <a:solidFill>
                  <a:schemeClr val="tx1"/>
                </a:solidFill>
              </a:defRPr>
            </a:lvl2pPr>
            <a:lvl3pPr marL="914400" indent="0">
              <a:buClr>
                <a:schemeClr val="tx1"/>
              </a:buClr>
              <a:buFont typeface="Arial" panose="020B0604020202020204" pitchFamily="34" charset="0"/>
              <a:buNone/>
              <a:defRPr sz="1600">
                <a:solidFill>
                  <a:schemeClr val="tx1"/>
                </a:solidFill>
              </a:defRPr>
            </a:lvl3pPr>
            <a:lvl4pPr marL="1371600" indent="0">
              <a:buClr>
                <a:schemeClr val="tx1"/>
              </a:buClr>
              <a:buFont typeface="Arial" panose="020B0604020202020204" pitchFamily="34" charset="0"/>
              <a:buNone/>
              <a:defRPr sz="1600">
                <a:solidFill>
                  <a:schemeClr val="tx1"/>
                </a:solidFill>
              </a:defRPr>
            </a:lvl4pPr>
            <a:lvl5pPr marL="1828800" indent="0">
              <a:buClr>
                <a:schemeClr val="tx1"/>
              </a:buClr>
              <a:buFont typeface="Arial" panose="020B0604020202020204" pitchFamily="34" charset="0"/>
              <a:buNone/>
              <a:defRPr sz="1600">
                <a:solidFill>
                  <a:schemeClr val="tx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00150"/>
            <a:ext cx="4038600" cy="3394472"/>
          </a:xfrm>
        </p:spPr>
        <p:txBody>
          <a:bodyPr>
            <a:normAutofit/>
          </a:bodyPr>
          <a:lstStyle>
            <a:lvl1pPr marL="0" indent="0">
              <a:buClr>
                <a:schemeClr val="tx1"/>
              </a:buClr>
              <a:buFont typeface="Arial" panose="020B0604020202020204" pitchFamily="34" charset="0"/>
              <a:buNone/>
              <a:defRPr sz="1600">
                <a:solidFill>
                  <a:schemeClr val="tx1"/>
                </a:solidFill>
              </a:defRPr>
            </a:lvl1pPr>
            <a:lvl2pPr marL="457200" indent="0">
              <a:buClr>
                <a:schemeClr val="tx1"/>
              </a:buClr>
              <a:buFont typeface="Arial" panose="020B0604020202020204" pitchFamily="34" charset="0"/>
              <a:buNone/>
              <a:defRPr sz="1600">
                <a:solidFill>
                  <a:schemeClr val="tx1"/>
                </a:solidFill>
              </a:defRPr>
            </a:lvl2pPr>
            <a:lvl3pPr marL="914400" indent="0">
              <a:buClr>
                <a:schemeClr val="tx1"/>
              </a:buClr>
              <a:buFont typeface="Arial" panose="020B0604020202020204" pitchFamily="34" charset="0"/>
              <a:buNone/>
              <a:defRPr sz="1600">
                <a:solidFill>
                  <a:schemeClr val="tx1"/>
                </a:solidFill>
              </a:defRPr>
            </a:lvl3pPr>
            <a:lvl4pPr marL="1371600" indent="0">
              <a:buClr>
                <a:schemeClr val="tx1"/>
              </a:buClr>
              <a:buFont typeface="Arial" panose="020B0604020202020204" pitchFamily="34" charset="0"/>
              <a:buNone/>
              <a:defRPr sz="1600">
                <a:solidFill>
                  <a:schemeClr val="tx1"/>
                </a:solidFill>
              </a:defRPr>
            </a:lvl4pPr>
            <a:lvl5pPr marL="1828800" indent="0">
              <a:buClr>
                <a:schemeClr val="tx1"/>
              </a:buClr>
              <a:buFont typeface="Arial" panose="020B0604020202020204" pitchFamily="34" charset="0"/>
              <a:buNone/>
              <a:defRPr sz="1600">
                <a:solidFill>
                  <a:schemeClr val="tx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Box 7">
            <a:extLst>
              <a:ext uri="{FF2B5EF4-FFF2-40B4-BE49-F238E27FC236}">
                <a16:creationId xmlns:a16="http://schemas.microsoft.com/office/drawing/2014/main" id="{FBB21ACC-030E-43DA-87F9-8CFC2041D896}"/>
              </a:ext>
            </a:extLst>
          </p:cNvPr>
          <p:cNvSpPr txBox="1"/>
          <p:nvPr userDrawn="1"/>
        </p:nvSpPr>
        <p:spPr>
          <a:xfrm>
            <a:off x="8314543" y="4811035"/>
            <a:ext cx="372257" cy="169277"/>
          </a:xfrm>
          <a:prstGeom prst="rect">
            <a:avLst/>
          </a:prstGeom>
          <a:noFill/>
        </p:spPr>
        <p:txBody>
          <a:bodyPr wrap="square" rtlCol="0">
            <a:spAutoFit/>
          </a:bodyPr>
          <a:lstStyle/>
          <a:p>
            <a:fld id="{790B8636-E7B9-49D1-9120-DEA72B94B27F}" type="slidenum">
              <a:rPr lang="en-US" sz="500" b="1" smtClean="0"/>
              <a:t>‹#›</a:t>
            </a:fld>
            <a:endParaRPr lang="en-US" sz="500" b="1"/>
          </a:p>
        </p:txBody>
      </p:sp>
      <p:sp>
        <p:nvSpPr>
          <p:cNvPr id="9" name="TextBox 8">
            <a:extLst>
              <a:ext uri="{FF2B5EF4-FFF2-40B4-BE49-F238E27FC236}">
                <a16:creationId xmlns:a16="http://schemas.microsoft.com/office/drawing/2014/main" id="{8E15E579-615F-4F31-A9DC-2E37D7F631A7}"/>
              </a:ext>
            </a:extLst>
          </p:cNvPr>
          <p:cNvSpPr txBox="1"/>
          <p:nvPr userDrawn="1"/>
        </p:nvSpPr>
        <p:spPr>
          <a:xfrm>
            <a:off x="1160533" y="4811035"/>
            <a:ext cx="582531" cy="169277"/>
          </a:xfrm>
          <a:prstGeom prst="rect">
            <a:avLst/>
          </a:prstGeom>
          <a:noFill/>
        </p:spPr>
        <p:txBody>
          <a:bodyPr wrap="square" rtlCol="0">
            <a:spAutoFit/>
          </a:bodyPr>
          <a:lstStyle/>
          <a:p>
            <a:fld id="{796B8CDE-61EE-4138-B3C5-EEDD827F7F73}" type="datetime3">
              <a:rPr lang="da-DK" sz="500" b="1" smtClean="0"/>
              <a:t>27.03.2026</a:t>
            </a:fld>
            <a:endParaRPr lang="en-US" sz="500" b="1"/>
          </a:p>
        </p:txBody>
      </p:sp>
    </p:spTree>
    <p:extLst>
      <p:ext uri="{BB962C8B-B14F-4D97-AF65-F5344CB8AC3E}">
        <p14:creationId xmlns:p14="http://schemas.microsoft.com/office/powerpoint/2010/main" val="3423444093"/>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Indholdsslide - 2 spalter (finansrød + grå) ">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13754100" y="1200150"/>
            <a:ext cx="4038600" cy="3394472"/>
          </a:xfrm>
        </p:spPr>
        <p:txBody>
          <a:bodyPr>
            <a:normAutofit/>
          </a:bodyPr>
          <a:lstStyle>
            <a:lvl1pPr>
              <a:defRPr sz="1600"/>
            </a:lvl1pPr>
            <a:lvl2pPr>
              <a:defRPr sz="1600"/>
            </a:lvl2pPr>
            <a:lvl3pPr>
              <a:defRPr sz="1600"/>
            </a:lvl3pPr>
            <a:lvl4pPr>
              <a:defRPr sz="1600">
                <a:solidFill>
                  <a:srgbClr val="7F7F7F"/>
                </a:solidFill>
              </a:defRPr>
            </a:lvl4pPr>
            <a:lvl5pPr>
              <a:defRPr sz="1600">
                <a:solidFill>
                  <a:srgbClr val="7F7F7F"/>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ktangel 7"/>
          <p:cNvSpPr/>
          <p:nvPr userDrawn="1"/>
        </p:nvSpPr>
        <p:spPr>
          <a:xfrm>
            <a:off x="218678" y="205978"/>
            <a:ext cx="4344193" cy="434419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solidFill>
                <a:prstClr val="white"/>
              </a:solidFill>
              <a:latin typeface="Century Gothic"/>
            </a:endParaRPr>
          </a:p>
        </p:txBody>
      </p:sp>
      <p:sp>
        <p:nvSpPr>
          <p:cNvPr id="9" name="Rektangel 8"/>
          <p:cNvSpPr/>
          <p:nvPr userDrawn="1"/>
        </p:nvSpPr>
        <p:spPr>
          <a:xfrm>
            <a:off x="4552950" y="205978"/>
            <a:ext cx="4344193" cy="4344193"/>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solidFill>
                <a:prstClr val="white"/>
              </a:solidFill>
              <a:latin typeface="Century Gothic"/>
            </a:endParaRPr>
          </a:p>
        </p:txBody>
      </p:sp>
      <p:sp>
        <p:nvSpPr>
          <p:cNvPr id="12" name="TextBox 11">
            <a:extLst>
              <a:ext uri="{FF2B5EF4-FFF2-40B4-BE49-F238E27FC236}">
                <a16:creationId xmlns:a16="http://schemas.microsoft.com/office/drawing/2014/main" id="{B6EF92DB-35A8-41F4-81B5-2F70BE79F8B8}"/>
              </a:ext>
            </a:extLst>
          </p:cNvPr>
          <p:cNvSpPr txBox="1"/>
          <p:nvPr userDrawn="1"/>
        </p:nvSpPr>
        <p:spPr>
          <a:xfrm>
            <a:off x="8314543" y="4811035"/>
            <a:ext cx="372257" cy="169277"/>
          </a:xfrm>
          <a:prstGeom prst="rect">
            <a:avLst/>
          </a:prstGeom>
          <a:noFill/>
        </p:spPr>
        <p:txBody>
          <a:bodyPr wrap="square" rtlCol="0">
            <a:spAutoFit/>
          </a:bodyPr>
          <a:lstStyle/>
          <a:p>
            <a:fld id="{790B8636-E7B9-49D1-9120-DEA72B94B27F}" type="slidenum">
              <a:rPr lang="en-US" sz="500" b="1" smtClean="0"/>
              <a:t>‹#›</a:t>
            </a:fld>
            <a:endParaRPr lang="en-US" sz="500" b="1"/>
          </a:p>
        </p:txBody>
      </p:sp>
      <p:sp>
        <p:nvSpPr>
          <p:cNvPr id="13" name="TextBox 12">
            <a:extLst>
              <a:ext uri="{FF2B5EF4-FFF2-40B4-BE49-F238E27FC236}">
                <a16:creationId xmlns:a16="http://schemas.microsoft.com/office/drawing/2014/main" id="{24121A08-342E-432A-93E1-5639B2E066AF}"/>
              </a:ext>
            </a:extLst>
          </p:cNvPr>
          <p:cNvSpPr txBox="1"/>
          <p:nvPr userDrawn="1"/>
        </p:nvSpPr>
        <p:spPr>
          <a:xfrm>
            <a:off x="1160533" y="4811035"/>
            <a:ext cx="582531" cy="169277"/>
          </a:xfrm>
          <a:prstGeom prst="rect">
            <a:avLst/>
          </a:prstGeom>
          <a:noFill/>
        </p:spPr>
        <p:txBody>
          <a:bodyPr wrap="square" rtlCol="0">
            <a:spAutoFit/>
          </a:bodyPr>
          <a:lstStyle/>
          <a:p>
            <a:fld id="{16DD0E5E-B29A-49F3-8485-2D2957E5F15C}" type="datetime3">
              <a:rPr lang="da-DK" sz="500" b="1" smtClean="0"/>
              <a:t>27.03.2026</a:t>
            </a:fld>
            <a:endParaRPr lang="en-US" sz="500" b="1"/>
          </a:p>
        </p:txBody>
      </p:sp>
      <p:sp>
        <p:nvSpPr>
          <p:cNvPr id="14" name="Title 1"/>
          <p:cNvSpPr>
            <a:spLocks noGrp="1"/>
          </p:cNvSpPr>
          <p:nvPr>
            <p:ph type="title"/>
          </p:nvPr>
        </p:nvSpPr>
        <p:spPr>
          <a:xfrm>
            <a:off x="526093" y="1691878"/>
            <a:ext cx="3745281" cy="1375171"/>
          </a:xfrm>
        </p:spPr>
        <p:txBody>
          <a:bodyPr/>
          <a:lstStyle>
            <a:lvl1pPr>
              <a:defRPr>
                <a:solidFill>
                  <a:schemeClr val="bg1"/>
                </a:solidFill>
              </a:defRPr>
            </a:lvl1pPr>
          </a:lstStyle>
          <a:p>
            <a:r>
              <a:rPr lang="en-US"/>
              <a:t>Click to edit Master title style</a:t>
            </a:r>
          </a:p>
        </p:txBody>
      </p:sp>
      <p:sp>
        <p:nvSpPr>
          <p:cNvPr id="11" name="Pladsholder til indhold 11"/>
          <p:cNvSpPr>
            <a:spLocks noGrp="1"/>
          </p:cNvSpPr>
          <p:nvPr>
            <p:ph sz="quarter" idx="13"/>
          </p:nvPr>
        </p:nvSpPr>
        <p:spPr>
          <a:xfrm>
            <a:off x="4953000" y="642938"/>
            <a:ext cx="3568700" cy="3662362"/>
          </a:xfrm>
        </p:spPr>
        <p:txBody>
          <a:bodyPr anchor="ctr">
            <a:normAutofit/>
          </a:bodyPr>
          <a:lstStyle>
            <a:lvl1pPr marL="0" indent="0">
              <a:buClr>
                <a:schemeClr val="tx1"/>
              </a:buClr>
              <a:buFont typeface="Arial" panose="020B0604020202020204" pitchFamily="34" charset="0"/>
              <a:buNone/>
              <a:defRPr sz="1600">
                <a:solidFill>
                  <a:schemeClr val="tx1"/>
                </a:solidFill>
              </a:defRPr>
            </a:lvl1pPr>
            <a:lvl2pPr marL="457200" indent="0">
              <a:buClr>
                <a:schemeClr val="tx1"/>
              </a:buClr>
              <a:buFont typeface="Arial" panose="020B0604020202020204" pitchFamily="34" charset="0"/>
              <a:buNone/>
              <a:defRPr sz="1100">
                <a:solidFill>
                  <a:schemeClr val="tx1"/>
                </a:solidFill>
              </a:defRPr>
            </a:lvl2pPr>
            <a:lvl3pPr marL="914400" indent="0">
              <a:buClr>
                <a:schemeClr val="tx1"/>
              </a:buClr>
              <a:buFont typeface="Arial" panose="020B0604020202020204" pitchFamily="34" charset="0"/>
              <a:buNone/>
              <a:defRPr sz="1100">
                <a:solidFill>
                  <a:schemeClr val="tx1"/>
                </a:solidFill>
              </a:defRPr>
            </a:lvl3pPr>
            <a:lvl4pPr marL="1371600" indent="0">
              <a:buClr>
                <a:schemeClr val="tx1"/>
              </a:buClr>
              <a:buFont typeface="Arial" panose="020B0604020202020204" pitchFamily="34" charset="0"/>
              <a:buNone/>
              <a:defRPr sz="1100">
                <a:solidFill>
                  <a:schemeClr val="tx1"/>
                </a:solidFill>
              </a:defRPr>
            </a:lvl4pPr>
            <a:lvl5pPr marL="1828800" indent="0">
              <a:buClr>
                <a:schemeClr val="tx1"/>
              </a:buClr>
              <a:buFont typeface="Arial" panose="020B0604020202020204" pitchFamily="34" charset="0"/>
              <a:buNone/>
              <a:defRPr sz="11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4288459234"/>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Indholdsslide - 2 spalter (Okseblodsrød + finansrød) ">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13754100" y="1200150"/>
            <a:ext cx="4038600" cy="3394472"/>
          </a:xfrm>
        </p:spPr>
        <p:txBody>
          <a:bodyPr>
            <a:normAutofit/>
          </a:bodyPr>
          <a:lstStyle>
            <a:lvl1pPr>
              <a:defRPr sz="1600"/>
            </a:lvl1pPr>
            <a:lvl2pPr>
              <a:defRPr sz="1600"/>
            </a:lvl2pPr>
            <a:lvl3pPr>
              <a:defRPr sz="1600"/>
            </a:lvl3pPr>
            <a:lvl4pPr>
              <a:defRPr sz="1600">
                <a:solidFill>
                  <a:srgbClr val="7F7F7F"/>
                </a:solidFill>
              </a:defRPr>
            </a:lvl4pPr>
            <a:lvl5pPr>
              <a:defRPr sz="1600">
                <a:solidFill>
                  <a:srgbClr val="7F7F7F"/>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ktangel 7"/>
          <p:cNvSpPr/>
          <p:nvPr userDrawn="1"/>
        </p:nvSpPr>
        <p:spPr>
          <a:xfrm>
            <a:off x="212328" y="205978"/>
            <a:ext cx="4344193" cy="434419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solidFill>
                <a:prstClr val="white"/>
              </a:solidFill>
              <a:latin typeface="Century Gothic"/>
            </a:endParaRPr>
          </a:p>
        </p:txBody>
      </p:sp>
      <p:sp>
        <p:nvSpPr>
          <p:cNvPr id="9" name="Rektangel 8"/>
          <p:cNvSpPr/>
          <p:nvPr userDrawn="1"/>
        </p:nvSpPr>
        <p:spPr>
          <a:xfrm>
            <a:off x="4540250" y="205978"/>
            <a:ext cx="4344193" cy="434419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solidFill>
                <a:prstClr val="white"/>
              </a:solidFill>
              <a:latin typeface="Century Gothic"/>
            </a:endParaRPr>
          </a:p>
        </p:txBody>
      </p:sp>
      <p:sp>
        <p:nvSpPr>
          <p:cNvPr id="12" name="TextBox 11">
            <a:extLst>
              <a:ext uri="{FF2B5EF4-FFF2-40B4-BE49-F238E27FC236}">
                <a16:creationId xmlns:a16="http://schemas.microsoft.com/office/drawing/2014/main" id="{CD69BDD9-AD90-47D7-8D42-16B9F8CF519A}"/>
              </a:ext>
            </a:extLst>
          </p:cNvPr>
          <p:cNvSpPr txBox="1"/>
          <p:nvPr userDrawn="1"/>
        </p:nvSpPr>
        <p:spPr>
          <a:xfrm>
            <a:off x="8314543" y="4811035"/>
            <a:ext cx="372257" cy="169277"/>
          </a:xfrm>
          <a:prstGeom prst="rect">
            <a:avLst/>
          </a:prstGeom>
          <a:noFill/>
        </p:spPr>
        <p:txBody>
          <a:bodyPr wrap="square" rtlCol="0">
            <a:spAutoFit/>
          </a:bodyPr>
          <a:lstStyle/>
          <a:p>
            <a:fld id="{790B8636-E7B9-49D1-9120-DEA72B94B27F}" type="slidenum">
              <a:rPr lang="en-US" sz="500" b="1" smtClean="0"/>
              <a:t>‹#›</a:t>
            </a:fld>
            <a:endParaRPr lang="en-US" sz="500" b="1"/>
          </a:p>
        </p:txBody>
      </p:sp>
      <p:sp>
        <p:nvSpPr>
          <p:cNvPr id="13" name="TextBox 12">
            <a:extLst>
              <a:ext uri="{FF2B5EF4-FFF2-40B4-BE49-F238E27FC236}">
                <a16:creationId xmlns:a16="http://schemas.microsoft.com/office/drawing/2014/main" id="{921E4712-42B3-413C-BDE1-4785DB992501}"/>
              </a:ext>
            </a:extLst>
          </p:cNvPr>
          <p:cNvSpPr txBox="1"/>
          <p:nvPr userDrawn="1"/>
        </p:nvSpPr>
        <p:spPr>
          <a:xfrm>
            <a:off x="1160533" y="4811035"/>
            <a:ext cx="582531" cy="169277"/>
          </a:xfrm>
          <a:prstGeom prst="rect">
            <a:avLst/>
          </a:prstGeom>
          <a:noFill/>
        </p:spPr>
        <p:txBody>
          <a:bodyPr wrap="square" rtlCol="0">
            <a:spAutoFit/>
          </a:bodyPr>
          <a:lstStyle/>
          <a:p>
            <a:fld id="{5BB04CB5-ACD6-4E1C-B30F-0B4E51FDF29D}" type="datetime3">
              <a:rPr lang="da-DK" sz="500" b="1" smtClean="0"/>
              <a:t>27.03.2026</a:t>
            </a:fld>
            <a:endParaRPr lang="en-US" sz="500" b="1"/>
          </a:p>
        </p:txBody>
      </p:sp>
      <p:sp>
        <p:nvSpPr>
          <p:cNvPr id="14" name="Title 1"/>
          <p:cNvSpPr>
            <a:spLocks noGrp="1"/>
          </p:cNvSpPr>
          <p:nvPr>
            <p:ph type="title"/>
          </p:nvPr>
        </p:nvSpPr>
        <p:spPr>
          <a:xfrm>
            <a:off x="526093" y="1691878"/>
            <a:ext cx="3745281" cy="1375171"/>
          </a:xfrm>
        </p:spPr>
        <p:txBody>
          <a:bodyPr/>
          <a:lstStyle>
            <a:lvl1pPr>
              <a:defRPr>
                <a:solidFill>
                  <a:schemeClr val="bg1"/>
                </a:solidFill>
              </a:defRPr>
            </a:lvl1pPr>
          </a:lstStyle>
          <a:p>
            <a:r>
              <a:rPr lang="en-US"/>
              <a:t>Click to edit Master title style</a:t>
            </a:r>
          </a:p>
        </p:txBody>
      </p:sp>
      <p:sp>
        <p:nvSpPr>
          <p:cNvPr id="11" name="Pladsholder til indhold 11"/>
          <p:cNvSpPr>
            <a:spLocks noGrp="1"/>
          </p:cNvSpPr>
          <p:nvPr>
            <p:ph sz="quarter" idx="13"/>
          </p:nvPr>
        </p:nvSpPr>
        <p:spPr>
          <a:xfrm>
            <a:off x="4953000" y="642938"/>
            <a:ext cx="3568700" cy="3662362"/>
          </a:xfrm>
        </p:spPr>
        <p:txBody>
          <a:bodyPr anchor="ctr">
            <a:normAutofit/>
          </a:bodyPr>
          <a:lstStyle>
            <a:lvl1pPr marL="0" indent="0">
              <a:buClr>
                <a:schemeClr val="bg1"/>
              </a:buClr>
              <a:buFont typeface="Arial" panose="020B0604020202020204" pitchFamily="34" charset="0"/>
              <a:buNone/>
              <a:defRPr sz="1600">
                <a:solidFill>
                  <a:srgbClr val="FFFFFF"/>
                </a:solidFill>
              </a:defRPr>
            </a:lvl1pPr>
            <a:lvl2pPr marL="457200" indent="0">
              <a:buClr>
                <a:schemeClr val="bg1"/>
              </a:buClr>
              <a:buFont typeface="Arial" panose="020B0604020202020204" pitchFamily="34" charset="0"/>
              <a:buNone/>
              <a:defRPr sz="1100">
                <a:solidFill>
                  <a:srgbClr val="FFFFFF"/>
                </a:solidFill>
              </a:defRPr>
            </a:lvl2pPr>
            <a:lvl3pPr marL="914400" indent="0">
              <a:buClr>
                <a:schemeClr val="bg1"/>
              </a:buClr>
              <a:buFont typeface="Arial" panose="020B0604020202020204" pitchFamily="34" charset="0"/>
              <a:buNone/>
              <a:defRPr sz="1100">
                <a:solidFill>
                  <a:srgbClr val="FFFFFF"/>
                </a:solidFill>
              </a:defRPr>
            </a:lvl3pPr>
            <a:lvl4pPr marL="1371600" indent="0">
              <a:buClr>
                <a:schemeClr val="bg1"/>
              </a:buClr>
              <a:buFont typeface="Arial" panose="020B0604020202020204" pitchFamily="34" charset="0"/>
              <a:buNone/>
              <a:defRPr sz="1100">
                <a:solidFill>
                  <a:srgbClr val="FFFFFF"/>
                </a:solidFill>
              </a:defRPr>
            </a:lvl4pPr>
            <a:lvl5pPr marL="1828800" indent="0">
              <a:buClr>
                <a:schemeClr val="bg1"/>
              </a:buClr>
              <a:buFont typeface="Arial" panose="020B0604020202020204" pitchFamily="34" charset="0"/>
              <a:buNone/>
              <a:defRPr sz="1100">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1653528570"/>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Sektion slide - finansrød citat(med footer)">
    <p:bg>
      <p:bgPr>
        <a:solidFill>
          <a:schemeClr val="accent1"/>
        </a:solidFill>
        <a:effectLst/>
      </p:bgPr>
    </p:bg>
    <p:spTree>
      <p:nvGrpSpPr>
        <p:cNvPr id="1" name=""/>
        <p:cNvGrpSpPr/>
        <p:nvPr/>
      </p:nvGrpSpPr>
      <p:grpSpPr>
        <a:xfrm>
          <a:off x="0" y="0"/>
          <a:ext cx="0" cy="0"/>
          <a:chOff x="0" y="0"/>
          <a:chExt cx="0" cy="0"/>
        </a:xfrm>
      </p:grpSpPr>
      <p:pic>
        <p:nvPicPr>
          <p:cNvPr id="10" name="Billed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8541" y="4868026"/>
            <a:ext cx="700651" cy="69538"/>
          </a:xfrm>
          <a:prstGeom prst="rect">
            <a:avLst/>
          </a:prstGeom>
        </p:spPr>
      </p:pic>
      <p:sp>
        <p:nvSpPr>
          <p:cNvPr id="7" name="TextBox 6">
            <a:extLst>
              <a:ext uri="{FF2B5EF4-FFF2-40B4-BE49-F238E27FC236}">
                <a16:creationId xmlns:a16="http://schemas.microsoft.com/office/drawing/2014/main" id="{27DEB20F-56C7-45F5-9CE2-3F3BA5BAD424}"/>
              </a:ext>
            </a:extLst>
          </p:cNvPr>
          <p:cNvSpPr txBox="1"/>
          <p:nvPr userDrawn="1"/>
        </p:nvSpPr>
        <p:spPr>
          <a:xfrm>
            <a:off x="8314543" y="4811035"/>
            <a:ext cx="372257" cy="169277"/>
          </a:xfrm>
          <a:prstGeom prst="rect">
            <a:avLst/>
          </a:prstGeom>
          <a:noFill/>
        </p:spPr>
        <p:txBody>
          <a:bodyPr wrap="square" rtlCol="0">
            <a:spAutoFit/>
          </a:bodyPr>
          <a:lstStyle/>
          <a:p>
            <a:fld id="{790B8636-E7B9-49D1-9120-DEA72B94B27F}" type="slidenum">
              <a:rPr lang="en-US" sz="500" b="1" smtClean="0">
                <a:solidFill>
                  <a:schemeClr val="bg1"/>
                </a:solidFill>
              </a:rPr>
              <a:t>‹#›</a:t>
            </a:fld>
            <a:endParaRPr lang="en-US" sz="500" b="1">
              <a:solidFill>
                <a:schemeClr val="bg1"/>
              </a:solidFill>
            </a:endParaRPr>
          </a:p>
        </p:txBody>
      </p:sp>
      <p:sp>
        <p:nvSpPr>
          <p:cNvPr id="8" name="TextBox 7">
            <a:extLst>
              <a:ext uri="{FF2B5EF4-FFF2-40B4-BE49-F238E27FC236}">
                <a16:creationId xmlns:a16="http://schemas.microsoft.com/office/drawing/2014/main" id="{2DCA69F7-E765-432B-BABD-1F43DC56BC9C}"/>
              </a:ext>
            </a:extLst>
          </p:cNvPr>
          <p:cNvSpPr txBox="1"/>
          <p:nvPr userDrawn="1"/>
        </p:nvSpPr>
        <p:spPr>
          <a:xfrm>
            <a:off x="1160533" y="4811035"/>
            <a:ext cx="582531" cy="169277"/>
          </a:xfrm>
          <a:prstGeom prst="rect">
            <a:avLst/>
          </a:prstGeom>
          <a:noFill/>
        </p:spPr>
        <p:txBody>
          <a:bodyPr wrap="square" rtlCol="0">
            <a:spAutoFit/>
          </a:bodyPr>
          <a:lstStyle/>
          <a:p>
            <a:fld id="{D00F8DEA-51C5-4D82-AFA3-450B4B307160}" type="datetime3">
              <a:rPr lang="da-DK" sz="500" b="1" smtClean="0">
                <a:solidFill>
                  <a:schemeClr val="bg1"/>
                </a:solidFill>
              </a:rPr>
              <a:t>27.03.2026</a:t>
            </a:fld>
            <a:endParaRPr lang="en-US" sz="500" b="1">
              <a:solidFill>
                <a:schemeClr val="bg1"/>
              </a:solidFill>
            </a:endParaRPr>
          </a:p>
        </p:txBody>
      </p:sp>
      <p:sp>
        <p:nvSpPr>
          <p:cNvPr id="12" name="Subtitle 2"/>
          <p:cNvSpPr>
            <a:spLocks noGrp="1"/>
          </p:cNvSpPr>
          <p:nvPr>
            <p:ph type="subTitle" idx="1" hasCustomPrompt="1"/>
          </p:nvPr>
        </p:nvSpPr>
        <p:spPr>
          <a:xfrm>
            <a:off x="572540" y="1847512"/>
            <a:ext cx="7390359" cy="1954868"/>
          </a:xfrm>
        </p:spPr>
        <p:txBody>
          <a:bodyPr>
            <a:normAutofit/>
          </a:bodyPr>
          <a:lstStyle>
            <a:lvl1pPr marL="0" indent="0" algn="l">
              <a:buNone/>
              <a:defRPr sz="3600" i="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title style</a:t>
            </a:r>
          </a:p>
        </p:txBody>
      </p:sp>
      <p:pic>
        <p:nvPicPr>
          <p:cNvPr id="13" name="Billed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1329" y="1138743"/>
            <a:ext cx="743712" cy="609600"/>
          </a:xfrm>
          <a:prstGeom prst="rect">
            <a:avLst/>
          </a:prstGeom>
        </p:spPr>
      </p:pic>
    </p:spTree>
    <p:extLst>
      <p:ext uri="{BB962C8B-B14F-4D97-AF65-F5344CB8AC3E}">
        <p14:creationId xmlns:p14="http://schemas.microsoft.com/office/powerpoint/2010/main" val="21417765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ontent 1 White">
    <p:spTree>
      <p:nvGrpSpPr>
        <p:cNvPr id="1" name=""/>
        <p:cNvGrpSpPr/>
        <p:nvPr/>
      </p:nvGrpSpPr>
      <p:grpSpPr>
        <a:xfrm>
          <a:off x="0" y="0"/>
          <a:ext cx="0" cy="0"/>
          <a:chOff x="0" y="0"/>
          <a:chExt cx="0" cy="0"/>
        </a:xfrm>
      </p:grpSpPr>
      <p:grpSp>
        <p:nvGrpSpPr>
          <p:cNvPr id="22" name="Grupp 21">
            <a:extLst>
              <a:ext uri="{FF2B5EF4-FFF2-40B4-BE49-F238E27FC236}">
                <a16:creationId xmlns:a16="http://schemas.microsoft.com/office/drawing/2014/main" id="{58A4F037-5372-4F50-AB2C-80E4F015FDE0}"/>
              </a:ext>
            </a:extLst>
          </p:cNvPr>
          <p:cNvGrpSpPr/>
          <p:nvPr userDrawn="1"/>
        </p:nvGrpSpPr>
        <p:grpSpPr>
          <a:xfrm>
            <a:off x="4113113" y="-1785593"/>
            <a:ext cx="8908892" cy="8714685"/>
            <a:chOff x="3589405" y="387640"/>
            <a:chExt cx="5873827" cy="5872463"/>
          </a:xfrm>
          <a:solidFill>
            <a:schemeClr val="tx1">
              <a:alpha val="10000"/>
            </a:schemeClr>
          </a:solidFill>
        </p:grpSpPr>
        <p:sp>
          <p:nvSpPr>
            <p:cNvPr id="23" name="Freeform 5">
              <a:extLst>
                <a:ext uri="{FF2B5EF4-FFF2-40B4-BE49-F238E27FC236}">
                  <a16:creationId xmlns:a16="http://schemas.microsoft.com/office/drawing/2014/main" id="{7C1D4E85-F2CE-4336-8CC8-25E235311297}"/>
                </a:ext>
              </a:extLst>
            </p:cNvPr>
            <p:cNvSpPr>
              <a:spLocks/>
            </p:cNvSpPr>
            <p:nvPr/>
          </p:nvSpPr>
          <p:spPr bwMode="auto">
            <a:xfrm>
              <a:off x="3871774" y="678194"/>
              <a:ext cx="1392749" cy="1400934"/>
            </a:xfrm>
            <a:custGeom>
              <a:avLst/>
              <a:gdLst>
                <a:gd name="T0" fmla="*/ 2096 w 2096"/>
                <a:gd name="T1" fmla="*/ 0 h 2108"/>
                <a:gd name="T2" fmla="*/ 877 w 2096"/>
                <a:gd name="T3" fmla="*/ 863 h 2108"/>
                <a:gd name="T4" fmla="*/ 0 w 2096"/>
                <a:gd name="T5" fmla="*/ 2108 h 2108"/>
                <a:gd name="T6" fmla="*/ 981 w 2096"/>
                <a:gd name="T7" fmla="*/ 948 h 2108"/>
                <a:gd name="T8" fmla="*/ 2096 w 2096"/>
                <a:gd name="T9" fmla="*/ 0 h 2108"/>
              </a:gdLst>
              <a:ahLst/>
              <a:cxnLst>
                <a:cxn ang="0">
                  <a:pos x="T0" y="T1"/>
                </a:cxn>
                <a:cxn ang="0">
                  <a:pos x="T2" y="T3"/>
                </a:cxn>
                <a:cxn ang="0">
                  <a:pos x="T4" y="T5"/>
                </a:cxn>
                <a:cxn ang="0">
                  <a:pos x="T6" y="T7"/>
                </a:cxn>
                <a:cxn ang="0">
                  <a:pos x="T8" y="T9"/>
                </a:cxn>
              </a:cxnLst>
              <a:rect l="0" t="0" r="r" b="b"/>
              <a:pathLst>
                <a:path w="2096" h="2108">
                  <a:moveTo>
                    <a:pt x="2096" y="0"/>
                  </a:moveTo>
                  <a:cubicBezTo>
                    <a:pt x="1655" y="211"/>
                    <a:pt x="1242" y="498"/>
                    <a:pt x="877" y="863"/>
                  </a:cubicBezTo>
                  <a:cubicBezTo>
                    <a:pt x="504" y="1235"/>
                    <a:pt x="213" y="1658"/>
                    <a:pt x="0" y="2108"/>
                  </a:cubicBezTo>
                  <a:cubicBezTo>
                    <a:pt x="254" y="1741"/>
                    <a:pt x="588" y="1343"/>
                    <a:pt x="981" y="948"/>
                  </a:cubicBezTo>
                  <a:cubicBezTo>
                    <a:pt x="1360" y="571"/>
                    <a:pt x="1741" y="249"/>
                    <a:pt x="209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4" name="Freeform 6">
              <a:extLst>
                <a:ext uri="{FF2B5EF4-FFF2-40B4-BE49-F238E27FC236}">
                  <a16:creationId xmlns:a16="http://schemas.microsoft.com/office/drawing/2014/main" id="{AAC8634F-3E34-4168-8D60-19B3A00C0D81}"/>
                </a:ext>
              </a:extLst>
            </p:cNvPr>
            <p:cNvSpPr>
              <a:spLocks/>
            </p:cNvSpPr>
            <p:nvPr/>
          </p:nvSpPr>
          <p:spPr bwMode="auto">
            <a:xfrm>
              <a:off x="3635784" y="435383"/>
              <a:ext cx="2381724" cy="2399457"/>
            </a:xfrm>
            <a:custGeom>
              <a:avLst/>
              <a:gdLst>
                <a:gd name="T0" fmla="*/ 446 w 3585"/>
                <a:gd name="T1" fmla="*/ 2866 h 3609"/>
                <a:gd name="T2" fmla="*/ 484 w 3585"/>
                <a:gd name="T3" fmla="*/ 2811 h 3609"/>
                <a:gd name="T4" fmla="*/ 1565 w 3585"/>
                <a:gd name="T5" fmla="*/ 1541 h 3609"/>
                <a:gd name="T6" fmla="*/ 2835 w 3585"/>
                <a:gd name="T7" fmla="*/ 460 h 3609"/>
                <a:gd name="T8" fmla="*/ 2891 w 3585"/>
                <a:gd name="T9" fmla="*/ 422 h 3609"/>
                <a:gd name="T10" fmla="*/ 2945 w 3585"/>
                <a:gd name="T11" fmla="*/ 385 h 3609"/>
                <a:gd name="T12" fmla="*/ 3585 w 3585"/>
                <a:gd name="T13" fmla="*/ 0 h 3609"/>
                <a:gd name="T14" fmla="*/ 3071 w 3585"/>
                <a:gd name="T15" fmla="*/ 123 h 3609"/>
                <a:gd name="T16" fmla="*/ 2863 w 3585"/>
                <a:gd name="T17" fmla="*/ 239 h 3609"/>
                <a:gd name="T18" fmla="*/ 2809 w 3585"/>
                <a:gd name="T19" fmla="*/ 272 h 3609"/>
                <a:gd name="T20" fmla="*/ 2752 w 3585"/>
                <a:gd name="T21" fmla="*/ 307 h 3609"/>
                <a:gd name="T22" fmla="*/ 1420 w 3585"/>
                <a:gd name="T23" fmla="*/ 1396 h 3609"/>
                <a:gd name="T24" fmla="*/ 331 w 3585"/>
                <a:gd name="T25" fmla="*/ 2728 h 3609"/>
                <a:gd name="T26" fmla="*/ 296 w 3585"/>
                <a:gd name="T27" fmla="*/ 2785 h 3609"/>
                <a:gd name="T28" fmla="*/ 263 w 3585"/>
                <a:gd name="T29" fmla="*/ 2839 h 3609"/>
                <a:gd name="T30" fmla="*/ 113 w 3585"/>
                <a:gd name="T31" fmla="*/ 3114 h 3609"/>
                <a:gd name="T32" fmla="*/ 0 w 3585"/>
                <a:gd name="T33" fmla="*/ 3609 h 3609"/>
                <a:gd name="T34" fmla="*/ 408 w 3585"/>
                <a:gd name="T35" fmla="*/ 2921 h 3609"/>
                <a:gd name="T36" fmla="*/ 446 w 3585"/>
                <a:gd name="T37" fmla="*/ 2866 h 3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85" h="3609">
                  <a:moveTo>
                    <a:pt x="446" y="2866"/>
                  </a:moveTo>
                  <a:cubicBezTo>
                    <a:pt x="459" y="2848"/>
                    <a:pt x="471" y="2830"/>
                    <a:pt x="484" y="2811"/>
                  </a:cubicBezTo>
                  <a:cubicBezTo>
                    <a:pt x="775" y="2399"/>
                    <a:pt x="1141" y="1966"/>
                    <a:pt x="1565" y="1541"/>
                  </a:cubicBezTo>
                  <a:cubicBezTo>
                    <a:pt x="1990" y="1117"/>
                    <a:pt x="2423" y="751"/>
                    <a:pt x="2835" y="460"/>
                  </a:cubicBezTo>
                  <a:cubicBezTo>
                    <a:pt x="2854" y="447"/>
                    <a:pt x="2872" y="435"/>
                    <a:pt x="2891" y="422"/>
                  </a:cubicBezTo>
                  <a:cubicBezTo>
                    <a:pt x="2909" y="409"/>
                    <a:pt x="2927" y="397"/>
                    <a:pt x="2945" y="385"/>
                  </a:cubicBezTo>
                  <a:cubicBezTo>
                    <a:pt x="3167" y="233"/>
                    <a:pt x="3382" y="104"/>
                    <a:pt x="3585" y="0"/>
                  </a:cubicBezTo>
                  <a:cubicBezTo>
                    <a:pt x="3412" y="31"/>
                    <a:pt x="3240" y="72"/>
                    <a:pt x="3071" y="123"/>
                  </a:cubicBezTo>
                  <a:cubicBezTo>
                    <a:pt x="3004" y="158"/>
                    <a:pt x="2935" y="196"/>
                    <a:pt x="2863" y="239"/>
                  </a:cubicBezTo>
                  <a:cubicBezTo>
                    <a:pt x="2845" y="249"/>
                    <a:pt x="2827" y="261"/>
                    <a:pt x="2809" y="272"/>
                  </a:cubicBezTo>
                  <a:cubicBezTo>
                    <a:pt x="2790" y="284"/>
                    <a:pt x="2771" y="294"/>
                    <a:pt x="2752" y="307"/>
                  </a:cubicBezTo>
                  <a:cubicBezTo>
                    <a:pt x="2343" y="565"/>
                    <a:pt x="1875" y="939"/>
                    <a:pt x="1420" y="1396"/>
                  </a:cubicBezTo>
                  <a:cubicBezTo>
                    <a:pt x="963" y="1851"/>
                    <a:pt x="589" y="2319"/>
                    <a:pt x="331" y="2728"/>
                  </a:cubicBezTo>
                  <a:cubicBezTo>
                    <a:pt x="318" y="2747"/>
                    <a:pt x="308" y="2766"/>
                    <a:pt x="296" y="2785"/>
                  </a:cubicBezTo>
                  <a:cubicBezTo>
                    <a:pt x="285" y="2803"/>
                    <a:pt x="273" y="2821"/>
                    <a:pt x="263" y="2839"/>
                  </a:cubicBezTo>
                  <a:cubicBezTo>
                    <a:pt x="205" y="2935"/>
                    <a:pt x="156" y="3027"/>
                    <a:pt x="113" y="3114"/>
                  </a:cubicBezTo>
                  <a:cubicBezTo>
                    <a:pt x="65" y="3277"/>
                    <a:pt x="28" y="3443"/>
                    <a:pt x="0" y="3609"/>
                  </a:cubicBezTo>
                  <a:cubicBezTo>
                    <a:pt x="107" y="3392"/>
                    <a:pt x="245" y="3161"/>
                    <a:pt x="408" y="2921"/>
                  </a:cubicBezTo>
                  <a:cubicBezTo>
                    <a:pt x="421" y="2903"/>
                    <a:pt x="433" y="2885"/>
                    <a:pt x="446" y="28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5" name="Freeform 7">
              <a:extLst>
                <a:ext uri="{FF2B5EF4-FFF2-40B4-BE49-F238E27FC236}">
                  <a16:creationId xmlns:a16="http://schemas.microsoft.com/office/drawing/2014/main" id="{1044E1AF-5D57-4C57-A718-661729CA160C}"/>
                </a:ext>
              </a:extLst>
            </p:cNvPr>
            <p:cNvSpPr>
              <a:spLocks/>
            </p:cNvSpPr>
            <p:nvPr/>
          </p:nvSpPr>
          <p:spPr bwMode="auto">
            <a:xfrm>
              <a:off x="3589405" y="387640"/>
              <a:ext cx="3051498" cy="3077416"/>
            </a:xfrm>
            <a:custGeom>
              <a:avLst/>
              <a:gdLst>
                <a:gd name="T0" fmla="*/ 267 w 4592"/>
                <a:gd name="T1" fmla="*/ 4024 h 4629"/>
                <a:gd name="T2" fmla="*/ 1026 w 4592"/>
                <a:gd name="T3" fmla="*/ 2858 h 4629"/>
                <a:gd name="T4" fmla="*/ 1121 w 4592"/>
                <a:gd name="T5" fmla="*/ 2738 h 4629"/>
                <a:gd name="T6" fmla="*/ 1236 w 4592"/>
                <a:gd name="T7" fmla="*/ 2597 h 4629"/>
                <a:gd name="T8" fmla="*/ 1896 w 4592"/>
                <a:gd name="T9" fmla="*/ 1875 h 4629"/>
                <a:gd name="T10" fmla="*/ 2618 w 4592"/>
                <a:gd name="T11" fmla="*/ 1215 h 4629"/>
                <a:gd name="T12" fmla="*/ 2759 w 4592"/>
                <a:gd name="T13" fmla="*/ 1101 h 4629"/>
                <a:gd name="T14" fmla="*/ 2878 w 4592"/>
                <a:gd name="T15" fmla="*/ 1006 h 4629"/>
                <a:gd name="T16" fmla="*/ 4045 w 4592"/>
                <a:gd name="T17" fmla="*/ 246 h 4629"/>
                <a:gd name="T18" fmla="*/ 4104 w 4592"/>
                <a:gd name="T19" fmla="*/ 217 h 4629"/>
                <a:gd name="T20" fmla="*/ 4159 w 4592"/>
                <a:gd name="T21" fmla="*/ 189 h 4629"/>
                <a:gd name="T22" fmla="*/ 4592 w 4592"/>
                <a:gd name="T23" fmla="*/ 6 h 4629"/>
                <a:gd name="T24" fmla="*/ 4098 w 4592"/>
                <a:gd name="T25" fmla="*/ 16 h 4629"/>
                <a:gd name="T26" fmla="*/ 4059 w 4592"/>
                <a:gd name="T27" fmla="*/ 19 h 4629"/>
                <a:gd name="T28" fmla="*/ 4034 w 4592"/>
                <a:gd name="T29" fmla="*/ 29 h 4629"/>
                <a:gd name="T30" fmla="*/ 3987 w 4592"/>
                <a:gd name="T31" fmla="*/ 49 h 4629"/>
                <a:gd name="T32" fmla="*/ 3976 w 4592"/>
                <a:gd name="T33" fmla="*/ 53 h 4629"/>
                <a:gd name="T34" fmla="*/ 3018 w 4592"/>
                <a:gd name="T35" fmla="*/ 598 h 4629"/>
                <a:gd name="T36" fmla="*/ 2950 w 4592"/>
                <a:gd name="T37" fmla="*/ 644 h 4629"/>
                <a:gd name="T38" fmla="*/ 2877 w 4592"/>
                <a:gd name="T39" fmla="*/ 698 h 4629"/>
                <a:gd name="T40" fmla="*/ 1717 w 4592"/>
                <a:gd name="T41" fmla="*/ 1696 h 4629"/>
                <a:gd name="T42" fmla="*/ 718 w 4592"/>
                <a:gd name="T43" fmla="*/ 2856 h 4629"/>
                <a:gd name="T44" fmla="*/ 665 w 4592"/>
                <a:gd name="T45" fmla="*/ 2929 h 4629"/>
                <a:gd name="T46" fmla="*/ 618 w 4592"/>
                <a:gd name="T47" fmla="*/ 2997 h 4629"/>
                <a:gd name="T48" fmla="*/ 74 w 4592"/>
                <a:gd name="T49" fmla="*/ 3955 h 4629"/>
                <a:gd name="T50" fmla="*/ 50 w 4592"/>
                <a:gd name="T51" fmla="*/ 4013 h 4629"/>
                <a:gd name="T52" fmla="*/ 28 w 4592"/>
                <a:gd name="T53" fmla="*/ 4070 h 4629"/>
                <a:gd name="T54" fmla="*/ 17 w 4592"/>
                <a:gd name="T55" fmla="*/ 4101 h 4629"/>
                <a:gd name="T56" fmla="*/ 8 w 4592"/>
                <a:gd name="T57" fmla="*/ 4629 h 4629"/>
                <a:gd name="T58" fmla="*/ 210 w 4592"/>
                <a:gd name="T59" fmla="*/ 4138 h 4629"/>
                <a:gd name="T60" fmla="*/ 238 w 4592"/>
                <a:gd name="T61" fmla="*/ 4083 h 4629"/>
                <a:gd name="T62" fmla="*/ 267 w 4592"/>
                <a:gd name="T63" fmla="*/ 4024 h 4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92" h="4629">
                  <a:moveTo>
                    <a:pt x="267" y="4024"/>
                  </a:moveTo>
                  <a:cubicBezTo>
                    <a:pt x="457" y="3655"/>
                    <a:pt x="713" y="3259"/>
                    <a:pt x="1026" y="2858"/>
                  </a:cubicBezTo>
                  <a:cubicBezTo>
                    <a:pt x="1057" y="2818"/>
                    <a:pt x="1089" y="2778"/>
                    <a:pt x="1121" y="2738"/>
                  </a:cubicBezTo>
                  <a:cubicBezTo>
                    <a:pt x="1159" y="2691"/>
                    <a:pt x="1197" y="2644"/>
                    <a:pt x="1236" y="2597"/>
                  </a:cubicBezTo>
                  <a:cubicBezTo>
                    <a:pt x="1437" y="2356"/>
                    <a:pt x="1658" y="2114"/>
                    <a:pt x="1896" y="1875"/>
                  </a:cubicBezTo>
                  <a:cubicBezTo>
                    <a:pt x="2134" y="1637"/>
                    <a:pt x="2376" y="1417"/>
                    <a:pt x="2618" y="1215"/>
                  </a:cubicBezTo>
                  <a:cubicBezTo>
                    <a:pt x="2665" y="1176"/>
                    <a:pt x="2712" y="1138"/>
                    <a:pt x="2759" y="1101"/>
                  </a:cubicBezTo>
                  <a:cubicBezTo>
                    <a:pt x="2799" y="1068"/>
                    <a:pt x="2839" y="1037"/>
                    <a:pt x="2878" y="1006"/>
                  </a:cubicBezTo>
                  <a:cubicBezTo>
                    <a:pt x="3280" y="693"/>
                    <a:pt x="3675" y="437"/>
                    <a:pt x="4045" y="246"/>
                  </a:cubicBezTo>
                  <a:cubicBezTo>
                    <a:pt x="4065" y="236"/>
                    <a:pt x="4084" y="226"/>
                    <a:pt x="4104" y="217"/>
                  </a:cubicBezTo>
                  <a:cubicBezTo>
                    <a:pt x="4122" y="208"/>
                    <a:pt x="4141" y="198"/>
                    <a:pt x="4159" y="189"/>
                  </a:cubicBezTo>
                  <a:cubicBezTo>
                    <a:pt x="4309" y="116"/>
                    <a:pt x="4453" y="55"/>
                    <a:pt x="4592" y="6"/>
                  </a:cubicBezTo>
                  <a:cubicBezTo>
                    <a:pt x="4427" y="0"/>
                    <a:pt x="4262" y="3"/>
                    <a:pt x="4098" y="16"/>
                  </a:cubicBezTo>
                  <a:cubicBezTo>
                    <a:pt x="4085" y="17"/>
                    <a:pt x="4072" y="18"/>
                    <a:pt x="4059" y="19"/>
                  </a:cubicBezTo>
                  <a:cubicBezTo>
                    <a:pt x="4051" y="22"/>
                    <a:pt x="4043" y="26"/>
                    <a:pt x="4034" y="29"/>
                  </a:cubicBezTo>
                  <a:cubicBezTo>
                    <a:pt x="4019" y="35"/>
                    <a:pt x="4003" y="42"/>
                    <a:pt x="3987" y="49"/>
                  </a:cubicBezTo>
                  <a:cubicBezTo>
                    <a:pt x="3983" y="50"/>
                    <a:pt x="3980" y="51"/>
                    <a:pt x="3976" y="53"/>
                  </a:cubicBezTo>
                  <a:cubicBezTo>
                    <a:pt x="3689" y="174"/>
                    <a:pt x="3362" y="358"/>
                    <a:pt x="3018" y="598"/>
                  </a:cubicBezTo>
                  <a:cubicBezTo>
                    <a:pt x="2995" y="613"/>
                    <a:pt x="2973" y="628"/>
                    <a:pt x="2950" y="644"/>
                  </a:cubicBezTo>
                  <a:cubicBezTo>
                    <a:pt x="2926" y="661"/>
                    <a:pt x="2902" y="680"/>
                    <a:pt x="2877" y="698"/>
                  </a:cubicBezTo>
                  <a:cubicBezTo>
                    <a:pt x="2499" y="973"/>
                    <a:pt x="2103" y="1309"/>
                    <a:pt x="1717" y="1696"/>
                  </a:cubicBezTo>
                  <a:cubicBezTo>
                    <a:pt x="1330" y="2082"/>
                    <a:pt x="994" y="2478"/>
                    <a:pt x="718" y="2856"/>
                  </a:cubicBezTo>
                  <a:cubicBezTo>
                    <a:pt x="701" y="2881"/>
                    <a:pt x="682" y="2905"/>
                    <a:pt x="665" y="2929"/>
                  </a:cubicBezTo>
                  <a:cubicBezTo>
                    <a:pt x="649" y="2952"/>
                    <a:pt x="634" y="2974"/>
                    <a:pt x="618" y="2997"/>
                  </a:cubicBezTo>
                  <a:cubicBezTo>
                    <a:pt x="379" y="3341"/>
                    <a:pt x="195" y="3668"/>
                    <a:pt x="74" y="3955"/>
                  </a:cubicBezTo>
                  <a:cubicBezTo>
                    <a:pt x="66" y="3975"/>
                    <a:pt x="57" y="3994"/>
                    <a:pt x="50" y="4013"/>
                  </a:cubicBezTo>
                  <a:cubicBezTo>
                    <a:pt x="42" y="4032"/>
                    <a:pt x="35" y="4051"/>
                    <a:pt x="28" y="4070"/>
                  </a:cubicBezTo>
                  <a:cubicBezTo>
                    <a:pt x="24" y="4080"/>
                    <a:pt x="21" y="4090"/>
                    <a:pt x="17" y="4101"/>
                  </a:cubicBezTo>
                  <a:cubicBezTo>
                    <a:pt x="4" y="4276"/>
                    <a:pt x="0" y="4452"/>
                    <a:pt x="8" y="4629"/>
                  </a:cubicBezTo>
                  <a:cubicBezTo>
                    <a:pt x="60" y="4472"/>
                    <a:pt x="127" y="4309"/>
                    <a:pt x="210" y="4138"/>
                  </a:cubicBezTo>
                  <a:cubicBezTo>
                    <a:pt x="219" y="4120"/>
                    <a:pt x="228" y="4101"/>
                    <a:pt x="238" y="4083"/>
                  </a:cubicBezTo>
                  <a:cubicBezTo>
                    <a:pt x="247" y="4063"/>
                    <a:pt x="257" y="4044"/>
                    <a:pt x="267" y="40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6" name="Freeform 8">
              <a:extLst>
                <a:ext uri="{FF2B5EF4-FFF2-40B4-BE49-F238E27FC236}">
                  <a16:creationId xmlns:a16="http://schemas.microsoft.com/office/drawing/2014/main" id="{3377C1A4-0564-4448-BF92-C18ABDBCE824}"/>
                </a:ext>
              </a:extLst>
            </p:cNvPr>
            <p:cNvSpPr>
              <a:spLocks/>
            </p:cNvSpPr>
            <p:nvPr/>
          </p:nvSpPr>
          <p:spPr bwMode="auto">
            <a:xfrm>
              <a:off x="3736728" y="524050"/>
              <a:ext cx="4067755" cy="4096401"/>
            </a:xfrm>
            <a:custGeom>
              <a:avLst/>
              <a:gdLst>
                <a:gd name="T0" fmla="*/ 711 w 6120"/>
                <a:gd name="T1" fmla="*/ 4802 h 6162"/>
                <a:gd name="T2" fmla="*/ 755 w 6120"/>
                <a:gd name="T3" fmla="*/ 4721 h 6162"/>
                <a:gd name="T4" fmla="*/ 2492 w 6120"/>
                <a:gd name="T5" fmla="*/ 2487 h 6162"/>
                <a:gd name="T6" fmla="*/ 4726 w 6120"/>
                <a:gd name="T7" fmla="*/ 750 h 6162"/>
                <a:gd name="T8" fmla="*/ 4807 w 6120"/>
                <a:gd name="T9" fmla="*/ 706 h 6162"/>
                <a:gd name="T10" fmla="*/ 4883 w 6120"/>
                <a:gd name="T11" fmla="*/ 666 h 6162"/>
                <a:gd name="T12" fmla="*/ 5747 w 6120"/>
                <a:gd name="T13" fmla="*/ 308 h 6162"/>
                <a:gd name="T14" fmla="*/ 5804 w 6120"/>
                <a:gd name="T15" fmla="*/ 292 h 6162"/>
                <a:gd name="T16" fmla="*/ 5862 w 6120"/>
                <a:gd name="T17" fmla="*/ 276 h 6162"/>
                <a:gd name="T18" fmla="*/ 6120 w 6120"/>
                <a:gd name="T19" fmla="*/ 226 h 6162"/>
                <a:gd name="T20" fmla="*/ 5817 w 6120"/>
                <a:gd name="T21" fmla="*/ 96 h 6162"/>
                <a:gd name="T22" fmla="*/ 5740 w 6120"/>
                <a:gd name="T23" fmla="*/ 67 h 6162"/>
                <a:gd name="T24" fmla="*/ 5659 w 6120"/>
                <a:gd name="T25" fmla="*/ 37 h 6162"/>
                <a:gd name="T26" fmla="*/ 5541 w 6120"/>
                <a:gd name="T27" fmla="*/ 0 h 6162"/>
                <a:gd name="T28" fmla="*/ 4988 w 6120"/>
                <a:gd name="T29" fmla="*/ 131 h 6162"/>
                <a:gd name="T30" fmla="*/ 4928 w 6120"/>
                <a:gd name="T31" fmla="*/ 153 h 6162"/>
                <a:gd name="T32" fmla="*/ 4868 w 6120"/>
                <a:gd name="T33" fmla="*/ 175 h 6162"/>
                <a:gd name="T34" fmla="*/ 3700 w 6120"/>
                <a:gd name="T35" fmla="*/ 791 h 6162"/>
                <a:gd name="T36" fmla="*/ 3593 w 6120"/>
                <a:gd name="T37" fmla="*/ 862 h 6162"/>
                <a:gd name="T38" fmla="*/ 3473 w 6120"/>
                <a:gd name="T39" fmla="*/ 946 h 6162"/>
                <a:gd name="T40" fmla="*/ 2108 w 6120"/>
                <a:gd name="T41" fmla="*/ 2103 h 6162"/>
                <a:gd name="T42" fmla="*/ 951 w 6120"/>
                <a:gd name="T43" fmla="*/ 3469 h 6162"/>
                <a:gd name="T44" fmla="*/ 866 w 6120"/>
                <a:gd name="T45" fmla="*/ 3588 h 6162"/>
                <a:gd name="T46" fmla="*/ 796 w 6120"/>
                <a:gd name="T47" fmla="*/ 3695 h 6162"/>
                <a:gd name="T48" fmla="*/ 180 w 6120"/>
                <a:gd name="T49" fmla="*/ 4863 h 6162"/>
                <a:gd name="T50" fmla="*/ 157 w 6120"/>
                <a:gd name="T51" fmla="*/ 4924 h 6162"/>
                <a:gd name="T52" fmla="*/ 136 w 6120"/>
                <a:gd name="T53" fmla="*/ 4983 h 6162"/>
                <a:gd name="T54" fmla="*/ 0 w 6120"/>
                <a:gd name="T55" fmla="*/ 5601 h 6162"/>
                <a:gd name="T56" fmla="*/ 9 w 6120"/>
                <a:gd name="T57" fmla="*/ 5631 h 6162"/>
                <a:gd name="T58" fmla="*/ 39 w 6120"/>
                <a:gd name="T59" fmla="*/ 5719 h 6162"/>
                <a:gd name="T60" fmla="*/ 69 w 6120"/>
                <a:gd name="T61" fmla="*/ 5799 h 6162"/>
                <a:gd name="T62" fmla="*/ 225 w 6120"/>
                <a:gd name="T63" fmla="*/ 6162 h 6162"/>
                <a:gd name="T64" fmla="*/ 282 w 6120"/>
                <a:gd name="T65" fmla="*/ 5857 h 6162"/>
                <a:gd name="T66" fmla="*/ 297 w 6120"/>
                <a:gd name="T67" fmla="*/ 5799 h 6162"/>
                <a:gd name="T68" fmla="*/ 313 w 6120"/>
                <a:gd name="T69" fmla="*/ 5742 h 6162"/>
                <a:gd name="T70" fmla="*/ 671 w 6120"/>
                <a:gd name="T71" fmla="*/ 4877 h 6162"/>
                <a:gd name="T72" fmla="*/ 711 w 6120"/>
                <a:gd name="T73" fmla="*/ 4802 h 6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20" h="6162">
                  <a:moveTo>
                    <a:pt x="711" y="4802"/>
                  </a:moveTo>
                  <a:cubicBezTo>
                    <a:pt x="726" y="4775"/>
                    <a:pt x="740" y="4748"/>
                    <a:pt x="755" y="4721"/>
                  </a:cubicBezTo>
                  <a:cubicBezTo>
                    <a:pt x="1151" y="4012"/>
                    <a:pt x="1746" y="3234"/>
                    <a:pt x="2492" y="2487"/>
                  </a:cubicBezTo>
                  <a:cubicBezTo>
                    <a:pt x="3239" y="1741"/>
                    <a:pt x="4017" y="1146"/>
                    <a:pt x="4726" y="750"/>
                  </a:cubicBezTo>
                  <a:cubicBezTo>
                    <a:pt x="4753" y="735"/>
                    <a:pt x="4780" y="721"/>
                    <a:pt x="4807" y="706"/>
                  </a:cubicBezTo>
                  <a:cubicBezTo>
                    <a:pt x="4832" y="693"/>
                    <a:pt x="4857" y="679"/>
                    <a:pt x="4883" y="666"/>
                  </a:cubicBezTo>
                  <a:cubicBezTo>
                    <a:pt x="5189" y="506"/>
                    <a:pt x="5480" y="385"/>
                    <a:pt x="5747" y="308"/>
                  </a:cubicBezTo>
                  <a:cubicBezTo>
                    <a:pt x="5766" y="302"/>
                    <a:pt x="5785" y="297"/>
                    <a:pt x="5804" y="292"/>
                  </a:cubicBezTo>
                  <a:cubicBezTo>
                    <a:pt x="5824" y="286"/>
                    <a:pt x="5843" y="281"/>
                    <a:pt x="5862" y="276"/>
                  </a:cubicBezTo>
                  <a:cubicBezTo>
                    <a:pt x="5951" y="254"/>
                    <a:pt x="6037" y="238"/>
                    <a:pt x="6120" y="226"/>
                  </a:cubicBezTo>
                  <a:cubicBezTo>
                    <a:pt x="6020" y="179"/>
                    <a:pt x="5919" y="136"/>
                    <a:pt x="5817" y="96"/>
                  </a:cubicBezTo>
                  <a:cubicBezTo>
                    <a:pt x="5791" y="86"/>
                    <a:pt x="5766" y="76"/>
                    <a:pt x="5740" y="67"/>
                  </a:cubicBezTo>
                  <a:cubicBezTo>
                    <a:pt x="5713" y="57"/>
                    <a:pt x="5686" y="47"/>
                    <a:pt x="5659" y="37"/>
                  </a:cubicBezTo>
                  <a:cubicBezTo>
                    <a:pt x="5620" y="24"/>
                    <a:pt x="5580" y="12"/>
                    <a:pt x="5541" y="0"/>
                  </a:cubicBezTo>
                  <a:cubicBezTo>
                    <a:pt x="5373" y="19"/>
                    <a:pt x="5187" y="62"/>
                    <a:pt x="4988" y="131"/>
                  </a:cubicBezTo>
                  <a:cubicBezTo>
                    <a:pt x="4969" y="137"/>
                    <a:pt x="4948" y="145"/>
                    <a:pt x="4928" y="153"/>
                  </a:cubicBezTo>
                  <a:cubicBezTo>
                    <a:pt x="4909" y="160"/>
                    <a:pt x="4888" y="168"/>
                    <a:pt x="4868" y="175"/>
                  </a:cubicBezTo>
                  <a:cubicBezTo>
                    <a:pt x="4509" y="311"/>
                    <a:pt x="4113" y="520"/>
                    <a:pt x="3700" y="791"/>
                  </a:cubicBezTo>
                  <a:cubicBezTo>
                    <a:pt x="3665" y="815"/>
                    <a:pt x="3629" y="837"/>
                    <a:pt x="3593" y="862"/>
                  </a:cubicBezTo>
                  <a:cubicBezTo>
                    <a:pt x="3554" y="889"/>
                    <a:pt x="3513" y="918"/>
                    <a:pt x="3473" y="946"/>
                  </a:cubicBezTo>
                  <a:cubicBezTo>
                    <a:pt x="3022" y="1264"/>
                    <a:pt x="2557" y="1653"/>
                    <a:pt x="2108" y="2103"/>
                  </a:cubicBezTo>
                  <a:cubicBezTo>
                    <a:pt x="1657" y="2553"/>
                    <a:pt x="1269" y="3017"/>
                    <a:pt x="951" y="3469"/>
                  </a:cubicBezTo>
                  <a:cubicBezTo>
                    <a:pt x="922" y="3509"/>
                    <a:pt x="893" y="3549"/>
                    <a:pt x="866" y="3588"/>
                  </a:cubicBezTo>
                  <a:cubicBezTo>
                    <a:pt x="842" y="3624"/>
                    <a:pt x="819" y="3660"/>
                    <a:pt x="796" y="3695"/>
                  </a:cubicBezTo>
                  <a:cubicBezTo>
                    <a:pt x="525" y="4108"/>
                    <a:pt x="316" y="4504"/>
                    <a:pt x="180" y="4863"/>
                  </a:cubicBezTo>
                  <a:cubicBezTo>
                    <a:pt x="173" y="4883"/>
                    <a:pt x="165" y="4904"/>
                    <a:pt x="157" y="4924"/>
                  </a:cubicBezTo>
                  <a:cubicBezTo>
                    <a:pt x="150" y="4943"/>
                    <a:pt x="142" y="4964"/>
                    <a:pt x="136" y="4983"/>
                  </a:cubicBezTo>
                  <a:cubicBezTo>
                    <a:pt x="58" y="5209"/>
                    <a:pt x="13" y="5416"/>
                    <a:pt x="0" y="5601"/>
                  </a:cubicBezTo>
                  <a:cubicBezTo>
                    <a:pt x="3" y="5611"/>
                    <a:pt x="6" y="5621"/>
                    <a:pt x="9" y="5631"/>
                  </a:cubicBezTo>
                  <a:cubicBezTo>
                    <a:pt x="19" y="5660"/>
                    <a:pt x="29" y="5690"/>
                    <a:pt x="39" y="5719"/>
                  </a:cubicBezTo>
                  <a:cubicBezTo>
                    <a:pt x="49" y="5746"/>
                    <a:pt x="59" y="5772"/>
                    <a:pt x="69" y="5799"/>
                  </a:cubicBezTo>
                  <a:cubicBezTo>
                    <a:pt x="116" y="5922"/>
                    <a:pt x="168" y="6043"/>
                    <a:pt x="225" y="6162"/>
                  </a:cubicBezTo>
                  <a:cubicBezTo>
                    <a:pt x="236" y="6065"/>
                    <a:pt x="255" y="5963"/>
                    <a:pt x="282" y="5857"/>
                  </a:cubicBezTo>
                  <a:cubicBezTo>
                    <a:pt x="286" y="5838"/>
                    <a:pt x="291" y="5819"/>
                    <a:pt x="297" y="5799"/>
                  </a:cubicBezTo>
                  <a:cubicBezTo>
                    <a:pt x="302" y="5780"/>
                    <a:pt x="307" y="5761"/>
                    <a:pt x="313" y="5742"/>
                  </a:cubicBezTo>
                  <a:cubicBezTo>
                    <a:pt x="390" y="5475"/>
                    <a:pt x="511" y="5184"/>
                    <a:pt x="671" y="4877"/>
                  </a:cubicBezTo>
                  <a:cubicBezTo>
                    <a:pt x="684" y="4852"/>
                    <a:pt x="698" y="4827"/>
                    <a:pt x="711" y="48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7" name="Freeform 9">
              <a:extLst>
                <a:ext uri="{FF2B5EF4-FFF2-40B4-BE49-F238E27FC236}">
                  <a16:creationId xmlns:a16="http://schemas.microsoft.com/office/drawing/2014/main" id="{6EC9FAE3-1492-416A-BCFC-66F77187622F}"/>
                </a:ext>
              </a:extLst>
            </p:cNvPr>
            <p:cNvSpPr>
              <a:spLocks/>
            </p:cNvSpPr>
            <p:nvPr/>
          </p:nvSpPr>
          <p:spPr bwMode="auto">
            <a:xfrm>
              <a:off x="4160964" y="945558"/>
              <a:ext cx="4516544" cy="4545190"/>
            </a:xfrm>
            <a:custGeom>
              <a:avLst/>
              <a:gdLst>
                <a:gd name="T0" fmla="*/ 6710 w 6796"/>
                <a:gd name="T1" fmla="*/ 461 h 6838"/>
                <a:gd name="T2" fmla="*/ 6619 w 6796"/>
                <a:gd name="T3" fmla="*/ 375 h 6838"/>
                <a:gd name="T4" fmla="*/ 6553 w 6796"/>
                <a:gd name="T5" fmla="*/ 312 h 6838"/>
                <a:gd name="T6" fmla="*/ 6484 w 6796"/>
                <a:gd name="T7" fmla="*/ 252 h 6838"/>
                <a:gd name="T8" fmla="*/ 6170 w 6796"/>
                <a:gd name="T9" fmla="*/ 1 h 6838"/>
                <a:gd name="T10" fmla="*/ 6125 w 6796"/>
                <a:gd name="T11" fmla="*/ 0 h 6838"/>
                <a:gd name="T12" fmla="*/ 5991 w 6796"/>
                <a:gd name="T13" fmla="*/ 6 h 6838"/>
                <a:gd name="T14" fmla="*/ 5933 w 6796"/>
                <a:gd name="T15" fmla="*/ 11 h 6838"/>
                <a:gd name="T16" fmla="*/ 5874 w 6796"/>
                <a:gd name="T17" fmla="*/ 18 h 6838"/>
                <a:gd name="T18" fmla="*/ 5184 w 6796"/>
                <a:gd name="T19" fmla="*/ 205 h 6838"/>
                <a:gd name="T20" fmla="*/ 5119 w 6796"/>
                <a:gd name="T21" fmla="*/ 231 h 6838"/>
                <a:gd name="T22" fmla="*/ 5050 w 6796"/>
                <a:gd name="T23" fmla="*/ 259 h 6838"/>
                <a:gd name="T24" fmla="*/ 3758 w 6796"/>
                <a:gd name="T25" fmla="*/ 987 h 6838"/>
                <a:gd name="T26" fmla="*/ 3625 w 6796"/>
                <a:gd name="T27" fmla="*/ 1081 h 6838"/>
                <a:gd name="T28" fmla="*/ 3479 w 6796"/>
                <a:gd name="T29" fmla="*/ 1189 h 6838"/>
                <a:gd name="T30" fmla="*/ 2254 w 6796"/>
                <a:gd name="T31" fmla="*/ 2254 h 6838"/>
                <a:gd name="T32" fmla="*/ 1188 w 6796"/>
                <a:gd name="T33" fmla="*/ 3479 h 6838"/>
                <a:gd name="T34" fmla="*/ 1081 w 6796"/>
                <a:gd name="T35" fmla="*/ 3626 h 6838"/>
                <a:gd name="T36" fmla="*/ 987 w 6796"/>
                <a:gd name="T37" fmla="*/ 3758 h 6838"/>
                <a:gd name="T38" fmla="*/ 259 w 6796"/>
                <a:gd name="T39" fmla="*/ 5050 h 6838"/>
                <a:gd name="T40" fmla="*/ 231 w 6796"/>
                <a:gd name="T41" fmla="*/ 5119 h 6838"/>
                <a:gd name="T42" fmla="*/ 205 w 6796"/>
                <a:gd name="T43" fmla="*/ 5184 h 6838"/>
                <a:gd name="T44" fmla="*/ 18 w 6796"/>
                <a:gd name="T45" fmla="*/ 5874 h 6838"/>
                <a:gd name="T46" fmla="*/ 11 w 6796"/>
                <a:gd name="T47" fmla="*/ 5933 h 6838"/>
                <a:gd name="T48" fmla="*/ 6 w 6796"/>
                <a:gd name="T49" fmla="*/ 5991 h 6838"/>
                <a:gd name="T50" fmla="*/ 0 w 6796"/>
                <a:gd name="T51" fmla="*/ 6125 h 6838"/>
                <a:gd name="T52" fmla="*/ 3 w 6796"/>
                <a:gd name="T53" fmla="*/ 6220 h 6838"/>
                <a:gd name="T54" fmla="*/ 208 w 6796"/>
                <a:gd name="T55" fmla="*/ 6475 h 6838"/>
                <a:gd name="T56" fmla="*/ 270 w 6796"/>
                <a:gd name="T57" fmla="*/ 6547 h 6838"/>
                <a:gd name="T58" fmla="*/ 332 w 6796"/>
                <a:gd name="T59" fmla="*/ 6615 h 6838"/>
                <a:gd name="T60" fmla="*/ 442 w 6796"/>
                <a:gd name="T61" fmla="*/ 6729 h 6838"/>
                <a:gd name="T62" fmla="*/ 556 w 6796"/>
                <a:gd name="T63" fmla="*/ 6838 h 6838"/>
                <a:gd name="T64" fmla="*/ 548 w 6796"/>
                <a:gd name="T65" fmla="*/ 6702 h 6838"/>
                <a:gd name="T66" fmla="*/ 551 w 6796"/>
                <a:gd name="T67" fmla="*/ 6619 h 6838"/>
                <a:gd name="T68" fmla="*/ 556 w 6796"/>
                <a:gd name="T69" fmla="*/ 6560 h 6838"/>
                <a:gd name="T70" fmla="*/ 561 w 6796"/>
                <a:gd name="T71" fmla="*/ 6501 h 6838"/>
                <a:gd name="T72" fmla="*/ 700 w 6796"/>
                <a:gd name="T73" fmla="*/ 5918 h 6838"/>
                <a:gd name="T74" fmla="*/ 724 w 6796"/>
                <a:gd name="T75" fmla="*/ 5852 h 6838"/>
                <a:gd name="T76" fmla="*/ 750 w 6796"/>
                <a:gd name="T77" fmla="*/ 5782 h 6838"/>
                <a:gd name="T78" fmla="*/ 1285 w 6796"/>
                <a:gd name="T79" fmla="*/ 4735 h 6838"/>
                <a:gd name="T80" fmla="*/ 1353 w 6796"/>
                <a:gd name="T81" fmla="*/ 4628 h 6838"/>
                <a:gd name="T82" fmla="*/ 1430 w 6796"/>
                <a:gd name="T83" fmla="*/ 4511 h 6838"/>
                <a:gd name="T84" fmla="*/ 2828 w 6796"/>
                <a:gd name="T85" fmla="*/ 2828 h 6838"/>
                <a:gd name="T86" fmla="*/ 4511 w 6796"/>
                <a:gd name="T87" fmla="*/ 1430 h 6838"/>
                <a:gd name="T88" fmla="*/ 4627 w 6796"/>
                <a:gd name="T89" fmla="*/ 1354 h 6838"/>
                <a:gd name="T90" fmla="*/ 4735 w 6796"/>
                <a:gd name="T91" fmla="*/ 1285 h 6838"/>
                <a:gd name="T92" fmla="*/ 5781 w 6796"/>
                <a:gd name="T93" fmla="*/ 750 h 6838"/>
                <a:gd name="T94" fmla="*/ 5851 w 6796"/>
                <a:gd name="T95" fmla="*/ 724 h 6838"/>
                <a:gd name="T96" fmla="*/ 5918 w 6796"/>
                <a:gd name="T97" fmla="*/ 700 h 6838"/>
                <a:gd name="T98" fmla="*/ 6501 w 6796"/>
                <a:gd name="T99" fmla="*/ 561 h 6838"/>
                <a:gd name="T100" fmla="*/ 6560 w 6796"/>
                <a:gd name="T101" fmla="*/ 556 h 6838"/>
                <a:gd name="T102" fmla="*/ 6620 w 6796"/>
                <a:gd name="T103" fmla="*/ 551 h 6838"/>
                <a:gd name="T104" fmla="*/ 6702 w 6796"/>
                <a:gd name="T105" fmla="*/ 548 h 6838"/>
                <a:gd name="T106" fmla="*/ 6796 w 6796"/>
                <a:gd name="T107" fmla="*/ 552 h 6838"/>
                <a:gd name="T108" fmla="*/ 6710 w 6796"/>
                <a:gd name="T109" fmla="*/ 461 h 6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796" h="6838">
                  <a:moveTo>
                    <a:pt x="6710" y="461"/>
                  </a:moveTo>
                  <a:cubicBezTo>
                    <a:pt x="6680" y="431"/>
                    <a:pt x="6649" y="403"/>
                    <a:pt x="6619" y="375"/>
                  </a:cubicBezTo>
                  <a:cubicBezTo>
                    <a:pt x="6597" y="354"/>
                    <a:pt x="6575" y="332"/>
                    <a:pt x="6553" y="312"/>
                  </a:cubicBezTo>
                  <a:cubicBezTo>
                    <a:pt x="6530" y="291"/>
                    <a:pt x="6507" y="272"/>
                    <a:pt x="6484" y="252"/>
                  </a:cubicBezTo>
                  <a:cubicBezTo>
                    <a:pt x="6382" y="163"/>
                    <a:pt x="6278" y="79"/>
                    <a:pt x="6170" y="1"/>
                  </a:cubicBezTo>
                  <a:cubicBezTo>
                    <a:pt x="6155" y="1"/>
                    <a:pt x="6140" y="0"/>
                    <a:pt x="6125" y="0"/>
                  </a:cubicBezTo>
                  <a:cubicBezTo>
                    <a:pt x="6082" y="0"/>
                    <a:pt x="6037" y="2"/>
                    <a:pt x="5991" y="6"/>
                  </a:cubicBezTo>
                  <a:cubicBezTo>
                    <a:pt x="5972" y="7"/>
                    <a:pt x="5953" y="9"/>
                    <a:pt x="5933" y="11"/>
                  </a:cubicBezTo>
                  <a:cubicBezTo>
                    <a:pt x="5914" y="13"/>
                    <a:pt x="5894" y="15"/>
                    <a:pt x="5874" y="18"/>
                  </a:cubicBezTo>
                  <a:cubicBezTo>
                    <a:pt x="5664" y="47"/>
                    <a:pt x="5432" y="110"/>
                    <a:pt x="5184" y="205"/>
                  </a:cubicBezTo>
                  <a:cubicBezTo>
                    <a:pt x="5162" y="214"/>
                    <a:pt x="5141" y="222"/>
                    <a:pt x="5119" y="231"/>
                  </a:cubicBezTo>
                  <a:cubicBezTo>
                    <a:pt x="5096" y="240"/>
                    <a:pt x="5073" y="249"/>
                    <a:pt x="5050" y="259"/>
                  </a:cubicBezTo>
                  <a:cubicBezTo>
                    <a:pt x="4649" y="427"/>
                    <a:pt x="4210" y="673"/>
                    <a:pt x="3758" y="987"/>
                  </a:cubicBezTo>
                  <a:cubicBezTo>
                    <a:pt x="3714" y="1018"/>
                    <a:pt x="3670" y="1049"/>
                    <a:pt x="3625" y="1081"/>
                  </a:cubicBezTo>
                  <a:cubicBezTo>
                    <a:pt x="3576" y="1116"/>
                    <a:pt x="3528" y="1152"/>
                    <a:pt x="3479" y="1189"/>
                  </a:cubicBezTo>
                  <a:cubicBezTo>
                    <a:pt x="3071" y="1494"/>
                    <a:pt x="2657" y="1851"/>
                    <a:pt x="2254" y="2254"/>
                  </a:cubicBezTo>
                  <a:cubicBezTo>
                    <a:pt x="1851" y="2657"/>
                    <a:pt x="1494" y="3071"/>
                    <a:pt x="1188" y="3479"/>
                  </a:cubicBezTo>
                  <a:cubicBezTo>
                    <a:pt x="1151" y="3528"/>
                    <a:pt x="1116" y="3577"/>
                    <a:pt x="1081" y="3626"/>
                  </a:cubicBezTo>
                  <a:cubicBezTo>
                    <a:pt x="1049" y="3670"/>
                    <a:pt x="1017" y="3714"/>
                    <a:pt x="987" y="3758"/>
                  </a:cubicBezTo>
                  <a:cubicBezTo>
                    <a:pt x="673" y="4210"/>
                    <a:pt x="427" y="4649"/>
                    <a:pt x="259" y="5050"/>
                  </a:cubicBezTo>
                  <a:cubicBezTo>
                    <a:pt x="249" y="5073"/>
                    <a:pt x="240" y="5096"/>
                    <a:pt x="231" y="5119"/>
                  </a:cubicBezTo>
                  <a:cubicBezTo>
                    <a:pt x="222" y="5141"/>
                    <a:pt x="214" y="5162"/>
                    <a:pt x="205" y="5184"/>
                  </a:cubicBezTo>
                  <a:cubicBezTo>
                    <a:pt x="110" y="5432"/>
                    <a:pt x="47" y="5665"/>
                    <a:pt x="18" y="5874"/>
                  </a:cubicBezTo>
                  <a:cubicBezTo>
                    <a:pt x="15" y="5894"/>
                    <a:pt x="13" y="5914"/>
                    <a:pt x="11" y="5933"/>
                  </a:cubicBezTo>
                  <a:cubicBezTo>
                    <a:pt x="8" y="5953"/>
                    <a:pt x="7" y="5972"/>
                    <a:pt x="6" y="5991"/>
                  </a:cubicBezTo>
                  <a:cubicBezTo>
                    <a:pt x="2" y="6037"/>
                    <a:pt x="0" y="6082"/>
                    <a:pt x="0" y="6125"/>
                  </a:cubicBezTo>
                  <a:cubicBezTo>
                    <a:pt x="0" y="6157"/>
                    <a:pt x="1" y="6189"/>
                    <a:pt x="3" y="6220"/>
                  </a:cubicBezTo>
                  <a:cubicBezTo>
                    <a:pt x="67" y="6307"/>
                    <a:pt x="136" y="6392"/>
                    <a:pt x="208" y="6475"/>
                  </a:cubicBezTo>
                  <a:cubicBezTo>
                    <a:pt x="228" y="6499"/>
                    <a:pt x="249" y="6524"/>
                    <a:pt x="270" y="6547"/>
                  </a:cubicBezTo>
                  <a:cubicBezTo>
                    <a:pt x="290" y="6570"/>
                    <a:pt x="312" y="6592"/>
                    <a:pt x="332" y="6615"/>
                  </a:cubicBezTo>
                  <a:cubicBezTo>
                    <a:pt x="368" y="6653"/>
                    <a:pt x="404" y="6692"/>
                    <a:pt x="442" y="6729"/>
                  </a:cubicBezTo>
                  <a:cubicBezTo>
                    <a:pt x="479" y="6767"/>
                    <a:pt x="517" y="6802"/>
                    <a:pt x="556" y="6838"/>
                  </a:cubicBezTo>
                  <a:cubicBezTo>
                    <a:pt x="551" y="6794"/>
                    <a:pt x="548" y="6749"/>
                    <a:pt x="548" y="6702"/>
                  </a:cubicBezTo>
                  <a:cubicBezTo>
                    <a:pt x="548" y="6675"/>
                    <a:pt x="550" y="6647"/>
                    <a:pt x="551" y="6619"/>
                  </a:cubicBezTo>
                  <a:cubicBezTo>
                    <a:pt x="552" y="6600"/>
                    <a:pt x="554" y="6580"/>
                    <a:pt x="556" y="6560"/>
                  </a:cubicBezTo>
                  <a:cubicBezTo>
                    <a:pt x="557" y="6541"/>
                    <a:pt x="559" y="6521"/>
                    <a:pt x="561" y="6501"/>
                  </a:cubicBezTo>
                  <a:cubicBezTo>
                    <a:pt x="582" y="6322"/>
                    <a:pt x="629" y="6126"/>
                    <a:pt x="700" y="5918"/>
                  </a:cubicBezTo>
                  <a:cubicBezTo>
                    <a:pt x="708" y="5896"/>
                    <a:pt x="716" y="5874"/>
                    <a:pt x="724" y="5852"/>
                  </a:cubicBezTo>
                  <a:cubicBezTo>
                    <a:pt x="733" y="5828"/>
                    <a:pt x="741" y="5805"/>
                    <a:pt x="750" y="5782"/>
                  </a:cubicBezTo>
                  <a:cubicBezTo>
                    <a:pt x="875" y="5455"/>
                    <a:pt x="1056" y="5102"/>
                    <a:pt x="1285" y="4735"/>
                  </a:cubicBezTo>
                  <a:cubicBezTo>
                    <a:pt x="1308" y="4699"/>
                    <a:pt x="1330" y="4664"/>
                    <a:pt x="1353" y="4628"/>
                  </a:cubicBezTo>
                  <a:cubicBezTo>
                    <a:pt x="1378" y="4589"/>
                    <a:pt x="1404" y="4550"/>
                    <a:pt x="1430" y="4511"/>
                  </a:cubicBezTo>
                  <a:cubicBezTo>
                    <a:pt x="1799" y="3961"/>
                    <a:pt x="2271" y="3385"/>
                    <a:pt x="2828" y="2828"/>
                  </a:cubicBezTo>
                  <a:cubicBezTo>
                    <a:pt x="3385" y="2271"/>
                    <a:pt x="3960" y="1799"/>
                    <a:pt x="4511" y="1430"/>
                  </a:cubicBezTo>
                  <a:cubicBezTo>
                    <a:pt x="4550" y="1404"/>
                    <a:pt x="4589" y="1379"/>
                    <a:pt x="4627" y="1354"/>
                  </a:cubicBezTo>
                  <a:cubicBezTo>
                    <a:pt x="4663" y="1330"/>
                    <a:pt x="4699" y="1308"/>
                    <a:pt x="4735" y="1285"/>
                  </a:cubicBezTo>
                  <a:cubicBezTo>
                    <a:pt x="5102" y="1056"/>
                    <a:pt x="5455" y="875"/>
                    <a:pt x="5781" y="750"/>
                  </a:cubicBezTo>
                  <a:cubicBezTo>
                    <a:pt x="5805" y="741"/>
                    <a:pt x="5828" y="733"/>
                    <a:pt x="5851" y="724"/>
                  </a:cubicBezTo>
                  <a:cubicBezTo>
                    <a:pt x="5874" y="716"/>
                    <a:pt x="5896" y="708"/>
                    <a:pt x="5918" y="700"/>
                  </a:cubicBezTo>
                  <a:cubicBezTo>
                    <a:pt x="6126" y="629"/>
                    <a:pt x="6322" y="582"/>
                    <a:pt x="6501" y="561"/>
                  </a:cubicBezTo>
                  <a:cubicBezTo>
                    <a:pt x="6521" y="559"/>
                    <a:pt x="6541" y="557"/>
                    <a:pt x="6560" y="556"/>
                  </a:cubicBezTo>
                  <a:cubicBezTo>
                    <a:pt x="6580" y="554"/>
                    <a:pt x="6600" y="552"/>
                    <a:pt x="6620" y="551"/>
                  </a:cubicBezTo>
                  <a:cubicBezTo>
                    <a:pt x="6647" y="550"/>
                    <a:pt x="6675" y="549"/>
                    <a:pt x="6702" y="548"/>
                  </a:cubicBezTo>
                  <a:cubicBezTo>
                    <a:pt x="6734" y="548"/>
                    <a:pt x="6765" y="550"/>
                    <a:pt x="6796" y="552"/>
                  </a:cubicBezTo>
                  <a:cubicBezTo>
                    <a:pt x="6767" y="521"/>
                    <a:pt x="6739" y="491"/>
                    <a:pt x="6710" y="4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8" name="Freeform 10">
              <a:extLst>
                <a:ext uri="{FF2B5EF4-FFF2-40B4-BE49-F238E27FC236}">
                  <a16:creationId xmlns:a16="http://schemas.microsoft.com/office/drawing/2014/main" id="{54CE5925-9480-4C02-A7F9-3B31E37C904C}"/>
                </a:ext>
              </a:extLst>
            </p:cNvPr>
            <p:cNvSpPr>
              <a:spLocks/>
            </p:cNvSpPr>
            <p:nvPr/>
          </p:nvSpPr>
          <p:spPr bwMode="auto">
            <a:xfrm>
              <a:off x="3956348" y="740943"/>
              <a:ext cx="4194616" cy="4225990"/>
            </a:xfrm>
            <a:custGeom>
              <a:avLst/>
              <a:gdLst>
                <a:gd name="T0" fmla="*/ 1126 w 6312"/>
                <a:gd name="T1" fmla="*/ 4101 h 6355"/>
                <a:gd name="T2" fmla="*/ 1212 w 6312"/>
                <a:gd name="T3" fmla="*/ 3976 h 6355"/>
                <a:gd name="T4" fmla="*/ 2479 w 6312"/>
                <a:gd name="T5" fmla="*/ 2477 h 6355"/>
                <a:gd name="T6" fmla="*/ 3978 w 6312"/>
                <a:gd name="T7" fmla="*/ 1210 h 6355"/>
                <a:gd name="T8" fmla="*/ 4103 w 6312"/>
                <a:gd name="T9" fmla="*/ 1124 h 6355"/>
                <a:gd name="T10" fmla="*/ 4216 w 6312"/>
                <a:gd name="T11" fmla="*/ 1049 h 6355"/>
                <a:gd name="T12" fmla="*/ 5392 w 6312"/>
                <a:gd name="T13" fmla="*/ 423 h 6355"/>
                <a:gd name="T14" fmla="*/ 5456 w 6312"/>
                <a:gd name="T15" fmla="*/ 399 h 6355"/>
                <a:gd name="T16" fmla="*/ 5518 w 6312"/>
                <a:gd name="T17" fmla="*/ 376 h 6355"/>
                <a:gd name="T18" fmla="*/ 6164 w 6312"/>
                <a:gd name="T19" fmla="*/ 208 h 6355"/>
                <a:gd name="T20" fmla="*/ 6222 w 6312"/>
                <a:gd name="T21" fmla="*/ 201 h 6355"/>
                <a:gd name="T22" fmla="*/ 6281 w 6312"/>
                <a:gd name="T23" fmla="*/ 195 h 6355"/>
                <a:gd name="T24" fmla="*/ 6312 w 6312"/>
                <a:gd name="T25" fmla="*/ 193 h 6355"/>
                <a:gd name="T26" fmla="*/ 6276 w 6312"/>
                <a:gd name="T27" fmla="*/ 170 h 6355"/>
                <a:gd name="T28" fmla="*/ 6203 w 6312"/>
                <a:gd name="T29" fmla="*/ 124 h 6355"/>
                <a:gd name="T30" fmla="*/ 6122 w 6312"/>
                <a:gd name="T31" fmla="*/ 74 h 6355"/>
                <a:gd name="T32" fmla="*/ 5988 w 6312"/>
                <a:gd name="T33" fmla="*/ 0 h 6355"/>
                <a:gd name="T34" fmla="*/ 5542 w 6312"/>
                <a:gd name="T35" fmla="*/ 68 h 6355"/>
                <a:gd name="T36" fmla="*/ 5484 w 6312"/>
                <a:gd name="T37" fmla="*/ 83 h 6355"/>
                <a:gd name="T38" fmla="*/ 5425 w 6312"/>
                <a:gd name="T39" fmla="*/ 101 h 6355"/>
                <a:gd name="T40" fmla="*/ 4488 w 6312"/>
                <a:gd name="T41" fmla="*/ 508 h 6355"/>
                <a:gd name="T42" fmla="*/ 4405 w 6312"/>
                <a:gd name="T43" fmla="*/ 555 h 6355"/>
                <a:gd name="T44" fmla="*/ 4316 w 6312"/>
                <a:gd name="T45" fmla="*/ 606 h 6355"/>
                <a:gd name="T46" fmla="*/ 2245 w 6312"/>
                <a:gd name="T47" fmla="*/ 2243 h 6355"/>
                <a:gd name="T48" fmla="*/ 608 w 6312"/>
                <a:gd name="T49" fmla="*/ 4314 h 6355"/>
                <a:gd name="T50" fmla="*/ 557 w 6312"/>
                <a:gd name="T51" fmla="*/ 4404 h 6355"/>
                <a:gd name="T52" fmla="*/ 510 w 6312"/>
                <a:gd name="T53" fmla="*/ 4486 h 6355"/>
                <a:gd name="T54" fmla="*/ 103 w 6312"/>
                <a:gd name="T55" fmla="*/ 5423 h 6355"/>
                <a:gd name="T56" fmla="*/ 85 w 6312"/>
                <a:gd name="T57" fmla="*/ 5482 h 6355"/>
                <a:gd name="T58" fmla="*/ 70 w 6312"/>
                <a:gd name="T59" fmla="*/ 5540 h 6355"/>
                <a:gd name="T60" fmla="*/ 1 w 6312"/>
                <a:gd name="T61" fmla="*/ 6034 h 6355"/>
                <a:gd name="T62" fmla="*/ 1 w 6312"/>
                <a:gd name="T63" fmla="*/ 6039 h 6355"/>
                <a:gd name="T64" fmla="*/ 36 w 6312"/>
                <a:gd name="T65" fmla="*/ 6102 h 6355"/>
                <a:gd name="T66" fmla="*/ 85 w 6312"/>
                <a:gd name="T67" fmla="*/ 6186 h 6355"/>
                <a:gd name="T68" fmla="*/ 134 w 6312"/>
                <a:gd name="T69" fmla="*/ 6264 h 6355"/>
                <a:gd name="T70" fmla="*/ 192 w 6312"/>
                <a:gd name="T71" fmla="*/ 6355 h 6355"/>
                <a:gd name="T72" fmla="*/ 197 w 6312"/>
                <a:gd name="T73" fmla="*/ 6279 h 6355"/>
                <a:gd name="T74" fmla="*/ 203 w 6312"/>
                <a:gd name="T75" fmla="*/ 6220 h 6355"/>
                <a:gd name="T76" fmla="*/ 210 w 6312"/>
                <a:gd name="T77" fmla="*/ 6162 h 6355"/>
                <a:gd name="T78" fmla="*/ 378 w 6312"/>
                <a:gd name="T79" fmla="*/ 5516 h 6355"/>
                <a:gd name="T80" fmla="*/ 400 w 6312"/>
                <a:gd name="T81" fmla="*/ 5454 h 6355"/>
                <a:gd name="T82" fmla="*/ 425 w 6312"/>
                <a:gd name="T83" fmla="*/ 5390 h 6355"/>
                <a:gd name="T84" fmla="*/ 1050 w 6312"/>
                <a:gd name="T85" fmla="*/ 4214 h 6355"/>
                <a:gd name="T86" fmla="*/ 1126 w 6312"/>
                <a:gd name="T87" fmla="*/ 4101 h 6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2" h="6355">
                  <a:moveTo>
                    <a:pt x="1126" y="4101"/>
                  </a:moveTo>
                  <a:cubicBezTo>
                    <a:pt x="1154" y="4060"/>
                    <a:pt x="1183" y="4018"/>
                    <a:pt x="1212" y="3976"/>
                  </a:cubicBezTo>
                  <a:cubicBezTo>
                    <a:pt x="1559" y="3480"/>
                    <a:pt x="1986" y="2971"/>
                    <a:pt x="2479" y="2477"/>
                  </a:cubicBezTo>
                  <a:cubicBezTo>
                    <a:pt x="2973" y="1984"/>
                    <a:pt x="3482" y="1557"/>
                    <a:pt x="3978" y="1210"/>
                  </a:cubicBezTo>
                  <a:cubicBezTo>
                    <a:pt x="4020" y="1181"/>
                    <a:pt x="4061" y="1152"/>
                    <a:pt x="4103" y="1124"/>
                  </a:cubicBezTo>
                  <a:cubicBezTo>
                    <a:pt x="4141" y="1098"/>
                    <a:pt x="4179" y="1073"/>
                    <a:pt x="4216" y="1049"/>
                  </a:cubicBezTo>
                  <a:cubicBezTo>
                    <a:pt x="4626" y="780"/>
                    <a:pt x="5024" y="569"/>
                    <a:pt x="5392" y="423"/>
                  </a:cubicBezTo>
                  <a:cubicBezTo>
                    <a:pt x="5414" y="415"/>
                    <a:pt x="5435" y="407"/>
                    <a:pt x="5456" y="399"/>
                  </a:cubicBezTo>
                  <a:cubicBezTo>
                    <a:pt x="5477" y="391"/>
                    <a:pt x="5498" y="383"/>
                    <a:pt x="5518" y="376"/>
                  </a:cubicBezTo>
                  <a:cubicBezTo>
                    <a:pt x="5747" y="293"/>
                    <a:pt x="5964" y="236"/>
                    <a:pt x="6164" y="208"/>
                  </a:cubicBezTo>
                  <a:cubicBezTo>
                    <a:pt x="6183" y="206"/>
                    <a:pt x="6203" y="203"/>
                    <a:pt x="6222" y="201"/>
                  </a:cubicBezTo>
                  <a:cubicBezTo>
                    <a:pt x="6242" y="199"/>
                    <a:pt x="6262" y="197"/>
                    <a:pt x="6281" y="195"/>
                  </a:cubicBezTo>
                  <a:cubicBezTo>
                    <a:pt x="6292" y="194"/>
                    <a:pt x="6302" y="193"/>
                    <a:pt x="6312" y="193"/>
                  </a:cubicBezTo>
                  <a:cubicBezTo>
                    <a:pt x="6300" y="185"/>
                    <a:pt x="6288" y="178"/>
                    <a:pt x="6276" y="170"/>
                  </a:cubicBezTo>
                  <a:cubicBezTo>
                    <a:pt x="6252" y="155"/>
                    <a:pt x="6228" y="139"/>
                    <a:pt x="6203" y="124"/>
                  </a:cubicBezTo>
                  <a:cubicBezTo>
                    <a:pt x="6176" y="108"/>
                    <a:pt x="6149" y="90"/>
                    <a:pt x="6122" y="74"/>
                  </a:cubicBezTo>
                  <a:cubicBezTo>
                    <a:pt x="6077" y="49"/>
                    <a:pt x="6032" y="24"/>
                    <a:pt x="5988" y="0"/>
                  </a:cubicBezTo>
                  <a:cubicBezTo>
                    <a:pt x="5852" y="4"/>
                    <a:pt x="5703" y="27"/>
                    <a:pt x="5542" y="68"/>
                  </a:cubicBezTo>
                  <a:cubicBezTo>
                    <a:pt x="5523" y="73"/>
                    <a:pt x="5503" y="78"/>
                    <a:pt x="5484" y="83"/>
                  </a:cubicBezTo>
                  <a:cubicBezTo>
                    <a:pt x="5464" y="89"/>
                    <a:pt x="5445" y="95"/>
                    <a:pt x="5425" y="101"/>
                  </a:cubicBezTo>
                  <a:cubicBezTo>
                    <a:pt x="5140" y="186"/>
                    <a:pt x="4823" y="324"/>
                    <a:pt x="4488" y="508"/>
                  </a:cubicBezTo>
                  <a:cubicBezTo>
                    <a:pt x="4461" y="523"/>
                    <a:pt x="4433" y="539"/>
                    <a:pt x="4405" y="555"/>
                  </a:cubicBezTo>
                  <a:cubicBezTo>
                    <a:pt x="4376" y="572"/>
                    <a:pt x="4346" y="588"/>
                    <a:pt x="4316" y="606"/>
                  </a:cubicBezTo>
                  <a:cubicBezTo>
                    <a:pt x="3656" y="993"/>
                    <a:pt x="2935" y="1552"/>
                    <a:pt x="2245" y="2243"/>
                  </a:cubicBezTo>
                  <a:cubicBezTo>
                    <a:pt x="1554" y="2933"/>
                    <a:pt x="995" y="3654"/>
                    <a:pt x="608" y="4314"/>
                  </a:cubicBezTo>
                  <a:cubicBezTo>
                    <a:pt x="590" y="4344"/>
                    <a:pt x="573" y="4374"/>
                    <a:pt x="557" y="4404"/>
                  </a:cubicBezTo>
                  <a:cubicBezTo>
                    <a:pt x="541" y="4431"/>
                    <a:pt x="525" y="4459"/>
                    <a:pt x="510" y="4486"/>
                  </a:cubicBezTo>
                  <a:cubicBezTo>
                    <a:pt x="326" y="4822"/>
                    <a:pt x="188" y="5138"/>
                    <a:pt x="103" y="5423"/>
                  </a:cubicBezTo>
                  <a:cubicBezTo>
                    <a:pt x="97" y="5443"/>
                    <a:pt x="91" y="5462"/>
                    <a:pt x="85" y="5482"/>
                  </a:cubicBezTo>
                  <a:cubicBezTo>
                    <a:pt x="80" y="5501"/>
                    <a:pt x="75" y="5521"/>
                    <a:pt x="70" y="5540"/>
                  </a:cubicBezTo>
                  <a:cubicBezTo>
                    <a:pt x="24" y="5720"/>
                    <a:pt x="0" y="5886"/>
                    <a:pt x="1" y="6034"/>
                  </a:cubicBezTo>
                  <a:cubicBezTo>
                    <a:pt x="1" y="6035"/>
                    <a:pt x="1" y="6037"/>
                    <a:pt x="1" y="6039"/>
                  </a:cubicBezTo>
                  <a:cubicBezTo>
                    <a:pt x="12" y="6060"/>
                    <a:pt x="24" y="6081"/>
                    <a:pt x="36" y="6102"/>
                  </a:cubicBezTo>
                  <a:cubicBezTo>
                    <a:pt x="52" y="6130"/>
                    <a:pt x="68" y="6158"/>
                    <a:pt x="85" y="6186"/>
                  </a:cubicBezTo>
                  <a:cubicBezTo>
                    <a:pt x="101" y="6212"/>
                    <a:pt x="117" y="6238"/>
                    <a:pt x="134" y="6264"/>
                  </a:cubicBezTo>
                  <a:cubicBezTo>
                    <a:pt x="153" y="6294"/>
                    <a:pt x="172" y="6325"/>
                    <a:pt x="192" y="6355"/>
                  </a:cubicBezTo>
                  <a:cubicBezTo>
                    <a:pt x="193" y="6330"/>
                    <a:pt x="195" y="6305"/>
                    <a:pt x="197" y="6279"/>
                  </a:cubicBezTo>
                  <a:cubicBezTo>
                    <a:pt x="199" y="6260"/>
                    <a:pt x="201" y="6240"/>
                    <a:pt x="203" y="6220"/>
                  </a:cubicBezTo>
                  <a:cubicBezTo>
                    <a:pt x="205" y="6201"/>
                    <a:pt x="208" y="6181"/>
                    <a:pt x="210" y="6162"/>
                  </a:cubicBezTo>
                  <a:cubicBezTo>
                    <a:pt x="238" y="5962"/>
                    <a:pt x="295" y="5745"/>
                    <a:pt x="378" y="5516"/>
                  </a:cubicBezTo>
                  <a:cubicBezTo>
                    <a:pt x="385" y="5496"/>
                    <a:pt x="392" y="5475"/>
                    <a:pt x="400" y="5454"/>
                  </a:cubicBezTo>
                  <a:cubicBezTo>
                    <a:pt x="408" y="5433"/>
                    <a:pt x="417" y="5412"/>
                    <a:pt x="425" y="5390"/>
                  </a:cubicBezTo>
                  <a:cubicBezTo>
                    <a:pt x="571" y="5022"/>
                    <a:pt x="782" y="4624"/>
                    <a:pt x="1050" y="4214"/>
                  </a:cubicBezTo>
                  <a:cubicBezTo>
                    <a:pt x="1075" y="4177"/>
                    <a:pt x="1100" y="4139"/>
                    <a:pt x="1126" y="410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9" name="Freeform 11">
              <a:extLst>
                <a:ext uri="{FF2B5EF4-FFF2-40B4-BE49-F238E27FC236}">
                  <a16:creationId xmlns:a16="http://schemas.microsoft.com/office/drawing/2014/main" id="{9BF6A145-B04A-4D96-B42A-F9F9564194A0}"/>
                </a:ext>
              </a:extLst>
            </p:cNvPr>
            <p:cNvSpPr>
              <a:spLocks/>
            </p:cNvSpPr>
            <p:nvPr/>
          </p:nvSpPr>
          <p:spPr bwMode="auto">
            <a:xfrm>
              <a:off x="4604297" y="1387527"/>
              <a:ext cx="4412873" cy="4441519"/>
            </a:xfrm>
            <a:custGeom>
              <a:avLst/>
              <a:gdLst>
                <a:gd name="T0" fmla="*/ 4682 w 6640"/>
                <a:gd name="T1" fmla="*/ 1069 h 6679"/>
                <a:gd name="T2" fmla="*/ 4782 w 6640"/>
                <a:gd name="T3" fmla="*/ 1013 h 6679"/>
                <a:gd name="T4" fmla="*/ 4876 w 6640"/>
                <a:gd name="T5" fmla="*/ 962 h 6679"/>
                <a:gd name="T6" fmla="*/ 5665 w 6640"/>
                <a:gd name="T7" fmla="*/ 626 h 6679"/>
                <a:gd name="T8" fmla="*/ 5735 w 6640"/>
                <a:gd name="T9" fmla="*/ 605 h 6679"/>
                <a:gd name="T10" fmla="*/ 5804 w 6640"/>
                <a:gd name="T11" fmla="*/ 586 h 6679"/>
                <a:gd name="T12" fmla="*/ 6300 w 6640"/>
                <a:gd name="T13" fmla="*/ 507 h 6679"/>
                <a:gd name="T14" fmla="*/ 6355 w 6640"/>
                <a:gd name="T15" fmla="*/ 505 h 6679"/>
                <a:gd name="T16" fmla="*/ 6360 w 6640"/>
                <a:gd name="T17" fmla="*/ 505 h 6679"/>
                <a:gd name="T18" fmla="*/ 6419 w 6640"/>
                <a:gd name="T19" fmla="*/ 507 h 6679"/>
                <a:gd name="T20" fmla="*/ 6640 w 6640"/>
                <a:gd name="T21" fmla="*/ 536 h 6679"/>
                <a:gd name="T22" fmla="*/ 6443 w 6640"/>
                <a:gd name="T23" fmla="*/ 254 h 6679"/>
                <a:gd name="T24" fmla="*/ 6385 w 6640"/>
                <a:gd name="T25" fmla="*/ 179 h 6679"/>
                <a:gd name="T26" fmla="*/ 6323 w 6640"/>
                <a:gd name="T27" fmla="*/ 102 h 6679"/>
                <a:gd name="T28" fmla="*/ 6253 w 6640"/>
                <a:gd name="T29" fmla="*/ 21 h 6679"/>
                <a:gd name="T30" fmla="*/ 6036 w 6640"/>
                <a:gd name="T31" fmla="*/ 1 h 6679"/>
                <a:gd name="T32" fmla="*/ 5943 w 6640"/>
                <a:gd name="T33" fmla="*/ 3 h 6679"/>
                <a:gd name="T34" fmla="*/ 5884 w 6640"/>
                <a:gd name="T35" fmla="*/ 8 h 6679"/>
                <a:gd name="T36" fmla="*/ 5824 w 6640"/>
                <a:gd name="T37" fmla="*/ 15 h 6679"/>
                <a:gd name="T38" fmla="*/ 5212 w 6640"/>
                <a:gd name="T39" fmla="*/ 174 h 6679"/>
                <a:gd name="T40" fmla="*/ 5142 w 6640"/>
                <a:gd name="T41" fmla="*/ 200 h 6679"/>
                <a:gd name="T42" fmla="*/ 5070 w 6640"/>
                <a:gd name="T43" fmla="*/ 229 h 6679"/>
                <a:gd name="T44" fmla="*/ 3933 w 6640"/>
                <a:gd name="T45" fmla="*/ 848 h 6679"/>
                <a:gd name="T46" fmla="*/ 3812 w 6640"/>
                <a:gd name="T47" fmla="*/ 929 h 6679"/>
                <a:gd name="T48" fmla="*/ 3679 w 6640"/>
                <a:gd name="T49" fmla="*/ 1023 h 6679"/>
                <a:gd name="T50" fmla="*/ 2245 w 6640"/>
                <a:gd name="T51" fmla="*/ 2245 h 6679"/>
                <a:gd name="T52" fmla="*/ 1023 w 6640"/>
                <a:gd name="T53" fmla="*/ 3679 h 6679"/>
                <a:gd name="T54" fmla="*/ 929 w 6640"/>
                <a:gd name="T55" fmla="*/ 3812 h 6679"/>
                <a:gd name="T56" fmla="*/ 848 w 6640"/>
                <a:gd name="T57" fmla="*/ 3933 h 6679"/>
                <a:gd name="T58" fmla="*/ 229 w 6640"/>
                <a:gd name="T59" fmla="*/ 5070 h 6679"/>
                <a:gd name="T60" fmla="*/ 200 w 6640"/>
                <a:gd name="T61" fmla="*/ 5142 h 6679"/>
                <a:gd name="T62" fmla="*/ 174 w 6640"/>
                <a:gd name="T63" fmla="*/ 5212 h 6679"/>
                <a:gd name="T64" fmla="*/ 15 w 6640"/>
                <a:gd name="T65" fmla="*/ 5824 h 6679"/>
                <a:gd name="T66" fmla="*/ 8 w 6640"/>
                <a:gd name="T67" fmla="*/ 5884 h 6679"/>
                <a:gd name="T68" fmla="*/ 3 w 6640"/>
                <a:gd name="T69" fmla="*/ 5943 h 6679"/>
                <a:gd name="T70" fmla="*/ 1 w 6640"/>
                <a:gd name="T71" fmla="*/ 6036 h 6679"/>
                <a:gd name="T72" fmla="*/ 30 w 6640"/>
                <a:gd name="T73" fmla="*/ 6297 h 6679"/>
                <a:gd name="T74" fmla="*/ 54 w 6640"/>
                <a:gd name="T75" fmla="*/ 6318 h 6679"/>
                <a:gd name="T76" fmla="*/ 132 w 6640"/>
                <a:gd name="T77" fmla="*/ 6383 h 6679"/>
                <a:gd name="T78" fmla="*/ 211 w 6640"/>
                <a:gd name="T79" fmla="*/ 6444 h 6679"/>
                <a:gd name="T80" fmla="*/ 547 w 6640"/>
                <a:gd name="T81" fmla="*/ 6679 h 6679"/>
                <a:gd name="T82" fmla="*/ 507 w 6640"/>
                <a:gd name="T83" fmla="*/ 6419 h 6679"/>
                <a:gd name="T84" fmla="*/ 505 w 6640"/>
                <a:gd name="T85" fmla="*/ 6360 h 6679"/>
                <a:gd name="T86" fmla="*/ 505 w 6640"/>
                <a:gd name="T87" fmla="*/ 6356 h 6679"/>
                <a:gd name="T88" fmla="*/ 507 w 6640"/>
                <a:gd name="T89" fmla="*/ 6300 h 6679"/>
                <a:gd name="T90" fmla="*/ 586 w 6640"/>
                <a:gd name="T91" fmla="*/ 5804 h 6679"/>
                <a:gd name="T92" fmla="*/ 605 w 6640"/>
                <a:gd name="T93" fmla="*/ 5735 h 6679"/>
                <a:gd name="T94" fmla="*/ 626 w 6640"/>
                <a:gd name="T95" fmla="*/ 5665 h 6679"/>
                <a:gd name="T96" fmla="*/ 962 w 6640"/>
                <a:gd name="T97" fmla="*/ 4876 h 6679"/>
                <a:gd name="T98" fmla="*/ 1013 w 6640"/>
                <a:gd name="T99" fmla="*/ 4781 h 6679"/>
                <a:gd name="T100" fmla="*/ 1069 w 6640"/>
                <a:gd name="T101" fmla="*/ 4682 h 6679"/>
                <a:gd name="T102" fmla="*/ 2654 w 6640"/>
                <a:gd name="T103" fmla="*/ 2654 h 6679"/>
                <a:gd name="T104" fmla="*/ 4682 w 6640"/>
                <a:gd name="T105" fmla="*/ 1069 h 6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640" h="6679">
                  <a:moveTo>
                    <a:pt x="4682" y="1069"/>
                  </a:moveTo>
                  <a:cubicBezTo>
                    <a:pt x="4715" y="1050"/>
                    <a:pt x="4748" y="1031"/>
                    <a:pt x="4782" y="1013"/>
                  </a:cubicBezTo>
                  <a:cubicBezTo>
                    <a:pt x="4813" y="996"/>
                    <a:pt x="4845" y="979"/>
                    <a:pt x="4876" y="962"/>
                  </a:cubicBezTo>
                  <a:cubicBezTo>
                    <a:pt x="5153" y="816"/>
                    <a:pt x="5418" y="703"/>
                    <a:pt x="5665" y="626"/>
                  </a:cubicBezTo>
                  <a:cubicBezTo>
                    <a:pt x="5688" y="619"/>
                    <a:pt x="5712" y="612"/>
                    <a:pt x="5735" y="605"/>
                  </a:cubicBezTo>
                  <a:cubicBezTo>
                    <a:pt x="5758" y="599"/>
                    <a:pt x="5781" y="592"/>
                    <a:pt x="5804" y="586"/>
                  </a:cubicBezTo>
                  <a:cubicBezTo>
                    <a:pt x="5981" y="539"/>
                    <a:pt x="6147" y="513"/>
                    <a:pt x="6300" y="507"/>
                  </a:cubicBezTo>
                  <a:cubicBezTo>
                    <a:pt x="6318" y="506"/>
                    <a:pt x="6337" y="505"/>
                    <a:pt x="6355" y="505"/>
                  </a:cubicBezTo>
                  <a:cubicBezTo>
                    <a:pt x="6357" y="505"/>
                    <a:pt x="6358" y="505"/>
                    <a:pt x="6360" y="505"/>
                  </a:cubicBezTo>
                  <a:cubicBezTo>
                    <a:pt x="6380" y="505"/>
                    <a:pt x="6399" y="506"/>
                    <a:pt x="6419" y="507"/>
                  </a:cubicBezTo>
                  <a:cubicBezTo>
                    <a:pt x="6496" y="511"/>
                    <a:pt x="6571" y="520"/>
                    <a:pt x="6640" y="536"/>
                  </a:cubicBezTo>
                  <a:cubicBezTo>
                    <a:pt x="6579" y="440"/>
                    <a:pt x="6513" y="346"/>
                    <a:pt x="6443" y="254"/>
                  </a:cubicBezTo>
                  <a:cubicBezTo>
                    <a:pt x="6424" y="229"/>
                    <a:pt x="6404" y="204"/>
                    <a:pt x="6385" y="179"/>
                  </a:cubicBezTo>
                  <a:cubicBezTo>
                    <a:pt x="6364" y="153"/>
                    <a:pt x="6344" y="128"/>
                    <a:pt x="6323" y="102"/>
                  </a:cubicBezTo>
                  <a:cubicBezTo>
                    <a:pt x="6300" y="75"/>
                    <a:pt x="6276" y="48"/>
                    <a:pt x="6253" y="21"/>
                  </a:cubicBezTo>
                  <a:cubicBezTo>
                    <a:pt x="6186" y="8"/>
                    <a:pt x="6114" y="1"/>
                    <a:pt x="6036" y="1"/>
                  </a:cubicBezTo>
                  <a:cubicBezTo>
                    <a:pt x="6006" y="0"/>
                    <a:pt x="5975" y="2"/>
                    <a:pt x="5943" y="3"/>
                  </a:cubicBezTo>
                  <a:cubicBezTo>
                    <a:pt x="5924" y="4"/>
                    <a:pt x="5904" y="6"/>
                    <a:pt x="5884" y="8"/>
                  </a:cubicBezTo>
                  <a:cubicBezTo>
                    <a:pt x="5864" y="10"/>
                    <a:pt x="5844" y="13"/>
                    <a:pt x="5824" y="15"/>
                  </a:cubicBezTo>
                  <a:cubicBezTo>
                    <a:pt x="5639" y="39"/>
                    <a:pt x="5433" y="93"/>
                    <a:pt x="5212" y="174"/>
                  </a:cubicBezTo>
                  <a:cubicBezTo>
                    <a:pt x="5189" y="183"/>
                    <a:pt x="5166" y="191"/>
                    <a:pt x="5142" y="200"/>
                  </a:cubicBezTo>
                  <a:cubicBezTo>
                    <a:pt x="5118" y="210"/>
                    <a:pt x="5094" y="219"/>
                    <a:pt x="5070" y="229"/>
                  </a:cubicBezTo>
                  <a:cubicBezTo>
                    <a:pt x="4719" y="373"/>
                    <a:pt x="4334" y="582"/>
                    <a:pt x="3933" y="848"/>
                  </a:cubicBezTo>
                  <a:cubicBezTo>
                    <a:pt x="3893" y="874"/>
                    <a:pt x="3852" y="902"/>
                    <a:pt x="3812" y="929"/>
                  </a:cubicBezTo>
                  <a:cubicBezTo>
                    <a:pt x="3767" y="960"/>
                    <a:pt x="3723" y="991"/>
                    <a:pt x="3679" y="1023"/>
                  </a:cubicBezTo>
                  <a:cubicBezTo>
                    <a:pt x="3206" y="1360"/>
                    <a:pt x="2718" y="1771"/>
                    <a:pt x="2245" y="2245"/>
                  </a:cubicBezTo>
                  <a:cubicBezTo>
                    <a:pt x="1771" y="2718"/>
                    <a:pt x="1360" y="3206"/>
                    <a:pt x="1023" y="3679"/>
                  </a:cubicBezTo>
                  <a:cubicBezTo>
                    <a:pt x="991" y="3723"/>
                    <a:pt x="960" y="3768"/>
                    <a:pt x="929" y="3812"/>
                  </a:cubicBezTo>
                  <a:cubicBezTo>
                    <a:pt x="902" y="3852"/>
                    <a:pt x="874" y="3893"/>
                    <a:pt x="848" y="3933"/>
                  </a:cubicBezTo>
                  <a:cubicBezTo>
                    <a:pt x="582" y="4334"/>
                    <a:pt x="373" y="4719"/>
                    <a:pt x="229" y="5070"/>
                  </a:cubicBezTo>
                  <a:cubicBezTo>
                    <a:pt x="219" y="5094"/>
                    <a:pt x="210" y="5118"/>
                    <a:pt x="200" y="5142"/>
                  </a:cubicBezTo>
                  <a:cubicBezTo>
                    <a:pt x="191" y="5166"/>
                    <a:pt x="183" y="5189"/>
                    <a:pt x="174" y="5212"/>
                  </a:cubicBezTo>
                  <a:cubicBezTo>
                    <a:pt x="93" y="5433"/>
                    <a:pt x="39" y="5639"/>
                    <a:pt x="15" y="5824"/>
                  </a:cubicBezTo>
                  <a:cubicBezTo>
                    <a:pt x="12" y="5844"/>
                    <a:pt x="10" y="5864"/>
                    <a:pt x="8" y="5884"/>
                  </a:cubicBezTo>
                  <a:cubicBezTo>
                    <a:pt x="6" y="5904"/>
                    <a:pt x="5" y="5924"/>
                    <a:pt x="3" y="5943"/>
                  </a:cubicBezTo>
                  <a:cubicBezTo>
                    <a:pt x="2" y="5975"/>
                    <a:pt x="0" y="6006"/>
                    <a:pt x="1" y="6036"/>
                  </a:cubicBezTo>
                  <a:cubicBezTo>
                    <a:pt x="1" y="6131"/>
                    <a:pt x="10" y="6218"/>
                    <a:pt x="30" y="6297"/>
                  </a:cubicBezTo>
                  <a:cubicBezTo>
                    <a:pt x="38" y="6304"/>
                    <a:pt x="46" y="6311"/>
                    <a:pt x="54" y="6318"/>
                  </a:cubicBezTo>
                  <a:cubicBezTo>
                    <a:pt x="80" y="6340"/>
                    <a:pt x="106" y="6362"/>
                    <a:pt x="132" y="6383"/>
                  </a:cubicBezTo>
                  <a:cubicBezTo>
                    <a:pt x="158" y="6404"/>
                    <a:pt x="184" y="6424"/>
                    <a:pt x="211" y="6444"/>
                  </a:cubicBezTo>
                  <a:cubicBezTo>
                    <a:pt x="320" y="6528"/>
                    <a:pt x="432" y="6606"/>
                    <a:pt x="547" y="6679"/>
                  </a:cubicBezTo>
                  <a:cubicBezTo>
                    <a:pt x="524" y="6598"/>
                    <a:pt x="511" y="6511"/>
                    <a:pt x="507" y="6419"/>
                  </a:cubicBezTo>
                  <a:cubicBezTo>
                    <a:pt x="506" y="6399"/>
                    <a:pt x="505" y="6380"/>
                    <a:pt x="505" y="6360"/>
                  </a:cubicBezTo>
                  <a:cubicBezTo>
                    <a:pt x="505" y="6358"/>
                    <a:pt x="505" y="6357"/>
                    <a:pt x="505" y="6356"/>
                  </a:cubicBezTo>
                  <a:cubicBezTo>
                    <a:pt x="505" y="6337"/>
                    <a:pt x="506" y="6318"/>
                    <a:pt x="507" y="6300"/>
                  </a:cubicBezTo>
                  <a:cubicBezTo>
                    <a:pt x="512" y="6147"/>
                    <a:pt x="539" y="5981"/>
                    <a:pt x="586" y="5804"/>
                  </a:cubicBezTo>
                  <a:cubicBezTo>
                    <a:pt x="592" y="5781"/>
                    <a:pt x="599" y="5758"/>
                    <a:pt x="605" y="5735"/>
                  </a:cubicBezTo>
                  <a:cubicBezTo>
                    <a:pt x="612" y="5712"/>
                    <a:pt x="619" y="5688"/>
                    <a:pt x="626" y="5665"/>
                  </a:cubicBezTo>
                  <a:cubicBezTo>
                    <a:pt x="703" y="5418"/>
                    <a:pt x="817" y="5153"/>
                    <a:pt x="962" y="4876"/>
                  </a:cubicBezTo>
                  <a:cubicBezTo>
                    <a:pt x="979" y="4845"/>
                    <a:pt x="996" y="4813"/>
                    <a:pt x="1013" y="4781"/>
                  </a:cubicBezTo>
                  <a:cubicBezTo>
                    <a:pt x="1031" y="4748"/>
                    <a:pt x="1050" y="4715"/>
                    <a:pt x="1069" y="4682"/>
                  </a:cubicBezTo>
                  <a:cubicBezTo>
                    <a:pt x="1441" y="4031"/>
                    <a:pt x="1982" y="3328"/>
                    <a:pt x="2654" y="2654"/>
                  </a:cubicBezTo>
                  <a:cubicBezTo>
                    <a:pt x="3328" y="1982"/>
                    <a:pt x="4031" y="1441"/>
                    <a:pt x="4682" y="10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0" name="Freeform 12">
              <a:extLst>
                <a:ext uri="{FF2B5EF4-FFF2-40B4-BE49-F238E27FC236}">
                  <a16:creationId xmlns:a16="http://schemas.microsoft.com/office/drawing/2014/main" id="{6967A9C6-FB4D-4270-BB09-0FBE5B7A6E5E}"/>
                </a:ext>
              </a:extLst>
            </p:cNvPr>
            <p:cNvSpPr>
              <a:spLocks/>
            </p:cNvSpPr>
            <p:nvPr/>
          </p:nvSpPr>
          <p:spPr bwMode="auto">
            <a:xfrm>
              <a:off x="5525067" y="2309661"/>
              <a:ext cx="3917703" cy="3936801"/>
            </a:xfrm>
            <a:custGeom>
              <a:avLst/>
              <a:gdLst>
                <a:gd name="T0" fmla="*/ 3424 w 5896"/>
                <a:gd name="T1" fmla="*/ 1876 h 5920"/>
                <a:gd name="T2" fmla="*/ 3633 w 5896"/>
                <a:gd name="T3" fmla="*/ 1712 h 5920"/>
                <a:gd name="T4" fmla="*/ 3808 w 5896"/>
                <a:gd name="T5" fmla="*/ 1582 h 5920"/>
                <a:gd name="T6" fmla="*/ 4916 w 5896"/>
                <a:gd name="T7" fmla="*/ 937 h 5920"/>
                <a:gd name="T8" fmla="*/ 5004 w 5896"/>
                <a:gd name="T9" fmla="*/ 901 h 5920"/>
                <a:gd name="T10" fmla="*/ 5086 w 5896"/>
                <a:gd name="T11" fmla="*/ 873 h 5920"/>
                <a:gd name="T12" fmla="*/ 5614 w 5896"/>
                <a:gd name="T13" fmla="*/ 767 h 5920"/>
                <a:gd name="T14" fmla="*/ 5621 w 5896"/>
                <a:gd name="T15" fmla="*/ 767 h 5920"/>
                <a:gd name="T16" fmla="*/ 5682 w 5896"/>
                <a:gd name="T17" fmla="*/ 770 h 5920"/>
                <a:gd name="T18" fmla="*/ 5742 w 5896"/>
                <a:gd name="T19" fmla="*/ 777 h 5920"/>
                <a:gd name="T20" fmla="*/ 5896 w 5896"/>
                <a:gd name="T21" fmla="*/ 821 h 5920"/>
                <a:gd name="T22" fmla="*/ 5826 w 5896"/>
                <a:gd name="T23" fmla="*/ 476 h 5920"/>
                <a:gd name="T24" fmla="*/ 5792 w 5896"/>
                <a:gd name="T25" fmla="*/ 349 h 5920"/>
                <a:gd name="T26" fmla="*/ 5752 w 5896"/>
                <a:gd name="T27" fmla="*/ 214 h 5920"/>
                <a:gd name="T28" fmla="*/ 5714 w 5896"/>
                <a:gd name="T29" fmla="*/ 97 h 5920"/>
                <a:gd name="T30" fmla="*/ 5444 w 5896"/>
                <a:gd name="T31" fmla="*/ 9 h 5920"/>
                <a:gd name="T32" fmla="*/ 5385 w 5896"/>
                <a:gd name="T33" fmla="*/ 3 h 5920"/>
                <a:gd name="T34" fmla="*/ 5324 w 5896"/>
                <a:gd name="T35" fmla="*/ 1 h 5920"/>
                <a:gd name="T36" fmla="*/ 5312 w 5896"/>
                <a:gd name="T37" fmla="*/ 0 h 5920"/>
                <a:gd name="T38" fmla="*/ 5307 w 5896"/>
                <a:gd name="T39" fmla="*/ 0 h 5920"/>
                <a:gd name="T40" fmla="*/ 4713 w 5896"/>
                <a:gd name="T41" fmla="*/ 112 h 5920"/>
                <a:gd name="T42" fmla="*/ 4636 w 5896"/>
                <a:gd name="T43" fmla="*/ 137 h 5920"/>
                <a:gd name="T44" fmla="*/ 4555 w 5896"/>
                <a:gd name="T45" fmla="*/ 168 h 5920"/>
                <a:gd name="T46" fmla="*/ 3688 w 5896"/>
                <a:gd name="T47" fmla="*/ 607 h 5920"/>
                <a:gd name="T48" fmla="*/ 3564 w 5896"/>
                <a:gd name="T49" fmla="*/ 684 h 5920"/>
                <a:gd name="T50" fmla="*/ 3430 w 5896"/>
                <a:gd name="T51" fmla="*/ 773 h 5920"/>
                <a:gd name="T52" fmla="*/ 1980 w 5896"/>
                <a:gd name="T53" fmla="*/ 1980 h 5920"/>
                <a:gd name="T54" fmla="*/ 774 w 5896"/>
                <a:gd name="T55" fmla="*/ 3429 h 5920"/>
                <a:gd name="T56" fmla="*/ 685 w 5896"/>
                <a:gd name="T57" fmla="*/ 3563 h 5920"/>
                <a:gd name="T58" fmla="*/ 607 w 5896"/>
                <a:gd name="T59" fmla="*/ 3688 h 5920"/>
                <a:gd name="T60" fmla="*/ 169 w 5896"/>
                <a:gd name="T61" fmla="*/ 4554 h 5920"/>
                <a:gd name="T62" fmla="*/ 137 w 5896"/>
                <a:gd name="T63" fmla="*/ 4635 h 5920"/>
                <a:gd name="T64" fmla="*/ 113 w 5896"/>
                <a:gd name="T65" fmla="*/ 4712 h 5920"/>
                <a:gd name="T66" fmla="*/ 1 w 5896"/>
                <a:gd name="T67" fmla="*/ 5311 h 5920"/>
                <a:gd name="T68" fmla="*/ 2 w 5896"/>
                <a:gd name="T69" fmla="*/ 5323 h 5920"/>
                <a:gd name="T70" fmla="*/ 4 w 5896"/>
                <a:gd name="T71" fmla="*/ 5384 h 5920"/>
                <a:gd name="T72" fmla="*/ 10 w 5896"/>
                <a:gd name="T73" fmla="*/ 5443 h 5920"/>
                <a:gd name="T74" fmla="*/ 121 w 5896"/>
                <a:gd name="T75" fmla="*/ 5747 h 5920"/>
                <a:gd name="T76" fmla="*/ 150 w 5896"/>
                <a:gd name="T77" fmla="*/ 5756 h 5920"/>
                <a:gd name="T78" fmla="*/ 291 w 5896"/>
                <a:gd name="T79" fmla="*/ 5800 h 5920"/>
                <a:gd name="T80" fmla="*/ 425 w 5896"/>
                <a:gd name="T81" fmla="*/ 5836 h 5920"/>
                <a:gd name="T82" fmla="*/ 835 w 5896"/>
                <a:gd name="T83" fmla="*/ 5920 h 5920"/>
                <a:gd name="T84" fmla="*/ 778 w 5896"/>
                <a:gd name="T85" fmla="*/ 5741 h 5920"/>
                <a:gd name="T86" fmla="*/ 771 w 5896"/>
                <a:gd name="T87" fmla="*/ 5681 h 5920"/>
                <a:gd name="T88" fmla="*/ 769 w 5896"/>
                <a:gd name="T89" fmla="*/ 5620 h 5920"/>
                <a:gd name="T90" fmla="*/ 768 w 5896"/>
                <a:gd name="T91" fmla="*/ 5612 h 5920"/>
                <a:gd name="T92" fmla="*/ 874 w 5896"/>
                <a:gd name="T93" fmla="*/ 5084 h 5920"/>
                <a:gd name="T94" fmla="*/ 903 w 5896"/>
                <a:gd name="T95" fmla="*/ 5002 h 5920"/>
                <a:gd name="T96" fmla="*/ 938 w 5896"/>
                <a:gd name="T97" fmla="*/ 4915 h 5920"/>
                <a:gd name="T98" fmla="*/ 1583 w 5896"/>
                <a:gd name="T99" fmla="*/ 3807 h 5920"/>
                <a:gd name="T100" fmla="*/ 1713 w 5896"/>
                <a:gd name="T101" fmla="*/ 3632 h 5920"/>
                <a:gd name="T102" fmla="*/ 1877 w 5896"/>
                <a:gd name="T103" fmla="*/ 3424 h 5920"/>
                <a:gd name="T104" fmla="*/ 2610 w 5896"/>
                <a:gd name="T105" fmla="*/ 2610 h 5920"/>
                <a:gd name="T106" fmla="*/ 3424 w 5896"/>
                <a:gd name="T107" fmla="*/ 1876 h 5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96" h="5920">
                  <a:moveTo>
                    <a:pt x="3424" y="1876"/>
                  </a:moveTo>
                  <a:cubicBezTo>
                    <a:pt x="3494" y="1819"/>
                    <a:pt x="3564" y="1765"/>
                    <a:pt x="3633" y="1712"/>
                  </a:cubicBezTo>
                  <a:cubicBezTo>
                    <a:pt x="3692" y="1667"/>
                    <a:pt x="3750" y="1624"/>
                    <a:pt x="3808" y="1582"/>
                  </a:cubicBezTo>
                  <a:cubicBezTo>
                    <a:pt x="4204" y="1295"/>
                    <a:pt x="4581" y="1076"/>
                    <a:pt x="4916" y="937"/>
                  </a:cubicBezTo>
                  <a:cubicBezTo>
                    <a:pt x="4945" y="925"/>
                    <a:pt x="4975" y="912"/>
                    <a:pt x="5004" y="901"/>
                  </a:cubicBezTo>
                  <a:cubicBezTo>
                    <a:pt x="5032" y="891"/>
                    <a:pt x="5058" y="882"/>
                    <a:pt x="5086" y="873"/>
                  </a:cubicBezTo>
                  <a:cubicBezTo>
                    <a:pt x="5281" y="806"/>
                    <a:pt x="5460" y="768"/>
                    <a:pt x="5614" y="767"/>
                  </a:cubicBezTo>
                  <a:cubicBezTo>
                    <a:pt x="5616" y="767"/>
                    <a:pt x="5618" y="767"/>
                    <a:pt x="5621" y="767"/>
                  </a:cubicBezTo>
                  <a:cubicBezTo>
                    <a:pt x="5642" y="768"/>
                    <a:pt x="5662" y="768"/>
                    <a:pt x="5682" y="770"/>
                  </a:cubicBezTo>
                  <a:cubicBezTo>
                    <a:pt x="5702" y="771"/>
                    <a:pt x="5722" y="774"/>
                    <a:pt x="5742" y="777"/>
                  </a:cubicBezTo>
                  <a:cubicBezTo>
                    <a:pt x="5797" y="785"/>
                    <a:pt x="5849" y="800"/>
                    <a:pt x="5896" y="821"/>
                  </a:cubicBezTo>
                  <a:cubicBezTo>
                    <a:pt x="5877" y="705"/>
                    <a:pt x="5854" y="590"/>
                    <a:pt x="5826" y="476"/>
                  </a:cubicBezTo>
                  <a:cubicBezTo>
                    <a:pt x="5816" y="433"/>
                    <a:pt x="5804" y="391"/>
                    <a:pt x="5792" y="349"/>
                  </a:cubicBezTo>
                  <a:cubicBezTo>
                    <a:pt x="5779" y="304"/>
                    <a:pt x="5766" y="259"/>
                    <a:pt x="5752" y="214"/>
                  </a:cubicBezTo>
                  <a:cubicBezTo>
                    <a:pt x="5740" y="175"/>
                    <a:pt x="5728" y="136"/>
                    <a:pt x="5714" y="97"/>
                  </a:cubicBezTo>
                  <a:cubicBezTo>
                    <a:pt x="5639" y="51"/>
                    <a:pt x="5549" y="22"/>
                    <a:pt x="5444" y="9"/>
                  </a:cubicBezTo>
                  <a:cubicBezTo>
                    <a:pt x="5425" y="6"/>
                    <a:pt x="5405" y="4"/>
                    <a:pt x="5385" y="3"/>
                  </a:cubicBezTo>
                  <a:cubicBezTo>
                    <a:pt x="5365" y="1"/>
                    <a:pt x="5345" y="1"/>
                    <a:pt x="5324" y="1"/>
                  </a:cubicBezTo>
                  <a:cubicBezTo>
                    <a:pt x="5320" y="1"/>
                    <a:pt x="5316" y="0"/>
                    <a:pt x="5312" y="0"/>
                  </a:cubicBezTo>
                  <a:cubicBezTo>
                    <a:pt x="5311" y="0"/>
                    <a:pt x="5309" y="0"/>
                    <a:pt x="5307" y="0"/>
                  </a:cubicBezTo>
                  <a:cubicBezTo>
                    <a:pt x="5135" y="0"/>
                    <a:pt x="4934" y="40"/>
                    <a:pt x="4713" y="112"/>
                  </a:cubicBezTo>
                  <a:cubicBezTo>
                    <a:pt x="4687" y="120"/>
                    <a:pt x="4662" y="127"/>
                    <a:pt x="4636" y="137"/>
                  </a:cubicBezTo>
                  <a:cubicBezTo>
                    <a:pt x="4610" y="146"/>
                    <a:pt x="4582" y="158"/>
                    <a:pt x="4555" y="168"/>
                  </a:cubicBezTo>
                  <a:cubicBezTo>
                    <a:pt x="4287" y="270"/>
                    <a:pt x="3995" y="418"/>
                    <a:pt x="3688" y="607"/>
                  </a:cubicBezTo>
                  <a:cubicBezTo>
                    <a:pt x="3647" y="632"/>
                    <a:pt x="3606" y="657"/>
                    <a:pt x="3564" y="684"/>
                  </a:cubicBezTo>
                  <a:cubicBezTo>
                    <a:pt x="3520" y="713"/>
                    <a:pt x="3475" y="743"/>
                    <a:pt x="3430" y="773"/>
                  </a:cubicBezTo>
                  <a:cubicBezTo>
                    <a:pt x="2956" y="1092"/>
                    <a:pt x="2460" y="1499"/>
                    <a:pt x="1980" y="1980"/>
                  </a:cubicBezTo>
                  <a:cubicBezTo>
                    <a:pt x="1500" y="2459"/>
                    <a:pt x="1093" y="2956"/>
                    <a:pt x="774" y="3429"/>
                  </a:cubicBezTo>
                  <a:cubicBezTo>
                    <a:pt x="744" y="3474"/>
                    <a:pt x="714" y="3519"/>
                    <a:pt x="685" y="3563"/>
                  </a:cubicBezTo>
                  <a:cubicBezTo>
                    <a:pt x="658" y="3605"/>
                    <a:pt x="633" y="3646"/>
                    <a:pt x="607" y="3688"/>
                  </a:cubicBezTo>
                  <a:cubicBezTo>
                    <a:pt x="419" y="3994"/>
                    <a:pt x="271" y="4287"/>
                    <a:pt x="169" y="4554"/>
                  </a:cubicBezTo>
                  <a:cubicBezTo>
                    <a:pt x="158" y="4581"/>
                    <a:pt x="147" y="4609"/>
                    <a:pt x="137" y="4635"/>
                  </a:cubicBezTo>
                  <a:cubicBezTo>
                    <a:pt x="128" y="4661"/>
                    <a:pt x="121" y="4686"/>
                    <a:pt x="113" y="4712"/>
                  </a:cubicBezTo>
                  <a:cubicBezTo>
                    <a:pt x="40" y="4935"/>
                    <a:pt x="0" y="5138"/>
                    <a:pt x="1" y="5311"/>
                  </a:cubicBezTo>
                  <a:cubicBezTo>
                    <a:pt x="1" y="5315"/>
                    <a:pt x="1" y="5319"/>
                    <a:pt x="2" y="5323"/>
                  </a:cubicBezTo>
                  <a:cubicBezTo>
                    <a:pt x="2" y="5344"/>
                    <a:pt x="2" y="5364"/>
                    <a:pt x="4" y="5384"/>
                  </a:cubicBezTo>
                  <a:cubicBezTo>
                    <a:pt x="5" y="5404"/>
                    <a:pt x="7" y="5424"/>
                    <a:pt x="10" y="5443"/>
                  </a:cubicBezTo>
                  <a:cubicBezTo>
                    <a:pt x="25" y="5564"/>
                    <a:pt x="62" y="5665"/>
                    <a:pt x="121" y="5747"/>
                  </a:cubicBezTo>
                  <a:cubicBezTo>
                    <a:pt x="131" y="5750"/>
                    <a:pt x="140" y="5753"/>
                    <a:pt x="150" y="5756"/>
                  </a:cubicBezTo>
                  <a:cubicBezTo>
                    <a:pt x="197" y="5771"/>
                    <a:pt x="244" y="5786"/>
                    <a:pt x="291" y="5800"/>
                  </a:cubicBezTo>
                  <a:cubicBezTo>
                    <a:pt x="336" y="5813"/>
                    <a:pt x="380" y="5825"/>
                    <a:pt x="425" y="5836"/>
                  </a:cubicBezTo>
                  <a:cubicBezTo>
                    <a:pt x="560" y="5870"/>
                    <a:pt x="697" y="5898"/>
                    <a:pt x="835" y="5920"/>
                  </a:cubicBezTo>
                  <a:cubicBezTo>
                    <a:pt x="807" y="5866"/>
                    <a:pt x="788" y="5806"/>
                    <a:pt x="778" y="5741"/>
                  </a:cubicBezTo>
                  <a:cubicBezTo>
                    <a:pt x="775" y="5721"/>
                    <a:pt x="773" y="5701"/>
                    <a:pt x="771" y="5681"/>
                  </a:cubicBezTo>
                  <a:cubicBezTo>
                    <a:pt x="769" y="5661"/>
                    <a:pt x="769" y="5641"/>
                    <a:pt x="769" y="5620"/>
                  </a:cubicBezTo>
                  <a:cubicBezTo>
                    <a:pt x="769" y="5617"/>
                    <a:pt x="768" y="5615"/>
                    <a:pt x="768" y="5612"/>
                  </a:cubicBezTo>
                  <a:cubicBezTo>
                    <a:pt x="769" y="5459"/>
                    <a:pt x="807" y="5280"/>
                    <a:pt x="874" y="5084"/>
                  </a:cubicBezTo>
                  <a:cubicBezTo>
                    <a:pt x="884" y="5057"/>
                    <a:pt x="892" y="5030"/>
                    <a:pt x="903" y="5002"/>
                  </a:cubicBezTo>
                  <a:cubicBezTo>
                    <a:pt x="913" y="4974"/>
                    <a:pt x="926" y="4944"/>
                    <a:pt x="938" y="4915"/>
                  </a:cubicBezTo>
                  <a:cubicBezTo>
                    <a:pt x="1077" y="4580"/>
                    <a:pt x="1296" y="4203"/>
                    <a:pt x="1583" y="3807"/>
                  </a:cubicBezTo>
                  <a:cubicBezTo>
                    <a:pt x="1625" y="3749"/>
                    <a:pt x="1668" y="3691"/>
                    <a:pt x="1713" y="3632"/>
                  </a:cubicBezTo>
                  <a:cubicBezTo>
                    <a:pt x="1765" y="3563"/>
                    <a:pt x="1820" y="3493"/>
                    <a:pt x="1877" y="3424"/>
                  </a:cubicBezTo>
                  <a:cubicBezTo>
                    <a:pt x="2095" y="3154"/>
                    <a:pt x="2341" y="2880"/>
                    <a:pt x="2610" y="2610"/>
                  </a:cubicBezTo>
                  <a:cubicBezTo>
                    <a:pt x="2881" y="2340"/>
                    <a:pt x="3155" y="2095"/>
                    <a:pt x="3424" y="187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1" name="Freeform 13">
              <a:extLst>
                <a:ext uri="{FF2B5EF4-FFF2-40B4-BE49-F238E27FC236}">
                  <a16:creationId xmlns:a16="http://schemas.microsoft.com/office/drawing/2014/main" id="{85D81FB3-8A4F-49F2-A164-8A0BF5C67920}"/>
                </a:ext>
              </a:extLst>
            </p:cNvPr>
            <p:cNvSpPr>
              <a:spLocks/>
            </p:cNvSpPr>
            <p:nvPr/>
          </p:nvSpPr>
          <p:spPr bwMode="auto">
            <a:xfrm>
              <a:off x="6849611" y="3634205"/>
              <a:ext cx="2613621" cy="2625898"/>
            </a:xfrm>
            <a:custGeom>
              <a:avLst/>
              <a:gdLst>
                <a:gd name="T0" fmla="*/ 3902 w 3934"/>
                <a:gd name="T1" fmla="*/ 32 h 3950"/>
                <a:gd name="T2" fmla="*/ 3727 w 3934"/>
                <a:gd name="T3" fmla="*/ 0 h 3950"/>
                <a:gd name="T4" fmla="*/ 3687 w 3934"/>
                <a:gd name="T5" fmla="*/ 3 h 3950"/>
                <a:gd name="T6" fmla="*/ 3616 w 3934"/>
                <a:gd name="T7" fmla="*/ 8 h 3950"/>
                <a:gd name="T8" fmla="*/ 3541 w 3934"/>
                <a:gd name="T9" fmla="*/ 21 h 3950"/>
                <a:gd name="T10" fmla="*/ 3005 w 3934"/>
                <a:gd name="T11" fmla="*/ 222 h 3950"/>
                <a:gd name="T12" fmla="*/ 2891 w 3934"/>
                <a:gd name="T13" fmla="*/ 283 h 3950"/>
                <a:gd name="T14" fmla="*/ 2768 w 3934"/>
                <a:gd name="T15" fmla="*/ 353 h 3950"/>
                <a:gd name="T16" fmla="*/ 1424 w 3934"/>
                <a:gd name="T17" fmla="*/ 1424 h 3950"/>
                <a:gd name="T18" fmla="*/ 353 w 3934"/>
                <a:gd name="T19" fmla="*/ 2768 h 3950"/>
                <a:gd name="T20" fmla="*/ 283 w 3934"/>
                <a:gd name="T21" fmla="*/ 2891 h 3950"/>
                <a:gd name="T22" fmla="*/ 222 w 3934"/>
                <a:gd name="T23" fmla="*/ 3005 h 3950"/>
                <a:gd name="T24" fmla="*/ 22 w 3934"/>
                <a:gd name="T25" fmla="*/ 3540 h 3950"/>
                <a:gd name="T26" fmla="*/ 8 w 3934"/>
                <a:gd name="T27" fmla="*/ 3616 h 3950"/>
                <a:gd name="T28" fmla="*/ 3 w 3934"/>
                <a:gd name="T29" fmla="*/ 3686 h 3950"/>
                <a:gd name="T30" fmla="*/ 1 w 3934"/>
                <a:gd name="T31" fmla="*/ 3727 h 3950"/>
                <a:gd name="T32" fmla="*/ 32 w 3934"/>
                <a:gd name="T33" fmla="*/ 3902 h 3950"/>
                <a:gd name="T34" fmla="*/ 56 w 3934"/>
                <a:gd name="T35" fmla="*/ 3950 h 3950"/>
                <a:gd name="T36" fmla="*/ 79 w 3934"/>
                <a:gd name="T37" fmla="*/ 3947 h 3950"/>
                <a:gd name="T38" fmla="*/ 282 w 3934"/>
                <a:gd name="T39" fmla="*/ 3917 h 3950"/>
                <a:gd name="T40" fmla="*/ 1127 w 3934"/>
                <a:gd name="T41" fmla="*/ 3685 h 3950"/>
                <a:gd name="T42" fmla="*/ 1020 w 3934"/>
                <a:gd name="T43" fmla="*/ 3624 h 3950"/>
                <a:gd name="T44" fmla="*/ 959 w 3934"/>
                <a:gd name="T45" fmla="*/ 3517 h 3950"/>
                <a:gd name="T46" fmla="*/ 946 w 3934"/>
                <a:gd name="T47" fmla="*/ 3454 h 3950"/>
                <a:gd name="T48" fmla="*/ 943 w 3934"/>
                <a:gd name="T49" fmla="*/ 3410 h 3950"/>
                <a:gd name="T50" fmla="*/ 945 w 3934"/>
                <a:gd name="T51" fmla="*/ 3382 h 3950"/>
                <a:gd name="T52" fmla="*/ 1060 w 3934"/>
                <a:gd name="T53" fmla="*/ 2995 h 3950"/>
                <a:gd name="T54" fmla="*/ 1123 w 3934"/>
                <a:gd name="T55" fmla="*/ 2873 h 3950"/>
                <a:gd name="T56" fmla="*/ 1207 w 3934"/>
                <a:gd name="T57" fmla="*/ 2729 h 3950"/>
                <a:gd name="T58" fmla="*/ 1890 w 3934"/>
                <a:gd name="T59" fmla="*/ 1890 h 3950"/>
                <a:gd name="T60" fmla="*/ 2729 w 3934"/>
                <a:gd name="T61" fmla="*/ 1207 h 3950"/>
                <a:gd name="T62" fmla="*/ 2873 w 3934"/>
                <a:gd name="T63" fmla="*/ 1123 h 3950"/>
                <a:gd name="T64" fmla="*/ 2994 w 3934"/>
                <a:gd name="T65" fmla="*/ 1061 h 3950"/>
                <a:gd name="T66" fmla="*/ 3382 w 3934"/>
                <a:gd name="T67" fmla="*/ 946 h 3950"/>
                <a:gd name="T68" fmla="*/ 3410 w 3934"/>
                <a:gd name="T69" fmla="*/ 943 h 3950"/>
                <a:gd name="T70" fmla="*/ 3454 w 3934"/>
                <a:gd name="T71" fmla="*/ 947 h 3950"/>
                <a:gd name="T72" fmla="*/ 3517 w 3934"/>
                <a:gd name="T73" fmla="*/ 959 h 3950"/>
                <a:gd name="T74" fmla="*/ 3624 w 3934"/>
                <a:gd name="T75" fmla="*/ 1020 h 3950"/>
                <a:gd name="T76" fmla="*/ 3679 w 3934"/>
                <a:gd name="T77" fmla="*/ 1109 h 3950"/>
                <a:gd name="T78" fmla="*/ 3893 w 3934"/>
                <a:gd name="T79" fmla="*/ 331 h 3950"/>
                <a:gd name="T80" fmla="*/ 3924 w 3934"/>
                <a:gd name="T81" fmla="*/ 131 h 3950"/>
                <a:gd name="T82" fmla="*/ 3934 w 3934"/>
                <a:gd name="T83" fmla="*/ 47 h 3950"/>
                <a:gd name="T84" fmla="*/ 3902 w 3934"/>
                <a:gd name="T85" fmla="*/ 32 h 3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34" h="3950">
                  <a:moveTo>
                    <a:pt x="3902" y="32"/>
                  </a:moveTo>
                  <a:cubicBezTo>
                    <a:pt x="3854" y="12"/>
                    <a:pt x="3797" y="1"/>
                    <a:pt x="3727" y="0"/>
                  </a:cubicBezTo>
                  <a:cubicBezTo>
                    <a:pt x="3714" y="0"/>
                    <a:pt x="3700" y="2"/>
                    <a:pt x="3687" y="3"/>
                  </a:cubicBezTo>
                  <a:cubicBezTo>
                    <a:pt x="3664" y="4"/>
                    <a:pt x="3641" y="5"/>
                    <a:pt x="3616" y="8"/>
                  </a:cubicBezTo>
                  <a:cubicBezTo>
                    <a:pt x="3592" y="12"/>
                    <a:pt x="3567" y="16"/>
                    <a:pt x="3541" y="21"/>
                  </a:cubicBezTo>
                  <a:cubicBezTo>
                    <a:pt x="3386" y="53"/>
                    <a:pt x="3204" y="121"/>
                    <a:pt x="3005" y="222"/>
                  </a:cubicBezTo>
                  <a:cubicBezTo>
                    <a:pt x="2967" y="241"/>
                    <a:pt x="2929" y="262"/>
                    <a:pt x="2891" y="283"/>
                  </a:cubicBezTo>
                  <a:cubicBezTo>
                    <a:pt x="2851" y="305"/>
                    <a:pt x="2810" y="329"/>
                    <a:pt x="2768" y="353"/>
                  </a:cubicBezTo>
                  <a:cubicBezTo>
                    <a:pt x="2350" y="601"/>
                    <a:pt x="1878" y="968"/>
                    <a:pt x="1424" y="1424"/>
                  </a:cubicBezTo>
                  <a:cubicBezTo>
                    <a:pt x="967" y="1878"/>
                    <a:pt x="601" y="2350"/>
                    <a:pt x="353" y="2768"/>
                  </a:cubicBezTo>
                  <a:cubicBezTo>
                    <a:pt x="329" y="2810"/>
                    <a:pt x="305" y="2851"/>
                    <a:pt x="283" y="2891"/>
                  </a:cubicBezTo>
                  <a:cubicBezTo>
                    <a:pt x="261" y="2930"/>
                    <a:pt x="241" y="2968"/>
                    <a:pt x="222" y="3005"/>
                  </a:cubicBezTo>
                  <a:cubicBezTo>
                    <a:pt x="121" y="3204"/>
                    <a:pt x="53" y="3386"/>
                    <a:pt x="22" y="3540"/>
                  </a:cubicBezTo>
                  <a:cubicBezTo>
                    <a:pt x="16" y="3566"/>
                    <a:pt x="12" y="3592"/>
                    <a:pt x="8" y="3616"/>
                  </a:cubicBezTo>
                  <a:cubicBezTo>
                    <a:pt x="5" y="3641"/>
                    <a:pt x="4" y="3664"/>
                    <a:pt x="3" y="3686"/>
                  </a:cubicBezTo>
                  <a:cubicBezTo>
                    <a:pt x="2" y="3700"/>
                    <a:pt x="0" y="3714"/>
                    <a:pt x="1" y="3727"/>
                  </a:cubicBezTo>
                  <a:cubicBezTo>
                    <a:pt x="1" y="3797"/>
                    <a:pt x="12" y="3854"/>
                    <a:pt x="32" y="3902"/>
                  </a:cubicBezTo>
                  <a:cubicBezTo>
                    <a:pt x="39" y="3919"/>
                    <a:pt x="47" y="3935"/>
                    <a:pt x="56" y="3950"/>
                  </a:cubicBezTo>
                  <a:cubicBezTo>
                    <a:pt x="64" y="3949"/>
                    <a:pt x="71" y="3948"/>
                    <a:pt x="79" y="3947"/>
                  </a:cubicBezTo>
                  <a:cubicBezTo>
                    <a:pt x="147" y="3939"/>
                    <a:pt x="214" y="3929"/>
                    <a:pt x="282" y="3917"/>
                  </a:cubicBezTo>
                  <a:cubicBezTo>
                    <a:pt x="569" y="3868"/>
                    <a:pt x="852" y="3791"/>
                    <a:pt x="1127" y="3685"/>
                  </a:cubicBezTo>
                  <a:cubicBezTo>
                    <a:pt x="1087" y="3673"/>
                    <a:pt x="1050" y="3653"/>
                    <a:pt x="1020" y="3624"/>
                  </a:cubicBezTo>
                  <a:cubicBezTo>
                    <a:pt x="990" y="3594"/>
                    <a:pt x="971" y="3557"/>
                    <a:pt x="959" y="3517"/>
                  </a:cubicBezTo>
                  <a:cubicBezTo>
                    <a:pt x="953" y="3497"/>
                    <a:pt x="949" y="3476"/>
                    <a:pt x="946" y="3454"/>
                  </a:cubicBezTo>
                  <a:cubicBezTo>
                    <a:pt x="945" y="3440"/>
                    <a:pt x="943" y="3425"/>
                    <a:pt x="943" y="3410"/>
                  </a:cubicBezTo>
                  <a:cubicBezTo>
                    <a:pt x="944" y="3401"/>
                    <a:pt x="945" y="3392"/>
                    <a:pt x="945" y="3382"/>
                  </a:cubicBezTo>
                  <a:cubicBezTo>
                    <a:pt x="952" y="3271"/>
                    <a:pt x="992" y="3140"/>
                    <a:pt x="1060" y="2995"/>
                  </a:cubicBezTo>
                  <a:cubicBezTo>
                    <a:pt x="1079" y="2955"/>
                    <a:pt x="1100" y="2914"/>
                    <a:pt x="1123" y="2873"/>
                  </a:cubicBezTo>
                  <a:cubicBezTo>
                    <a:pt x="1148" y="2826"/>
                    <a:pt x="1176" y="2778"/>
                    <a:pt x="1207" y="2729"/>
                  </a:cubicBezTo>
                  <a:cubicBezTo>
                    <a:pt x="1371" y="2466"/>
                    <a:pt x="1606" y="2176"/>
                    <a:pt x="1890" y="1890"/>
                  </a:cubicBezTo>
                  <a:cubicBezTo>
                    <a:pt x="2176" y="1606"/>
                    <a:pt x="2466" y="1372"/>
                    <a:pt x="2729" y="1207"/>
                  </a:cubicBezTo>
                  <a:cubicBezTo>
                    <a:pt x="2778" y="1176"/>
                    <a:pt x="2825" y="1149"/>
                    <a:pt x="2873" y="1123"/>
                  </a:cubicBezTo>
                  <a:cubicBezTo>
                    <a:pt x="2914" y="1100"/>
                    <a:pt x="2955" y="1079"/>
                    <a:pt x="2994" y="1061"/>
                  </a:cubicBezTo>
                  <a:cubicBezTo>
                    <a:pt x="3140" y="992"/>
                    <a:pt x="3271" y="953"/>
                    <a:pt x="3382" y="946"/>
                  </a:cubicBezTo>
                  <a:cubicBezTo>
                    <a:pt x="3392" y="945"/>
                    <a:pt x="3401" y="944"/>
                    <a:pt x="3410" y="943"/>
                  </a:cubicBezTo>
                  <a:cubicBezTo>
                    <a:pt x="3425" y="943"/>
                    <a:pt x="3440" y="945"/>
                    <a:pt x="3454" y="947"/>
                  </a:cubicBezTo>
                  <a:cubicBezTo>
                    <a:pt x="3476" y="949"/>
                    <a:pt x="3497" y="953"/>
                    <a:pt x="3517" y="959"/>
                  </a:cubicBezTo>
                  <a:cubicBezTo>
                    <a:pt x="3557" y="971"/>
                    <a:pt x="3594" y="990"/>
                    <a:pt x="3624" y="1020"/>
                  </a:cubicBezTo>
                  <a:cubicBezTo>
                    <a:pt x="3649" y="1045"/>
                    <a:pt x="3667" y="1076"/>
                    <a:pt x="3679" y="1109"/>
                  </a:cubicBezTo>
                  <a:cubicBezTo>
                    <a:pt x="3774" y="856"/>
                    <a:pt x="3846" y="595"/>
                    <a:pt x="3893" y="331"/>
                  </a:cubicBezTo>
                  <a:cubicBezTo>
                    <a:pt x="3905" y="265"/>
                    <a:pt x="3915" y="198"/>
                    <a:pt x="3924" y="131"/>
                  </a:cubicBezTo>
                  <a:cubicBezTo>
                    <a:pt x="3928" y="103"/>
                    <a:pt x="3931" y="75"/>
                    <a:pt x="3934" y="47"/>
                  </a:cubicBezTo>
                  <a:cubicBezTo>
                    <a:pt x="3924" y="41"/>
                    <a:pt x="3913" y="37"/>
                    <a:pt x="3902" y="3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sp>
        <p:nvSpPr>
          <p:cNvPr id="34" name="Rubrik 33"/>
          <p:cNvSpPr>
            <a:spLocks noGrp="1"/>
          </p:cNvSpPr>
          <p:nvPr>
            <p:ph type="title" hasCustomPrompt="1"/>
          </p:nvPr>
        </p:nvSpPr>
        <p:spPr>
          <a:xfrm>
            <a:off x="380999" y="231140"/>
            <a:ext cx="8370889" cy="793918"/>
          </a:xfrm>
          <a:prstGeom prst="rect">
            <a:avLst/>
          </a:prstGeom>
        </p:spPr>
        <p:txBody>
          <a:bodyPr lIns="0" tIns="0" rIns="0" bIns="0" anchor="t" anchorCtr="0">
            <a:normAutofit/>
          </a:bodyPr>
          <a:lstStyle>
            <a:lvl1pPr algn="l">
              <a:defRPr sz="3600">
                <a:solidFill>
                  <a:schemeClr val="tx1"/>
                </a:solidFill>
                <a:latin typeface="Calibri"/>
                <a:cs typeface="Calibri"/>
              </a:defRPr>
            </a:lvl1pPr>
          </a:lstStyle>
          <a:p>
            <a:r>
              <a:rPr lang="en-GB"/>
              <a:t>Heading</a:t>
            </a:r>
            <a:endParaRPr lang="sv-SE"/>
          </a:p>
        </p:txBody>
      </p:sp>
      <p:sp>
        <p:nvSpPr>
          <p:cNvPr id="21" name="Platshållare för text 2"/>
          <p:cNvSpPr>
            <a:spLocks noGrp="1"/>
          </p:cNvSpPr>
          <p:nvPr>
            <p:ph type="body" sz="quarter" idx="17" hasCustomPrompt="1"/>
          </p:nvPr>
        </p:nvSpPr>
        <p:spPr>
          <a:xfrm>
            <a:off x="381000" y="1238250"/>
            <a:ext cx="4186238" cy="3257612"/>
          </a:xfrm>
          <a:prstGeom prst="rect">
            <a:avLst/>
          </a:prstGeom>
        </p:spPr>
        <p:txBody>
          <a:bodyPr lIns="0" tIns="0" rIns="0" bIns="0"/>
          <a:lstStyle>
            <a:lvl1pPr marL="190500" indent="-190500">
              <a:spcBef>
                <a:spcPts val="50"/>
              </a:spcBef>
              <a:defRPr sz="2000"/>
            </a:lvl1pPr>
            <a:lvl2pPr marL="190500" indent="254000">
              <a:spcBef>
                <a:spcPts val="50"/>
              </a:spcBef>
              <a:buFont typeface="Lucida Grande"/>
              <a:buChar char="–"/>
              <a:defRPr sz="2000"/>
            </a:lvl2pPr>
            <a:lvl3pPr marL="571500" indent="-254000">
              <a:spcBef>
                <a:spcPts val="50"/>
              </a:spcBef>
              <a:buFont typeface="Lucida Grande"/>
              <a:buChar char="–"/>
              <a:defRPr sz="1800"/>
            </a:lvl3pPr>
            <a:lvl4pPr marL="698500" indent="-254000">
              <a:spcBef>
                <a:spcPts val="50"/>
              </a:spcBef>
              <a:buFont typeface="Lucida Grande"/>
              <a:buChar char="–"/>
              <a:defRPr sz="1800"/>
            </a:lvl4pPr>
            <a:lvl5pPr marL="825500" indent="-254000">
              <a:spcBef>
                <a:spcPts val="50"/>
              </a:spcBef>
              <a:buFont typeface="Lucida Grande"/>
              <a:buChar char="–"/>
              <a:defRPr sz="1800"/>
            </a:lvl5pPr>
          </a:lstStyle>
          <a:p>
            <a:pPr lvl="0"/>
            <a:r>
              <a:rPr lang="en-GB" noProof="0"/>
              <a:t>Level 1</a:t>
            </a:r>
          </a:p>
          <a:p>
            <a:pPr lvl="1"/>
            <a:r>
              <a:rPr lang="en-GB" noProof="0"/>
              <a:t>Level 2</a:t>
            </a:r>
          </a:p>
          <a:p>
            <a:pPr lvl="2"/>
            <a:r>
              <a:rPr lang="en-GB" noProof="0"/>
              <a:t>Level 3</a:t>
            </a:r>
          </a:p>
          <a:p>
            <a:pPr lvl="3"/>
            <a:r>
              <a:rPr lang="en-GB" noProof="0"/>
              <a:t>Level 4</a:t>
            </a:r>
          </a:p>
          <a:p>
            <a:pPr lvl="4"/>
            <a:r>
              <a:rPr lang="en-GB" noProof="0"/>
              <a:t>Level 5</a:t>
            </a:r>
          </a:p>
        </p:txBody>
      </p:sp>
      <p:pic>
        <p:nvPicPr>
          <p:cNvPr id="33" name="Bildobjekt 3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0201" y="4590290"/>
            <a:ext cx="850195" cy="307734"/>
          </a:xfrm>
          <a:prstGeom prst="rect">
            <a:avLst/>
          </a:prstGeom>
        </p:spPr>
      </p:pic>
      <p:sp>
        <p:nvSpPr>
          <p:cNvPr id="35" name="Platshållare för sidfot 4">
            <a:extLst>
              <a:ext uri="{FF2B5EF4-FFF2-40B4-BE49-F238E27FC236}">
                <a16:creationId xmlns:a16="http://schemas.microsoft.com/office/drawing/2014/main" id="{1AE47823-13BB-41B4-906A-1E7095218F39}"/>
              </a:ext>
            </a:extLst>
          </p:cNvPr>
          <p:cNvSpPr>
            <a:spLocks noGrp="1"/>
          </p:cNvSpPr>
          <p:nvPr>
            <p:ph type="ftr" sz="quarter" idx="11"/>
          </p:nvPr>
        </p:nvSpPr>
        <p:spPr>
          <a:xfrm>
            <a:off x="5824413" y="4483997"/>
            <a:ext cx="2509889" cy="382813"/>
          </a:xfrm>
          <a:prstGeom prst="rect">
            <a:avLst/>
          </a:prstGeom>
        </p:spPr>
        <p:txBody>
          <a:bodyPr lIns="0" tIns="0" rIns="0" bIns="0" anchor="b" anchorCtr="0"/>
          <a:lstStyle>
            <a:lvl1pPr algn="r">
              <a:defRPr sz="900" b="0">
                <a:solidFill>
                  <a:schemeClr val="tx1"/>
                </a:solidFill>
              </a:defRPr>
            </a:lvl1pPr>
          </a:lstStyle>
          <a:p>
            <a:r>
              <a:rPr lang="en-US"/>
              <a:t>Stakeholder Forum Agenda - Classification: External</a:t>
            </a:r>
            <a:endParaRPr lang="sv-SE"/>
          </a:p>
        </p:txBody>
      </p:sp>
      <p:sp>
        <p:nvSpPr>
          <p:cNvPr id="38" name="Platshållare för datum 3">
            <a:extLst>
              <a:ext uri="{FF2B5EF4-FFF2-40B4-BE49-F238E27FC236}">
                <a16:creationId xmlns:a16="http://schemas.microsoft.com/office/drawing/2014/main" id="{A2D83CD8-8E25-4C26-9DB9-3677376AED03}"/>
              </a:ext>
            </a:extLst>
          </p:cNvPr>
          <p:cNvSpPr>
            <a:spLocks noGrp="1"/>
          </p:cNvSpPr>
          <p:nvPr>
            <p:ph type="dt" sz="half" idx="10"/>
          </p:nvPr>
        </p:nvSpPr>
        <p:spPr>
          <a:xfrm>
            <a:off x="4734099" y="4495861"/>
            <a:ext cx="1018558" cy="370949"/>
          </a:xfrm>
          <a:prstGeom prst="rect">
            <a:avLst/>
          </a:prstGeom>
        </p:spPr>
        <p:txBody>
          <a:bodyPr lIns="0" tIns="0" rIns="0" bIns="0" anchor="b" anchorCtr="0"/>
          <a:lstStyle>
            <a:lvl1pPr algn="l">
              <a:defRPr sz="900" b="0" i="0" cap="all">
                <a:solidFill>
                  <a:schemeClr val="tx1"/>
                </a:solidFill>
              </a:defRPr>
            </a:lvl1pPr>
          </a:lstStyle>
          <a:p>
            <a:r>
              <a:rPr lang="sv-SE"/>
              <a:t>26/03/2026</a:t>
            </a:r>
          </a:p>
        </p:txBody>
      </p:sp>
      <p:sp>
        <p:nvSpPr>
          <p:cNvPr id="39" name="Platshållare för bildnummer 5">
            <a:extLst>
              <a:ext uri="{FF2B5EF4-FFF2-40B4-BE49-F238E27FC236}">
                <a16:creationId xmlns:a16="http://schemas.microsoft.com/office/drawing/2014/main" id="{8C9913A8-7165-4444-B771-69D3C4AA9391}"/>
              </a:ext>
            </a:extLst>
          </p:cNvPr>
          <p:cNvSpPr>
            <a:spLocks noGrp="1"/>
          </p:cNvSpPr>
          <p:nvPr>
            <p:ph type="sldNum" sz="quarter" idx="12"/>
          </p:nvPr>
        </p:nvSpPr>
        <p:spPr>
          <a:xfrm>
            <a:off x="8383230" y="4469824"/>
            <a:ext cx="368658" cy="396987"/>
          </a:xfrm>
          <a:prstGeom prst="rect">
            <a:avLst/>
          </a:prstGeom>
          <a:noFill/>
        </p:spPr>
        <p:txBody>
          <a:bodyPr lIns="25400" tIns="0" rIns="0" bIns="0" anchor="b" anchorCtr="0"/>
          <a:lstStyle>
            <a:lvl1pPr algn="r">
              <a:defRPr sz="900">
                <a:solidFill>
                  <a:schemeClr val="tx1"/>
                </a:solidFill>
              </a:defRPr>
            </a:lvl1pPr>
          </a:lstStyle>
          <a:p>
            <a:fld id="{394EE31B-4DFC-CF4D-9A18-3F5D4D7C7302}" type="slidenum">
              <a:rPr lang="sv-SE" smtClean="0"/>
              <a:pPr/>
              <a:t>‹#›</a:t>
            </a:fld>
            <a:endParaRPr lang="sv-SE"/>
          </a:p>
        </p:txBody>
      </p:sp>
      <p:sp>
        <p:nvSpPr>
          <p:cNvPr id="19" name="Platshållare för text 2">
            <a:extLst>
              <a:ext uri="{FF2B5EF4-FFF2-40B4-BE49-F238E27FC236}">
                <a16:creationId xmlns:a16="http://schemas.microsoft.com/office/drawing/2014/main" id="{2400194C-DA29-F04E-B205-17E3F5312800}"/>
              </a:ext>
            </a:extLst>
          </p:cNvPr>
          <p:cNvSpPr>
            <a:spLocks noGrp="1"/>
          </p:cNvSpPr>
          <p:nvPr>
            <p:ph type="body" sz="quarter" idx="18" hasCustomPrompt="1"/>
          </p:nvPr>
        </p:nvSpPr>
        <p:spPr>
          <a:xfrm>
            <a:off x="4695512" y="1238250"/>
            <a:ext cx="4056376" cy="3208499"/>
          </a:xfrm>
          <a:prstGeom prst="rect">
            <a:avLst/>
          </a:prstGeom>
        </p:spPr>
        <p:txBody>
          <a:bodyPr lIns="0" tIns="0" rIns="0" bIns="0"/>
          <a:lstStyle>
            <a:lvl1pPr marL="190500" indent="-190500">
              <a:spcBef>
                <a:spcPts val="50"/>
              </a:spcBef>
              <a:defRPr sz="2000"/>
            </a:lvl1pPr>
            <a:lvl2pPr marL="190500" indent="254000">
              <a:spcBef>
                <a:spcPts val="50"/>
              </a:spcBef>
              <a:buFont typeface="Lucida Grande"/>
              <a:buChar char="–"/>
              <a:defRPr sz="2000"/>
            </a:lvl2pPr>
            <a:lvl3pPr marL="571500" indent="-254000">
              <a:spcBef>
                <a:spcPts val="50"/>
              </a:spcBef>
              <a:buFont typeface="Lucida Grande"/>
              <a:buChar char="–"/>
              <a:defRPr sz="1800"/>
            </a:lvl3pPr>
            <a:lvl4pPr marL="698500" indent="-254000">
              <a:spcBef>
                <a:spcPts val="50"/>
              </a:spcBef>
              <a:buFont typeface="Lucida Grande"/>
              <a:buChar char="–"/>
              <a:defRPr sz="1800"/>
            </a:lvl4pPr>
            <a:lvl5pPr marL="825500" indent="-254000">
              <a:spcBef>
                <a:spcPts val="50"/>
              </a:spcBef>
              <a:buFont typeface="Lucida Grande"/>
              <a:buChar char="–"/>
              <a:defRPr sz="1800"/>
            </a:lvl5pPr>
          </a:lstStyle>
          <a:p>
            <a:pPr lvl="0"/>
            <a:r>
              <a:rPr lang="en-GB" noProof="0"/>
              <a:t>Level 1</a:t>
            </a:r>
          </a:p>
          <a:p>
            <a:pPr lvl="1"/>
            <a:r>
              <a:rPr lang="en-GB" noProof="0"/>
              <a:t>Level 2</a:t>
            </a:r>
          </a:p>
          <a:p>
            <a:pPr lvl="2"/>
            <a:r>
              <a:rPr lang="en-GB" noProof="0"/>
              <a:t>Level 3</a:t>
            </a:r>
          </a:p>
          <a:p>
            <a:pPr lvl="3"/>
            <a:r>
              <a:rPr lang="en-GB" noProof="0"/>
              <a:t>Level 4</a:t>
            </a:r>
          </a:p>
          <a:p>
            <a:pPr lvl="4"/>
            <a:r>
              <a:rPr lang="en-GB" noProof="0"/>
              <a:t>Level 5</a:t>
            </a:r>
          </a:p>
        </p:txBody>
      </p:sp>
    </p:spTree>
    <p:extLst>
      <p:ext uri="{BB962C8B-B14F-4D97-AF65-F5344CB8AC3E}">
        <p14:creationId xmlns:p14="http://schemas.microsoft.com/office/powerpoint/2010/main" val="27041305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woTxTwoObj" preserve="1">
  <p:cSld name="Indholdsslide - 2 spalter + underoverkri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1335"/>
            <a:ext cx="4040188" cy="479822"/>
          </a:xfr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1631156"/>
            <a:ext cx="4040188" cy="2963466"/>
          </a:xfrm>
        </p:spPr>
        <p:txBody>
          <a:bodyPr>
            <a:normAutofit/>
          </a:bodyPr>
          <a:lstStyle>
            <a:lvl1pPr marL="0" indent="0">
              <a:buClr>
                <a:schemeClr val="tx1"/>
              </a:buClr>
              <a:buFont typeface="Arial" panose="020B0604020202020204" pitchFamily="34" charset="0"/>
              <a:buNone/>
              <a:defRPr sz="1600">
                <a:solidFill>
                  <a:schemeClr val="tx1"/>
                </a:solidFill>
              </a:defRPr>
            </a:lvl1pPr>
            <a:lvl2pPr marL="457200" indent="0">
              <a:buClr>
                <a:schemeClr val="tx1"/>
              </a:buClr>
              <a:buFont typeface="Arial" panose="020B0604020202020204" pitchFamily="34" charset="0"/>
              <a:buNone/>
              <a:defRPr sz="1600">
                <a:solidFill>
                  <a:schemeClr val="tx1"/>
                </a:solidFill>
              </a:defRPr>
            </a:lvl2pPr>
            <a:lvl3pPr marL="914400" indent="0">
              <a:buClr>
                <a:schemeClr val="tx1"/>
              </a:buClr>
              <a:buFont typeface="Arial" panose="020B0604020202020204" pitchFamily="34" charset="0"/>
              <a:buNone/>
              <a:defRPr sz="1600">
                <a:solidFill>
                  <a:schemeClr val="tx1"/>
                </a:solidFill>
              </a:defRPr>
            </a:lvl3pPr>
            <a:lvl4pPr marL="1371600" indent="0">
              <a:buClr>
                <a:schemeClr val="tx1"/>
              </a:buClr>
              <a:buFont typeface="Arial" panose="020B0604020202020204" pitchFamily="34" charset="0"/>
              <a:buNone/>
              <a:defRPr sz="1600">
                <a:solidFill>
                  <a:schemeClr val="tx1"/>
                </a:solidFill>
              </a:defRPr>
            </a:lvl4pPr>
            <a:lvl5pPr marL="1828800" indent="0">
              <a:buClr>
                <a:schemeClr val="tx1"/>
              </a:buClr>
              <a:buFont typeface="Arial" panose="020B0604020202020204" pitchFamily="34" charset="0"/>
              <a:buNone/>
              <a:defRPr sz="1600">
                <a:solidFill>
                  <a:schemeClr val="tx1"/>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7" y="1151335"/>
            <a:ext cx="4041775" cy="479822"/>
          </a:xfr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7" y="1631156"/>
            <a:ext cx="4041775" cy="2963466"/>
          </a:xfrm>
        </p:spPr>
        <p:txBody>
          <a:bodyPr>
            <a:normAutofit/>
          </a:bodyPr>
          <a:lstStyle>
            <a:lvl1pPr marL="0" indent="0">
              <a:buClr>
                <a:schemeClr val="tx1"/>
              </a:buClr>
              <a:buFont typeface="Arial" panose="020B0604020202020204" pitchFamily="34" charset="0"/>
              <a:buNone/>
              <a:defRPr sz="1600">
                <a:solidFill>
                  <a:schemeClr val="tx1"/>
                </a:solidFill>
              </a:defRPr>
            </a:lvl1pPr>
            <a:lvl2pPr marL="457200" indent="0">
              <a:buClr>
                <a:schemeClr val="tx1"/>
              </a:buClr>
              <a:buFont typeface="Arial" panose="020B0604020202020204" pitchFamily="34" charset="0"/>
              <a:buNone/>
              <a:defRPr sz="1600">
                <a:solidFill>
                  <a:schemeClr val="tx1"/>
                </a:solidFill>
              </a:defRPr>
            </a:lvl2pPr>
            <a:lvl3pPr marL="914400" indent="0">
              <a:buClr>
                <a:schemeClr val="tx1"/>
              </a:buClr>
              <a:buFont typeface="Arial" panose="020B0604020202020204" pitchFamily="34" charset="0"/>
              <a:buNone/>
              <a:defRPr sz="1600">
                <a:solidFill>
                  <a:schemeClr val="tx1"/>
                </a:solidFill>
              </a:defRPr>
            </a:lvl3pPr>
            <a:lvl4pPr marL="1371600" indent="0">
              <a:buClr>
                <a:schemeClr val="tx1"/>
              </a:buClr>
              <a:buFont typeface="Arial" panose="020B0604020202020204" pitchFamily="34" charset="0"/>
              <a:buNone/>
              <a:defRPr sz="1600">
                <a:solidFill>
                  <a:schemeClr val="tx1"/>
                </a:solidFill>
              </a:defRPr>
            </a:lvl4pPr>
            <a:lvl5pPr marL="1828800" indent="0">
              <a:buClr>
                <a:schemeClr val="tx1"/>
              </a:buClr>
              <a:buFont typeface="Arial" panose="020B0604020202020204" pitchFamily="34" charset="0"/>
              <a:buNone/>
              <a:defRPr sz="1600">
                <a:solidFill>
                  <a:schemeClr val="tx1"/>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3062CEB2-41F5-4A61-B90E-26FD0727E33D}"/>
              </a:ext>
            </a:extLst>
          </p:cNvPr>
          <p:cNvSpPr txBox="1"/>
          <p:nvPr userDrawn="1"/>
        </p:nvSpPr>
        <p:spPr>
          <a:xfrm>
            <a:off x="8314543" y="4811035"/>
            <a:ext cx="372257" cy="169277"/>
          </a:xfrm>
          <a:prstGeom prst="rect">
            <a:avLst/>
          </a:prstGeom>
          <a:noFill/>
        </p:spPr>
        <p:txBody>
          <a:bodyPr wrap="square" rtlCol="0">
            <a:spAutoFit/>
          </a:bodyPr>
          <a:lstStyle/>
          <a:p>
            <a:fld id="{790B8636-E7B9-49D1-9120-DEA72B94B27F}" type="slidenum">
              <a:rPr lang="en-US" sz="500" b="1" smtClean="0"/>
              <a:t>‹#›</a:t>
            </a:fld>
            <a:endParaRPr lang="en-US" sz="500" b="1"/>
          </a:p>
        </p:txBody>
      </p:sp>
      <p:sp>
        <p:nvSpPr>
          <p:cNvPr id="11" name="TextBox 10">
            <a:extLst>
              <a:ext uri="{FF2B5EF4-FFF2-40B4-BE49-F238E27FC236}">
                <a16:creationId xmlns:a16="http://schemas.microsoft.com/office/drawing/2014/main" id="{5C00CAD1-DBC6-4E0C-962E-406DCB6265B8}"/>
              </a:ext>
            </a:extLst>
          </p:cNvPr>
          <p:cNvSpPr txBox="1"/>
          <p:nvPr userDrawn="1"/>
        </p:nvSpPr>
        <p:spPr>
          <a:xfrm>
            <a:off x="1160533" y="4811035"/>
            <a:ext cx="582531" cy="169277"/>
          </a:xfrm>
          <a:prstGeom prst="rect">
            <a:avLst/>
          </a:prstGeom>
          <a:noFill/>
        </p:spPr>
        <p:txBody>
          <a:bodyPr wrap="square" rtlCol="0">
            <a:spAutoFit/>
          </a:bodyPr>
          <a:lstStyle/>
          <a:p>
            <a:fld id="{64C5DD70-D51E-4FBE-9BB2-4B095B70E5CB}" type="datetime3">
              <a:rPr lang="da-DK" sz="500" b="1" smtClean="0"/>
              <a:t>27.03.2026</a:t>
            </a:fld>
            <a:endParaRPr lang="en-US" sz="500" b="1"/>
          </a:p>
        </p:txBody>
      </p:sp>
    </p:spTree>
    <p:extLst>
      <p:ext uri="{BB962C8B-B14F-4D97-AF65-F5344CB8AC3E}">
        <p14:creationId xmlns:p14="http://schemas.microsoft.com/office/powerpoint/2010/main" val="191723651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Only" preserve="1">
  <p:cSld name="Titel - hvi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Box 5">
            <a:extLst>
              <a:ext uri="{FF2B5EF4-FFF2-40B4-BE49-F238E27FC236}">
                <a16:creationId xmlns:a16="http://schemas.microsoft.com/office/drawing/2014/main" id="{B9B48CC3-CCEE-445A-8AEF-46D601AA0246}"/>
              </a:ext>
            </a:extLst>
          </p:cNvPr>
          <p:cNvSpPr txBox="1"/>
          <p:nvPr userDrawn="1"/>
        </p:nvSpPr>
        <p:spPr>
          <a:xfrm>
            <a:off x="8314543" y="4811035"/>
            <a:ext cx="372257" cy="169277"/>
          </a:xfrm>
          <a:prstGeom prst="rect">
            <a:avLst/>
          </a:prstGeom>
          <a:noFill/>
        </p:spPr>
        <p:txBody>
          <a:bodyPr wrap="square" rtlCol="0">
            <a:spAutoFit/>
          </a:bodyPr>
          <a:lstStyle/>
          <a:p>
            <a:fld id="{790B8636-E7B9-49D1-9120-DEA72B94B27F}" type="slidenum">
              <a:rPr lang="en-US" sz="500" b="1" smtClean="0"/>
              <a:t>‹#›</a:t>
            </a:fld>
            <a:endParaRPr lang="en-US" sz="500" b="1"/>
          </a:p>
        </p:txBody>
      </p:sp>
      <p:sp>
        <p:nvSpPr>
          <p:cNvPr id="7" name="TextBox 6">
            <a:extLst>
              <a:ext uri="{FF2B5EF4-FFF2-40B4-BE49-F238E27FC236}">
                <a16:creationId xmlns:a16="http://schemas.microsoft.com/office/drawing/2014/main" id="{A6B69EA6-6A84-4367-BAC8-6C648064C018}"/>
              </a:ext>
            </a:extLst>
          </p:cNvPr>
          <p:cNvSpPr txBox="1"/>
          <p:nvPr userDrawn="1"/>
        </p:nvSpPr>
        <p:spPr>
          <a:xfrm>
            <a:off x="1160533" y="4811035"/>
            <a:ext cx="582531" cy="169277"/>
          </a:xfrm>
          <a:prstGeom prst="rect">
            <a:avLst/>
          </a:prstGeom>
          <a:noFill/>
        </p:spPr>
        <p:txBody>
          <a:bodyPr wrap="square" rtlCol="0">
            <a:spAutoFit/>
          </a:bodyPr>
          <a:lstStyle/>
          <a:p>
            <a:fld id="{9C54E349-400C-4D09-A85B-FB05E6446F6E}" type="datetime3">
              <a:rPr lang="da-DK" sz="500" b="1" smtClean="0"/>
              <a:t>27.03.2026</a:t>
            </a:fld>
            <a:endParaRPr lang="en-US" sz="500" b="1"/>
          </a:p>
        </p:txBody>
      </p:sp>
    </p:spTree>
    <p:extLst>
      <p:ext uri="{BB962C8B-B14F-4D97-AF65-F5344CB8AC3E}">
        <p14:creationId xmlns:p14="http://schemas.microsoft.com/office/powerpoint/2010/main" val="4027132601"/>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hart - med footer">
    <p:spTree>
      <p:nvGrpSpPr>
        <p:cNvPr id="1" name=""/>
        <p:cNvGrpSpPr/>
        <p:nvPr/>
      </p:nvGrpSpPr>
      <p:grpSpPr>
        <a:xfrm>
          <a:off x="0" y="0"/>
          <a:ext cx="0" cy="0"/>
          <a:chOff x="0" y="0"/>
          <a:chExt cx="0" cy="0"/>
        </a:xfrm>
      </p:grpSpPr>
      <p:sp>
        <p:nvSpPr>
          <p:cNvPr id="6" name="Pladsholder til diagram 5"/>
          <p:cNvSpPr>
            <a:spLocks noGrp="1"/>
          </p:cNvSpPr>
          <p:nvPr>
            <p:ph type="chart" sz="quarter" idx="13"/>
          </p:nvPr>
        </p:nvSpPr>
        <p:spPr>
          <a:xfrm>
            <a:off x="273050" y="270116"/>
            <a:ext cx="8610600" cy="4301884"/>
          </a:xfrm>
        </p:spPr>
        <p:txBody>
          <a:bodyPr/>
          <a:lstStyle>
            <a:lvl1pPr marL="0" indent="0">
              <a:buNone/>
              <a:defRPr/>
            </a:lvl1pPr>
          </a:lstStyle>
          <a:p>
            <a:r>
              <a:rPr lang="en-US"/>
              <a:t>Click icon to add chart</a:t>
            </a:r>
            <a:endParaRPr lang="da-DK"/>
          </a:p>
        </p:txBody>
      </p:sp>
      <p:sp>
        <p:nvSpPr>
          <p:cNvPr id="5" name="TextBox 4">
            <a:extLst>
              <a:ext uri="{FF2B5EF4-FFF2-40B4-BE49-F238E27FC236}">
                <a16:creationId xmlns:a16="http://schemas.microsoft.com/office/drawing/2014/main" id="{B860FD63-F7B0-4C45-A4DF-354B9BF449D2}"/>
              </a:ext>
            </a:extLst>
          </p:cNvPr>
          <p:cNvSpPr txBox="1"/>
          <p:nvPr userDrawn="1"/>
        </p:nvSpPr>
        <p:spPr>
          <a:xfrm>
            <a:off x="8314543" y="4811035"/>
            <a:ext cx="372257" cy="169277"/>
          </a:xfrm>
          <a:prstGeom prst="rect">
            <a:avLst/>
          </a:prstGeom>
          <a:noFill/>
        </p:spPr>
        <p:txBody>
          <a:bodyPr wrap="square" rtlCol="0">
            <a:spAutoFit/>
          </a:bodyPr>
          <a:lstStyle/>
          <a:p>
            <a:fld id="{790B8636-E7B9-49D1-9120-DEA72B94B27F}" type="slidenum">
              <a:rPr lang="en-US" sz="500" b="1" smtClean="0"/>
              <a:t>‹#›</a:t>
            </a:fld>
            <a:endParaRPr lang="en-US" sz="500" b="1"/>
          </a:p>
        </p:txBody>
      </p:sp>
      <p:sp>
        <p:nvSpPr>
          <p:cNvPr id="7" name="TextBox 6">
            <a:extLst>
              <a:ext uri="{FF2B5EF4-FFF2-40B4-BE49-F238E27FC236}">
                <a16:creationId xmlns:a16="http://schemas.microsoft.com/office/drawing/2014/main" id="{188C9A3D-61E7-42FA-847C-2F29590ADAD1}"/>
              </a:ext>
            </a:extLst>
          </p:cNvPr>
          <p:cNvSpPr txBox="1"/>
          <p:nvPr userDrawn="1"/>
        </p:nvSpPr>
        <p:spPr>
          <a:xfrm>
            <a:off x="1160533" y="4811035"/>
            <a:ext cx="582531" cy="169277"/>
          </a:xfrm>
          <a:prstGeom prst="rect">
            <a:avLst/>
          </a:prstGeom>
          <a:noFill/>
        </p:spPr>
        <p:txBody>
          <a:bodyPr wrap="square" rtlCol="0">
            <a:spAutoFit/>
          </a:bodyPr>
          <a:lstStyle/>
          <a:p>
            <a:fld id="{155609E5-0D88-42E8-AB7C-F1AA6BCF0DEE}" type="datetime3">
              <a:rPr lang="da-DK" sz="500" b="1" smtClean="0"/>
              <a:t>27.03.2026</a:t>
            </a:fld>
            <a:endParaRPr lang="en-US" sz="500" b="1"/>
          </a:p>
        </p:txBody>
      </p:sp>
    </p:spTree>
    <p:extLst>
      <p:ext uri="{BB962C8B-B14F-4D97-AF65-F5344CB8AC3E}">
        <p14:creationId xmlns:p14="http://schemas.microsoft.com/office/powerpoint/2010/main" val="1387681338"/>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type="objTx" preserve="1">
  <p:cSld name="Indholdsslide med  grå sidebjælke">
    <p:spTree>
      <p:nvGrpSpPr>
        <p:cNvPr id="1" name=""/>
        <p:cNvGrpSpPr/>
        <p:nvPr/>
      </p:nvGrpSpPr>
      <p:grpSpPr>
        <a:xfrm>
          <a:off x="0" y="0"/>
          <a:ext cx="0" cy="0"/>
          <a:chOff x="0" y="0"/>
          <a:chExt cx="0" cy="0"/>
        </a:xfrm>
      </p:grpSpPr>
      <p:sp>
        <p:nvSpPr>
          <p:cNvPr id="8" name="Rektangel 7"/>
          <p:cNvSpPr/>
          <p:nvPr userDrawn="1"/>
        </p:nvSpPr>
        <p:spPr>
          <a:xfrm>
            <a:off x="177800" y="173315"/>
            <a:ext cx="3397250" cy="451298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solidFill>
                <a:prstClr val="white"/>
              </a:solidFill>
              <a:latin typeface="Century Gothic"/>
            </a:endParaRPr>
          </a:p>
        </p:txBody>
      </p:sp>
      <p:sp>
        <p:nvSpPr>
          <p:cNvPr id="2" name="Title 1"/>
          <p:cNvSpPr>
            <a:spLocks noGrp="1"/>
          </p:cNvSpPr>
          <p:nvPr>
            <p:ph type="title"/>
          </p:nvPr>
        </p:nvSpPr>
        <p:spPr>
          <a:xfrm>
            <a:off x="457202" y="204788"/>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04788"/>
            <a:ext cx="5111750" cy="4389835"/>
          </a:xfrm>
        </p:spPr>
        <p:txBody>
          <a:bodyPr>
            <a:normAutofit/>
          </a:bodyPr>
          <a:lstStyle>
            <a:lvl1pPr marL="0" indent="0">
              <a:buClr>
                <a:schemeClr val="tx1"/>
              </a:buClr>
              <a:buFont typeface="Arial" panose="020B0604020202020204" pitchFamily="34" charset="0"/>
              <a:buNone/>
              <a:defRPr sz="2000">
                <a:solidFill>
                  <a:schemeClr val="tx1"/>
                </a:solidFill>
              </a:defRPr>
            </a:lvl1pPr>
            <a:lvl2pPr marL="457200" indent="0">
              <a:buClr>
                <a:schemeClr val="tx1"/>
              </a:buClr>
              <a:buFont typeface="Arial" panose="020B0604020202020204" pitchFamily="34" charset="0"/>
              <a:buNone/>
              <a:defRPr sz="2000">
                <a:solidFill>
                  <a:schemeClr val="tx1"/>
                </a:solidFill>
              </a:defRPr>
            </a:lvl2pPr>
            <a:lvl3pPr marL="914400" indent="0">
              <a:buClr>
                <a:schemeClr val="tx1"/>
              </a:buClr>
              <a:buFont typeface="Arial" panose="020B0604020202020204" pitchFamily="34" charset="0"/>
              <a:buNone/>
              <a:defRPr sz="2000">
                <a:solidFill>
                  <a:schemeClr val="tx1"/>
                </a:solidFill>
              </a:defRPr>
            </a:lvl3pPr>
            <a:lvl4pPr marL="1371600" indent="0">
              <a:buClr>
                <a:schemeClr val="tx1"/>
              </a:buClr>
              <a:buFont typeface="Arial" panose="020B0604020202020204" pitchFamily="34" charset="0"/>
              <a:buNone/>
              <a:defRPr sz="2000">
                <a:solidFill>
                  <a:schemeClr val="tx1"/>
                </a:solidFill>
              </a:defRPr>
            </a:lvl4pPr>
            <a:lvl5pPr marL="1828800" indent="0">
              <a:buClr>
                <a:schemeClr val="tx1"/>
              </a:buClr>
              <a:buFont typeface="Arial" panose="020B0604020202020204" pitchFamily="34" charset="0"/>
              <a:buNone/>
              <a:defRPr sz="2000">
                <a:solidFill>
                  <a:schemeClr val="tx1"/>
                </a:solidFill>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9" name="TextBox 8">
            <a:extLst>
              <a:ext uri="{FF2B5EF4-FFF2-40B4-BE49-F238E27FC236}">
                <a16:creationId xmlns:a16="http://schemas.microsoft.com/office/drawing/2014/main" id="{DC478C3C-460E-4C0C-8201-D4854CEEE040}"/>
              </a:ext>
            </a:extLst>
          </p:cNvPr>
          <p:cNvSpPr txBox="1"/>
          <p:nvPr userDrawn="1"/>
        </p:nvSpPr>
        <p:spPr>
          <a:xfrm>
            <a:off x="8314543" y="4811035"/>
            <a:ext cx="372257" cy="169277"/>
          </a:xfrm>
          <a:prstGeom prst="rect">
            <a:avLst/>
          </a:prstGeom>
          <a:noFill/>
        </p:spPr>
        <p:txBody>
          <a:bodyPr wrap="square" rtlCol="0">
            <a:spAutoFit/>
          </a:bodyPr>
          <a:lstStyle/>
          <a:p>
            <a:fld id="{790B8636-E7B9-49D1-9120-DEA72B94B27F}" type="slidenum">
              <a:rPr lang="en-US" sz="500" b="1" smtClean="0"/>
              <a:t>‹#›</a:t>
            </a:fld>
            <a:endParaRPr lang="en-US" sz="500" b="1"/>
          </a:p>
        </p:txBody>
      </p:sp>
      <p:sp>
        <p:nvSpPr>
          <p:cNvPr id="10" name="TextBox 9">
            <a:extLst>
              <a:ext uri="{FF2B5EF4-FFF2-40B4-BE49-F238E27FC236}">
                <a16:creationId xmlns:a16="http://schemas.microsoft.com/office/drawing/2014/main" id="{E89CBB42-B8F4-43CE-8932-58F3001780DA}"/>
              </a:ext>
            </a:extLst>
          </p:cNvPr>
          <p:cNvSpPr txBox="1"/>
          <p:nvPr userDrawn="1"/>
        </p:nvSpPr>
        <p:spPr>
          <a:xfrm>
            <a:off x="1160533" y="4811035"/>
            <a:ext cx="582531" cy="169277"/>
          </a:xfrm>
          <a:prstGeom prst="rect">
            <a:avLst/>
          </a:prstGeom>
          <a:noFill/>
        </p:spPr>
        <p:txBody>
          <a:bodyPr wrap="square" rtlCol="0">
            <a:spAutoFit/>
          </a:bodyPr>
          <a:lstStyle/>
          <a:p>
            <a:fld id="{929851F3-26B3-4868-B08B-7626F5C36D7E}" type="datetime3">
              <a:rPr lang="da-DK" sz="500" b="1" smtClean="0"/>
              <a:t>27.03.2026</a:t>
            </a:fld>
            <a:endParaRPr lang="en-US" sz="500" b="1"/>
          </a:p>
        </p:txBody>
      </p:sp>
    </p:spTree>
    <p:extLst>
      <p:ext uri="{BB962C8B-B14F-4D97-AF65-F5344CB8AC3E}">
        <p14:creationId xmlns:p14="http://schemas.microsoft.com/office/powerpoint/2010/main" val="1086837420"/>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type="picTx" preserve="1">
  <p:cSld name="Billede slide med titel">
    <p:spTree>
      <p:nvGrpSpPr>
        <p:cNvPr id="1" name=""/>
        <p:cNvGrpSpPr/>
        <p:nvPr/>
      </p:nvGrpSpPr>
      <p:grpSpPr>
        <a:xfrm>
          <a:off x="0" y="0"/>
          <a:ext cx="0" cy="0"/>
          <a:chOff x="0" y="0"/>
          <a:chExt cx="0" cy="0"/>
        </a:xfrm>
      </p:grpSpPr>
      <p:sp>
        <p:nvSpPr>
          <p:cNvPr id="2" name="Title 1"/>
          <p:cNvSpPr>
            <a:spLocks noGrp="1"/>
          </p:cNvSpPr>
          <p:nvPr>
            <p:ph type="title"/>
          </p:nvPr>
        </p:nvSpPr>
        <p:spPr>
          <a:xfrm>
            <a:off x="207964" y="4036118"/>
            <a:ext cx="8732836" cy="29031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06376" y="215900"/>
            <a:ext cx="8734424" cy="36195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207964" y="4247754"/>
            <a:ext cx="8732836" cy="603646"/>
          </a:xfrm>
        </p:spPr>
        <p:txBody>
          <a:bodyPr/>
          <a:lstStyle>
            <a:lvl1pPr marL="0" indent="0">
              <a:buNone/>
              <a:defRPr sz="1400">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8" name="TextBox 7">
            <a:extLst>
              <a:ext uri="{FF2B5EF4-FFF2-40B4-BE49-F238E27FC236}">
                <a16:creationId xmlns:a16="http://schemas.microsoft.com/office/drawing/2014/main" id="{915E8F8C-3A0B-4E85-9BF5-C53277193A64}"/>
              </a:ext>
            </a:extLst>
          </p:cNvPr>
          <p:cNvSpPr txBox="1"/>
          <p:nvPr userDrawn="1"/>
        </p:nvSpPr>
        <p:spPr>
          <a:xfrm>
            <a:off x="8314543" y="4811035"/>
            <a:ext cx="372257" cy="169277"/>
          </a:xfrm>
          <a:prstGeom prst="rect">
            <a:avLst/>
          </a:prstGeom>
          <a:noFill/>
        </p:spPr>
        <p:txBody>
          <a:bodyPr wrap="square" rtlCol="0">
            <a:spAutoFit/>
          </a:bodyPr>
          <a:lstStyle/>
          <a:p>
            <a:fld id="{790B8636-E7B9-49D1-9120-DEA72B94B27F}" type="slidenum">
              <a:rPr lang="en-US" sz="500" b="1" smtClean="0"/>
              <a:t>‹#›</a:t>
            </a:fld>
            <a:endParaRPr lang="en-US" sz="500" b="1"/>
          </a:p>
        </p:txBody>
      </p:sp>
      <p:sp>
        <p:nvSpPr>
          <p:cNvPr id="9" name="TextBox 8">
            <a:extLst>
              <a:ext uri="{FF2B5EF4-FFF2-40B4-BE49-F238E27FC236}">
                <a16:creationId xmlns:a16="http://schemas.microsoft.com/office/drawing/2014/main" id="{3461F5B1-1E3E-42A9-8F44-32A5BF978569}"/>
              </a:ext>
            </a:extLst>
          </p:cNvPr>
          <p:cNvSpPr txBox="1"/>
          <p:nvPr userDrawn="1"/>
        </p:nvSpPr>
        <p:spPr>
          <a:xfrm>
            <a:off x="1160533" y="4811035"/>
            <a:ext cx="582531" cy="169277"/>
          </a:xfrm>
          <a:prstGeom prst="rect">
            <a:avLst/>
          </a:prstGeom>
          <a:noFill/>
        </p:spPr>
        <p:txBody>
          <a:bodyPr wrap="square" rtlCol="0">
            <a:spAutoFit/>
          </a:bodyPr>
          <a:lstStyle/>
          <a:p>
            <a:fld id="{90807438-3009-43A6-ABE7-67E9090A6F99}" type="datetime3">
              <a:rPr lang="da-DK" sz="500" b="1" smtClean="0"/>
              <a:t>27.03.2026</a:t>
            </a:fld>
            <a:endParaRPr lang="en-US" sz="500" b="1"/>
          </a:p>
        </p:txBody>
      </p:sp>
    </p:spTree>
    <p:extLst>
      <p:ext uri="{BB962C8B-B14F-4D97-AF65-F5344CB8AC3E}">
        <p14:creationId xmlns:p14="http://schemas.microsoft.com/office/powerpoint/2010/main" val="4228373653"/>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type="vertTx" preserve="1">
  <p:cSld name="Titel med vertical overskrift">
    <p:spTree>
      <p:nvGrpSpPr>
        <p:cNvPr id="1" name=""/>
        <p:cNvGrpSpPr/>
        <p:nvPr/>
      </p:nvGrpSpPr>
      <p:grpSpPr>
        <a:xfrm>
          <a:off x="0" y="0"/>
          <a:ext cx="0" cy="0"/>
          <a:chOff x="0" y="0"/>
          <a:chExt cx="0" cy="0"/>
        </a:xfrm>
      </p:grpSpPr>
      <p:sp>
        <p:nvSpPr>
          <p:cNvPr id="7" name="Rektangel 6"/>
          <p:cNvSpPr/>
          <p:nvPr userDrawn="1"/>
        </p:nvSpPr>
        <p:spPr>
          <a:xfrm>
            <a:off x="0" y="0"/>
            <a:ext cx="9144000" cy="120015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solidFill>
                <a:prstClr val="white"/>
              </a:solidFill>
              <a:latin typeface="Century Gothic"/>
            </a:endParaRPr>
          </a:p>
        </p:txBody>
      </p:sp>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lvl1pPr marL="0" indent="0">
              <a:buClr>
                <a:schemeClr val="tx1"/>
              </a:buClr>
              <a:buFont typeface="Arial" panose="020B0604020202020204" pitchFamily="34" charset="0"/>
              <a:buNone/>
              <a:defRPr/>
            </a:lvl1pPr>
            <a:lvl2pPr marL="457200" indent="0">
              <a:buClr>
                <a:schemeClr val="tx1"/>
              </a:buClr>
              <a:buFont typeface="Arial" panose="020B0604020202020204" pitchFamily="34" charset="0"/>
              <a:buNone/>
              <a:defRPr/>
            </a:lvl2pPr>
            <a:lvl3pPr marL="914400" indent="0">
              <a:buClr>
                <a:schemeClr val="tx1"/>
              </a:buClr>
              <a:buFont typeface="Arial" panose="020B0604020202020204" pitchFamily="34" charset="0"/>
              <a:buNone/>
              <a:defRPr/>
            </a:lvl3pPr>
            <a:lvl4pPr marL="1371600" indent="0">
              <a:buClr>
                <a:schemeClr val="tx1"/>
              </a:buClr>
              <a:buFont typeface="Arial" panose="020B0604020202020204" pitchFamily="34" charset="0"/>
              <a:buNone/>
              <a:defRPr/>
            </a:lvl4pPr>
            <a:lvl5pPr marL="1828800" indent="0">
              <a:buClr>
                <a:schemeClr val="tx1"/>
              </a:buClr>
              <a:buFont typeface="Arial" panose="020B0604020202020204" pitchFamily="34" charse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Box 7">
            <a:extLst>
              <a:ext uri="{FF2B5EF4-FFF2-40B4-BE49-F238E27FC236}">
                <a16:creationId xmlns:a16="http://schemas.microsoft.com/office/drawing/2014/main" id="{B690FD69-1463-4490-AF5E-27FB23D7BEB5}"/>
              </a:ext>
            </a:extLst>
          </p:cNvPr>
          <p:cNvSpPr txBox="1"/>
          <p:nvPr userDrawn="1"/>
        </p:nvSpPr>
        <p:spPr>
          <a:xfrm>
            <a:off x="8314543" y="4811035"/>
            <a:ext cx="372257" cy="169277"/>
          </a:xfrm>
          <a:prstGeom prst="rect">
            <a:avLst/>
          </a:prstGeom>
          <a:noFill/>
        </p:spPr>
        <p:txBody>
          <a:bodyPr wrap="square" rtlCol="0">
            <a:spAutoFit/>
          </a:bodyPr>
          <a:lstStyle/>
          <a:p>
            <a:fld id="{790B8636-E7B9-49D1-9120-DEA72B94B27F}" type="slidenum">
              <a:rPr lang="en-US" sz="500" b="1" smtClean="0"/>
              <a:t>‹#›</a:t>
            </a:fld>
            <a:endParaRPr lang="en-US" sz="500" b="1"/>
          </a:p>
        </p:txBody>
      </p:sp>
      <p:sp>
        <p:nvSpPr>
          <p:cNvPr id="9" name="TextBox 8">
            <a:extLst>
              <a:ext uri="{FF2B5EF4-FFF2-40B4-BE49-F238E27FC236}">
                <a16:creationId xmlns:a16="http://schemas.microsoft.com/office/drawing/2014/main" id="{3C12EC26-AD28-46D0-8E58-898C617F2382}"/>
              </a:ext>
            </a:extLst>
          </p:cNvPr>
          <p:cNvSpPr txBox="1"/>
          <p:nvPr userDrawn="1"/>
        </p:nvSpPr>
        <p:spPr>
          <a:xfrm>
            <a:off x="1160533" y="4811035"/>
            <a:ext cx="582531" cy="169277"/>
          </a:xfrm>
          <a:prstGeom prst="rect">
            <a:avLst/>
          </a:prstGeom>
          <a:noFill/>
        </p:spPr>
        <p:txBody>
          <a:bodyPr wrap="square" rtlCol="0">
            <a:spAutoFit/>
          </a:bodyPr>
          <a:lstStyle/>
          <a:p>
            <a:fld id="{410511EE-5C91-4030-8D3B-5A4F22E95593}" type="datetime3">
              <a:rPr lang="da-DK" sz="500" b="1" smtClean="0"/>
              <a:t>27.03.2026</a:t>
            </a:fld>
            <a:endParaRPr lang="en-US" sz="500" b="1"/>
          </a:p>
        </p:txBody>
      </p:sp>
    </p:spTree>
    <p:extLst>
      <p:ext uri="{BB962C8B-B14F-4D97-AF65-F5344CB8AC3E}">
        <p14:creationId xmlns:p14="http://schemas.microsoft.com/office/powerpoint/2010/main" val="4122814683"/>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type="vertTitleAndTx" preserve="1">
  <p:cSld name="Vertical titel med tekst">
    <p:spTree>
      <p:nvGrpSpPr>
        <p:cNvPr id="1" name=""/>
        <p:cNvGrpSpPr/>
        <p:nvPr/>
      </p:nvGrpSpPr>
      <p:grpSpPr>
        <a:xfrm>
          <a:off x="0" y="0"/>
          <a:ext cx="0" cy="0"/>
          <a:chOff x="0" y="0"/>
          <a:chExt cx="0" cy="0"/>
        </a:xfrm>
      </p:grpSpPr>
      <p:sp>
        <p:nvSpPr>
          <p:cNvPr id="7" name="Rektangel 6"/>
          <p:cNvSpPr/>
          <p:nvPr userDrawn="1"/>
        </p:nvSpPr>
        <p:spPr>
          <a:xfrm>
            <a:off x="6521450" y="205979"/>
            <a:ext cx="2387600" cy="438864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solidFill>
                <a:prstClr val="white"/>
              </a:solidFill>
              <a:latin typeface="Century Gothic"/>
            </a:endParaRPr>
          </a:p>
        </p:txBody>
      </p:sp>
      <p:sp>
        <p:nvSpPr>
          <p:cNvPr id="2" name="Vertical Title 1"/>
          <p:cNvSpPr>
            <a:spLocks noGrp="1"/>
          </p:cNvSpPr>
          <p:nvPr>
            <p:ph type="title" orient="vert"/>
          </p:nvPr>
        </p:nvSpPr>
        <p:spPr>
          <a:xfrm>
            <a:off x="6629400" y="361949"/>
            <a:ext cx="2057400" cy="423267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05979"/>
            <a:ext cx="6019800" cy="4388644"/>
          </a:xfrm>
        </p:spPr>
        <p:txBody>
          <a:bodyPr vert="eaVert"/>
          <a:lstStyle>
            <a:lvl1pPr marL="0" indent="0">
              <a:buClr>
                <a:schemeClr val="tx1"/>
              </a:buClr>
              <a:buFont typeface="Arial" panose="020B0604020202020204" pitchFamily="34" charset="0"/>
              <a:buNone/>
              <a:defRPr>
                <a:solidFill>
                  <a:schemeClr val="tx1"/>
                </a:solidFill>
              </a:defRPr>
            </a:lvl1pPr>
            <a:lvl2pPr marL="457200" indent="0">
              <a:buClr>
                <a:schemeClr val="tx1"/>
              </a:buClr>
              <a:buFont typeface="Arial" panose="020B0604020202020204" pitchFamily="34" charset="0"/>
              <a:buNone/>
              <a:defRPr>
                <a:solidFill>
                  <a:schemeClr val="tx1"/>
                </a:solidFill>
              </a:defRPr>
            </a:lvl2pPr>
            <a:lvl3pPr marL="914400" indent="0">
              <a:buClr>
                <a:schemeClr val="tx1"/>
              </a:buClr>
              <a:buFont typeface="Arial" panose="020B0604020202020204" pitchFamily="34" charset="0"/>
              <a:buNone/>
              <a:defRPr>
                <a:solidFill>
                  <a:schemeClr val="tx1"/>
                </a:solidFill>
              </a:defRPr>
            </a:lvl3pPr>
            <a:lvl4pPr marL="1371600" indent="0">
              <a:buClr>
                <a:schemeClr val="tx1"/>
              </a:buClr>
              <a:buFont typeface="Arial" panose="020B0604020202020204" pitchFamily="34" charset="0"/>
              <a:buNone/>
              <a:defRPr>
                <a:solidFill>
                  <a:schemeClr val="tx1"/>
                </a:solidFill>
              </a:defRPr>
            </a:lvl4pPr>
            <a:lvl5pPr marL="1828800" indent="0">
              <a:buClr>
                <a:schemeClr val="tx1"/>
              </a:buClr>
              <a:buFont typeface="Arial" panose="020B0604020202020204" pitchFamily="34" charset="0"/>
              <a:buNone/>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Box 7">
            <a:extLst>
              <a:ext uri="{FF2B5EF4-FFF2-40B4-BE49-F238E27FC236}">
                <a16:creationId xmlns:a16="http://schemas.microsoft.com/office/drawing/2014/main" id="{8C602CE4-3920-409F-9925-466D1FA3652D}"/>
              </a:ext>
            </a:extLst>
          </p:cNvPr>
          <p:cNvSpPr txBox="1"/>
          <p:nvPr userDrawn="1"/>
        </p:nvSpPr>
        <p:spPr>
          <a:xfrm>
            <a:off x="8314543" y="4811035"/>
            <a:ext cx="372257" cy="169277"/>
          </a:xfrm>
          <a:prstGeom prst="rect">
            <a:avLst/>
          </a:prstGeom>
          <a:noFill/>
        </p:spPr>
        <p:txBody>
          <a:bodyPr wrap="square" rtlCol="0">
            <a:spAutoFit/>
          </a:bodyPr>
          <a:lstStyle/>
          <a:p>
            <a:fld id="{790B8636-E7B9-49D1-9120-DEA72B94B27F}" type="slidenum">
              <a:rPr lang="en-US" sz="500" b="1" smtClean="0"/>
              <a:t>‹#›</a:t>
            </a:fld>
            <a:endParaRPr lang="en-US" sz="500" b="1"/>
          </a:p>
        </p:txBody>
      </p:sp>
      <p:sp>
        <p:nvSpPr>
          <p:cNvPr id="9" name="TextBox 8">
            <a:extLst>
              <a:ext uri="{FF2B5EF4-FFF2-40B4-BE49-F238E27FC236}">
                <a16:creationId xmlns:a16="http://schemas.microsoft.com/office/drawing/2014/main" id="{31BA3DE1-90EE-4A17-822E-3ED66C09C6E7}"/>
              </a:ext>
            </a:extLst>
          </p:cNvPr>
          <p:cNvSpPr txBox="1"/>
          <p:nvPr userDrawn="1"/>
        </p:nvSpPr>
        <p:spPr>
          <a:xfrm>
            <a:off x="1160533" y="4811035"/>
            <a:ext cx="582531" cy="169277"/>
          </a:xfrm>
          <a:prstGeom prst="rect">
            <a:avLst/>
          </a:prstGeom>
          <a:noFill/>
        </p:spPr>
        <p:txBody>
          <a:bodyPr wrap="square" rtlCol="0">
            <a:spAutoFit/>
          </a:bodyPr>
          <a:lstStyle/>
          <a:p>
            <a:fld id="{023E7FEE-2633-40B4-871F-FBFBC0204046}" type="datetime3">
              <a:rPr lang="da-DK" sz="500" b="1" smtClean="0"/>
              <a:t>27.03.2026</a:t>
            </a:fld>
            <a:endParaRPr lang="en-US" sz="500" b="1"/>
          </a:p>
        </p:txBody>
      </p:sp>
    </p:spTree>
    <p:extLst>
      <p:ext uri="{BB962C8B-B14F-4D97-AF65-F5344CB8AC3E}">
        <p14:creationId xmlns:p14="http://schemas.microsoft.com/office/powerpoint/2010/main" val="4120063977"/>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Omsla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175562D-8BE4-4E07-BD9B-7CEBE40A1A7F}"/>
              </a:ext>
            </a:extLst>
          </p:cNvPr>
          <p:cNvSpPr>
            <a:spLocks noGrp="1"/>
          </p:cNvSpPr>
          <p:nvPr>
            <p:ph type="ctrTitle"/>
          </p:nvPr>
        </p:nvSpPr>
        <p:spPr>
          <a:xfrm>
            <a:off x="1014822" y="254000"/>
            <a:ext cx="4881152" cy="2317750"/>
          </a:xfrm>
        </p:spPr>
        <p:txBody>
          <a:bodyPr lIns="0" tIns="0" rIns="0" bIns="0" anchor="b" anchorCtr="0"/>
          <a:lstStyle>
            <a:lvl1pPr algn="l">
              <a:lnSpc>
                <a:spcPct val="100000"/>
              </a:lnSpc>
              <a:defRPr sz="2800"/>
            </a:lvl1pPr>
          </a:lstStyle>
          <a:p>
            <a:r>
              <a:rPr lang="sv-SE"/>
              <a:t>Klicka här för att ändra mall för rubrikformat</a:t>
            </a:r>
          </a:p>
        </p:txBody>
      </p:sp>
      <p:sp>
        <p:nvSpPr>
          <p:cNvPr id="3" name="Underrubrik 2">
            <a:extLst>
              <a:ext uri="{FF2B5EF4-FFF2-40B4-BE49-F238E27FC236}">
                <a16:creationId xmlns:a16="http://schemas.microsoft.com/office/drawing/2014/main" id="{2DB9F56F-2AD1-42EA-A8BF-E10C61A55E2D}"/>
              </a:ext>
            </a:extLst>
          </p:cNvPr>
          <p:cNvSpPr>
            <a:spLocks noGrp="1"/>
          </p:cNvSpPr>
          <p:nvPr>
            <p:ph type="subTitle" idx="1"/>
          </p:nvPr>
        </p:nvSpPr>
        <p:spPr>
          <a:xfrm>
            <a:off x="1036638" y="2698749"/>
            <a:ext cx="4165600" cy="1501535"/>
          </a:xfrm>
        </p:spPr>
        <p:txBody>
          <a:bodyPr lIns="0" tIns="127000" rIns="0" bIns="0" anchor="t" anchorCtr="0">
            <a:noAutofit/>
          </a:bodyPr>
          <a:lstStyle>
            <a:lvl1pPr marL="0" indent="0" algn="l">
              <a:buNone/>
              <a:defRPr sz="14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Klicka här för att ändra mall för underrubrikformat</a:t>
            </a:r>
          </a:p>
        </p:txBody>
      </p:sp>
      <p:sp>
        <p:nvSpPr>
          <p:cNvPr id="14" name="Platshållare för bild 12">
            <a:extLst>
              <a:ext uri="{FF2B5EF4-FFF2-40B4-BE49-F238E27FC236}">
                <a16:creationId xmlns:a16="http://schemas.microsoft.com/office/drawing/2014/main" id="{440E45C1-8119-40D6-9263-EAC57AB3744D}"/>
              </a:ext>
            </a:extLst>
          </p:cNvPr>
          <p:cNvSpPr>
            <a:spLocks noGrp="1"/>
          </p:cNvSpPr>
          <p:nvPr>
            <p:ph type="pic" sz="quarter" idx="10"/>
          </p:nvPr>
        </p:nvSpPr>
        <p:spPr>
          <a:xfrm>
            <a:off x="5545138" y="496888"/>
            <a:ext cx="3344862" cy="4220307"/>
          </a:xfrm>
          <a:custGeom>
            <a:avLst/>
            <a:gdLst>
              <a:gd name="connsiteX0" fmla="*/ 0 w 3115338"/>
              <a:gd name="connsiteY0" fmla="*/ 1620501 h 3241002"/>
              <a:gd name="connsiteX1" fmla="*/ 778835 w 3115338"/>
              <a:gd name="connsiteY1" fmla="*/ 1 h 3241002"/>
              <a:gd name="connsiteX2" fmla="*/ 2336504 w 3115338"/>
              <a:gd name="connsiteY2" fmla="*/ 1 h 3241002"/>
              <a:gd name="connsiteX3" fmla="*/ 3115338 w 3115338"/>
              <a:gd name="connsiteY3" fmla="*/ 1620501 h 3241002"/>
              <a:gd name="connsiteX4" fmla="*/ 2336504 w 3115338"/>
              <a:gd name="connsiteY4" fmla="*/ 3241001 h 3241002"/>
              <a:gd name="connsiteX5" fmla="*/ 778835 w 3115338"/>
              <a:gd name="connsiteY5" fmla="*/ 3241001 h 3241002"/>
              <a:gd name="connsiteX6" fmla="*/ 0 w 3115338"/>
              <a:gd name="connsiteY6" fmla="*/ 1620501 h 3241002"/>
              <a:gd name="connsiteX0" fmla="*/ 0 w 3093822"/>
              <a:gd name="connsiteY0" fmla="*/ 706100 h 3241000"/>
              <a:gd name="connsiteX1" fmla="*/ 757319 w 3093822"/>
              <a:gd name="connsiteY1" fmla="*/ 0 h 3241000"/>
              <a:gd name="connsiteX2" fmla="*/ 2314988 w 3093822"/>
              <a:gd name="connsiteY2" fmla="*/ 0 h 3241000"/>
              <a:gd name="connsiteX3" fmla="*/ 3093822 w 3093822"/>
              <a:gd name="connsiteY3" fmla="*/ 1620500 h 3241000"/>
              <a:gd name="connsiteX4" fmla="*/ 2314988 w 3093822"/>
              <a:gd name="connsiteY4" fmla="*/ 3241000 h 3241000"/>
              <a:gd name="connsiteX5" fmla="*/ 757319 w 3093822"/>
              <a:gd name="connsiteY5" fmla="*/ 3241000 h 3241000"/>
              <a:gd name="connsiteX6" fmla="*/ 0 w 3093822"/>
              <a:gd name="connsiteY6" fmla="*/ 706100 h 3241000"/>
              <a:gd name="connsiteX0" fmla="*/ 0 w 3093822"/>
              <a:gd name="connsiteY0" fmla="*/ 1157921 h 3692821"/>
              <a:gd name="connsiteX1" fmla="*/ 1542627 w 3093822"/>
              <a:gd name="connsiteY1" fmla="*/ 0 h 3692821"/>
              <a:gd name="connsiteX2" fmla="*/ 2314988 w 3093822"/>
              <a:gd name="connsiteY2" fmla="*/ 451821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093822"/>
              <a:gd name="connsiteY0" fmla="*/ 1157921 h 3692821"/>
              <a:gd name="connsiteX1" fmla="*/ 1542627 w 3093822"/>
              <a:gd name="connsiteY1" fmla="*/ 0 h 3692821"/>
              <a:gd name="connsiteX2" fmla="*/ 3089538 w 3093822"/>
              <a:gd name="connsiteY2" fmla="*/ 1151068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104579"/>
              <a:gd name="connsiteY0" fmla="*/ 1157921 h 3692821"/>
              <a:gd name="connsiteX1" fmla="*/ 1542627 w 3104579"/>
              <a:gd name="connsiteY1" fmla="*/ 0 h 3692821"/>
              <a:gd name="connsiteX2" fmla="*/ 3089538 w 3104579"/>
              <a:gd name="connsiteY2" fmla="*/ 1151068 h 3692821"/>
              <a:gd name="connsiteX3" fmla="*/ 3104579 w 3104579"/>
              <a:gd name="connsiteY3" fmla="*/ 2814598 h 3692821"/>
              <a:gd name="connsiteX4" fmla="*/ 2314988 w 3104579"/>
              <a:gd name="connsiteY4" fmla="*/ 3692821 h 3692821"/>
              <a:gd name="connsiteX5" fmla="*/ 757319 w 3104579"/>
              <a:gd name="connsiteY5" fmla="*/ 3692821 h 3692821"/>
              <a:gd name="connsiteX6" fmla="*/ 0 w 3104579"/>
              <a:gd name="connsiteY6" fmla="*/ 1157921 h 3692821"/>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757319 w 3104579"/>
              <a:gd name="connsiteY5" fmla="*/ 3692821 h 3994035"/>
              <a:gd name="connsiteX6" fmla="*/ 0 w 3104579"/>
              <a:gd name="connsiteY6" fmla="*/ 1157921 h 3994035"/>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57921 h 3994035"/>
              <a:gd name="connsiteX0" fmla="*/ 0 w 3104579"/>
              <a:gd name="connsiteY0" fmla="*/ 1168679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 name="connsiteX0" fmla="*/ 0 w 3104579"/>
              <a:gd name="connsiteY0" fmla="*/ 1168679 h 3994035"/>
              <a:gd name="connsiteX1" fmla="*/ 1542627 w 3104579"/>
              <a:gd name="connsiteY1" fmla="*/ 0 h 3994035"/>
              <a:gd name="connsiteX2" fmla="*/ 3100295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04579" h="3994035">
                <a:moveTo>
                  <a:pt x="0" y="1168679"/>
                </a:moveTo>
                <a:lnTo>
                  <a:pt x="1542627" y="0"/>
                </a:lnTo>
                <a:lnTo>
                  <a:pt x="3100295" y="1151068"/>
                </a:lnTo>
                <a:lnTo>
                  <a:pt x="3104579" y="2814598"/>
                </a:lnTo>
                <a:lnTo>
                  <a:pt x="1540438" y="3994035"/>
                </a:lnTo>
                <a:lnTo>
                  <a:pt x="4284" y="2853725"/>
                </a:lnTo>
                <a:lnTo>
                  <a:pt x="0" y="1168679"/>
                </a:lnTo>
                <a:close/>
              </a:path>
            </a:pathLst>
          </a:custGeom>
          <a:solidFill>
            <a:schemeClr val="bg1"/>
          </a:solidFill>
        </p:spPr>
        <p:txBody>
          <a:bodyPr>
            <a:normAutofit/>
          </a:bodyPr>
          <a:lstStyle/>
          <a:p>
            <a:endParaRPr lang="sv-SE"/>
          </a:p>
        </p:txBody>
      </p:sp>
    </p:spTree>
    <p:extLst>
      <p:ext uri="{BB962C8B-B14F-4D97-AF65-F5344CB8AC3E}">
        <p14:creationId xmlns:p14="http://schemas.microsoft.com/office/powerpoint/2010/main" val="172127138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_Omslag">
    <p:bg>
      <p:bgPr>
        <a:blipFill dpi="0" rotWithShape="1">
          <a:blip r:embed="rId2">
            <a:alphaModFix amt="96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175562D-8BE4-4E07-BD9B-7CEBE40A1A7F}"/>
              </a:ext>
            </a:extLst>
          </p:cNvPr>
          <p:cNvSpPr>
            <a:spLocks noGrp="1"/>
          </p:cNvSpPr>
          <p:nvPr>
            <p:ph type="ctrTitle"/>
          </p:nvPr>
        </p:nvSpPr>
        <p:spPr>
          <a:xfrm>
            <a:off x="1014822" y="254000"/>
            <a:ext cx="4881152" cy="2317750"/>
          </a:xfrm>
        </p:spPr>
        <p:txBody>
          <a:bodyPr lIns="0" tIns="0" rIns="0" bIns="0" anchor="b" anchorCtr="0"/>
          <a:lstStyle>
            <a:lvl1pPr algn="l">
              <a:lnSpc>
                <a:spcPct val="100000"/>
              </a:lnSpc>
              <a:defRPr sz="2800"/>
            </a:lvl1pPr>
          </a:lstStyle>
          <a:p>
            <a:r>
              <a:rPr lang="sv-SE"/>
              <a:t>Klicka här för att ändra mall för rubrikformat</a:t>
            </a:r>
          </a:p>
        </p:txBody>
      </p:sp>
      <p:sp>
        <p:nvSpPr>
          <p:cNvPr id="3" name="Underrubrik 2">
            <a:extLst>
              <a:ext uri="{FF2B5EF4-FFF2-40B4-BE49-F238E27FC236}">
                <a16:creationId xmlns:a16="http://schemas.microsoft.com/office/drawing/2014/main" id="{2DB9F56F-2AD1-42EA-A8BF-E10C61A55E2D}"/>
              </a:ext>
            </a:extLst>
          </p:cNvPr>
          <p:cNvSpPr>
            <a:spLocks noGrp="1"/>
          </p:cNvSpPr>
          <p:nvPr>
            <p:ph type="subTitle" idx="1"/>
          </p:nvPr>
        </p:nvSpPr>
        <p:spPr>
          <a:xfrm>
            <a:off x="1036638" y="2698749"/>
            <a:ext cx="4165600" cy="1501535"/>
          </a:xfrm>
        </p:spPr>
        <p:txBody>
          <a:bodyPr lIns="0" tIns="127000" rIns="0" bIns="0" anchor="t" anchorCtr="0">
            <a:noAutofit/>
          </a:bodyPr>
          <a:lstStyle>
            <a:lvl1pPr marL="0" indent="0" algn="l">
              <a:buNone/>
              <a:defRPr sz="14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Klicka här för att ändra mall för underrubrikformat</a:t>
            </a:r>
          </a:p>
        </p:txBody>
      </p:sp>
      <p:sp>
        <p:nvSpPr>
          <p:cNvPr id="14" name="Platshållare för bild 12">
            <a:extLst>
              <a:ext uri="{FF2B5EF4-FFF2-40B4-BE49-F238E27FC236}">
                <a16:creationId xmlns:a16="http://schemas.microsoft.com/office/drawing/2014/main" id="{440E45C1-8119-40D6-9263-EAC57AB3744D}"/>
              </a:ext>
            </a:extLst>
          </p:cNvPr>
          <p:cNvSpPr>
            <a:spLocks noGrp="1"/>
          </p:cNvSpPr>
          <p:nvPr>
            <p:ph type="pic" sz="quarter" idx="10"/>
          </p:nvPr>
        </p:nvSpPr>
        <p:spPr>
          <a:xfrm>
            <a:off x="5545138" y="496888"/>
            <a:ext cx="3344862" cy="4220307"/>
          </a:xfrm>
          <a:custGeom>
            <a:avLst/>
            <a:gdLst>
              <a:gd name="connsiteX0" fmla="*/ 0 w 3115338"/>
              <a:gd name="connsiteY0" fmla="*/ 1620501 h 3241002"/>
              <a:gd name="connsiteX1" fmla="*/ 778835 w 3115338"/>
              <a:gd name="connsiteY1" fmla="*/ 1 h 3241002"/>
              <a:gd name="connsiteX2" fmla="*/ 2336504 w 3115338"/>
              <a:gd name="connsiteY2" fmla="*/ 1 h 3241002"/>
              <a:gd name="connsiteX3" fmla="*/ 3115338 w 3115338"/>
              <a:gd name="connsiteY3" fmla="*/ 1620501 h 3241002"/>
              <a:gd name="connsiteX4" fmla="*/ 2336504 w 3115338"/>
              <a:gd name="connsiteY4" fmla="*/ 3241001 h 3241002"/>
              <a:gd name="connsiteX5" fmla="*/ 778835 w 3115338"/>
              <a:gd name="connsiteY5" fmla="*/ 3241001 h 3241002"/>
              <a:gd name="connsiteX6" fmla="*/ 0 w 3115338"/>
              <a:gd name="connsiteY6" fmla="*/ 1620501 h 3241002"/>
              <a:gd name="connsiteX0" fmla="*/ 0 w 3093822"/>
              <a:gd name="connsiteY0" fmla="*/ 706100 h 3241000"/>
              <a:gd name="connsiteX1" fmla="*/ 757319 w 3093822"/>
              <a:gd name="connsiteY1" fmla="*/ 0 h 3241000"/>
              <a:gd name="connsiteX2" fmla="*/ 2314988 w 3093822"/>
              <a:gd name="connsiteY2" fmla="*/ 0 h 3241000"/>
              <a:gd name="connsiteX3" fmla="*/ 3093822 w 3093822"/>
              <a:gd name="connsiteY3" fmla="*/ 1620500 h 3241000"/>
              <a:gd name="connsiteX4" fmla="*/ 2314988 w 3093822"/>
              <a:gd name="connsiteY4" fmla="*/ 3241000 h 3241000"/>
              <a:gd name="connsiteX5" fmla="*/ 757319 w 3093822"/>
              <a:gd name="connsiteY5" fmla="*/ 3241000 h 3241000"/>
              <a:gd name="connsiteX6" fmla="*/ 0 w 3093822"/>
              <a:gd name="connsiteY6" fmla="*/ 706100 h 3241000"/>
              <a:gd name="connsiteX0" fmla="*/ 0 w 3093822"/>
              <a:gd name="connsiteY0" fmla="*/ 1157921 h 3692821"/>
              <a:gd name="connsiteX1" fmla="*/ 1542627 w 3093822"/>
              <a:gd name="connsiteY1" fmla="*/ 0 h 3692821"/>
              <a:gd name="connsiteX2" fmla="*/ 2314988 w 3093822"/>
              <a:gd name="connsiteY2" fmla="*/ 451821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093822"/>
              <a:gd name="connsiteY0" fmla="*/ 1157921 h 3692821"/>
              <a:gd name="connsiteX1" fmla="*/ 1542627 w 3093822"/>
              <a:gd name="connsiteY1" fmla="*/ 0 h 3692821"/>
              <a:gd name="connsiteX2" fmla="*/ 3089538 w 3093822"/>
              <a:gd name="connsiteY2" fmla="*/ 1151068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104579"/>
              <a:gd name="connsiteY0" fmla="*/ 1157921 h 3692821"/>
              <a:gd name="connsiteX1" fmla="*/ 1542627 w 3104579"/>
              <a:gd name="connsiteY1" fmla="*/ 0 h 3692821"/>
              <a:gd name="connsiteX2" fmla="*/ 3089538 w 3104579"/>
              <a:gd name="connsiteY2" fmla="*/ 1151068 h 3692821"/>
              <a:gd name="connsiteX3" fmla="*/ 3104579 w 3104579"/>
              <a:gd name="connsiteY3" fmla="*/ 2814598 h 3692821"/>
              <a:gd name="connsiteX4" fmla="*/ 2314988 w 3104579"/>
              <a:gd name="connsiteY4" fmla="*/ 3692821 h 3692821"/>
              <a:gd name="connsiteX5" fmla="*/ 757319 w 3104579"/>
              <a:gd name="connsiteY5" fmla="*/ 3692821 h 3692821"/>
              <a:gd name="connsiteX6" fmla="*/ 0 w 3104579"/>
              <a:gd name="connsiteY6" fmla="*/ 1157921 h 3692821"/>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757319 w 3104579"/>
              <a:gd name="connsiteY5" fmla="*/ 3692821 h 3994035"/>
              <a:gd name="connsiteX6" fmla="*/ 0 w 3104579"/>
              <a:gd name="connsiteY6" fmla="*/ 1157921 h 3994035"/>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57921 h 3994035"/>
              <a:gd name="connsiteX0" fmla="*/ 0 w 3104579"/>
              <a:gd name="connsiteY0" fmla="*/ 1168679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 name="connsiteX0" fmla="*/ 0 w 3104579"/>
              <a:gd name="connsiteY0" fmla="*/ 1168679 h 3994035"/>
              <a:gd name="connsiteX1" fmla="*/ 1542627 w 3104579"/>
              <a:gd name="connsiteY1" fmla="*/ 0 h 3994035"/>
              <a:gd name="connsiteX2" fmla="*/ 3100295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04579" h="3994035">
                <a:moveTo>
                  <a:pt x="0" y="1168679"/>
                </a:moveTo>
                <a:lnTo>
                  <a:pt x="1542627" y="0"/>
                </a:lnTo>
                <a:lnTo>
                  <a:pt x="3100295" y="1151068"/>
                </a:lnTo>
                <a:lnTo>
                  <a:pt x="3104579" y="2814598"/>
                </a:lnTo>
                <a:lnTo>
                  <a:pt x="1540438" y="3994035"/>
                </a:lnTo>
                <a:lnTo>
                  <a:pt x="4284" y="2853725"/>
                </a:lnTo>
                <a:lnTo>
                  <a:pt x="0" y="1168679"/>
                </a:lnTo>
                <a:close/>
              </a:path>
            </a:pathLst>
          </a:custGeom>
          <a:solidFill>
            <a:schemeClr val="bg1"/>
          </a:solidFill>
        </p:spPr>
        <p:txBody>
          <a:bodyPr>
            <a:normAutofit/>
          </a:bodyPr>
          <a:lstStyle/>
          <a:p>
            <a:endParaRPr lang="sv-SE"/>
          </a:p>
        </p:txBody>
      </p:sp>
    </p:spTree>
    <p:extLst>
      <p:ext uri="{BB962C8B-B14F-4D97-AF65-F5344CB8AC3E}">
        <p14:creationId xmlns:p14="http://schemas.microsoft.com/office/powerpoint/2010/main" val="1017424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3_Omsla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175562D-8BE4-4E07-BD9B-7CEBE40A1A7F}"/>
              </a:ext>
            </a:extLst>
          </p:cNvPr>
          <p:cNvSpPr>
            <a:spLocks noGrp="1"/>
          </p:cNvSpPr>
          <p:nvPr>
            <p:ph type="ctrTitle"/>
          </p:nvPr>
        </p:nvSpPr>
        <p:spPr>
          <a:xfrm>
            <a:off x="1014822" y="254000"/>
            <a:ext cx="4881152" cy="2317750"/>
          </a:xfrm>
        </p:spPr>
        <p:txBody>
          <a:bodyPr lIns="0" tIns="0" rIns="0" bIns="0" anchor="b" anchorCtr="0"/>
          <a:lstStyle>
            <a:lvl1pPr algn="l">
              <a:lnSpc>
                <a:spcPct val="100000"/>
              </a:lnSpc>
              <a:defRPr sz="2800"/>
            </a:lvl1pPr>
          </a:lstStyle>
          <a:p>
            <a:r>
              <a:rPr lang="sv-SE"/>
              <a:t>Klicka här för att ändra mall för rubrikformat</a:t>
            </a:r>
          </a:p>
        </p:txBody>
      </p:sp>
      <p:sp>
        <p:nvSpPr>
          <p:cNvPr id="3" name="Underrubrik 2">
            <a:extLst>
              <a:ext uri="{FF2B5EF4-FFF2-40B4-BE49-F238E27FC236}">
                <a16:creationId xmlns:a16="http://schemas.microsoft.com/office/drawing/2014/main" id="{2DB9F56F-2AD1-42EA-A8BF-E10C61A55E2D}"/>
              </a:ext>
            </a:extLst>
          </p:cNvPr>
          <p:cNvSpPr>
            <a:spLocks noGrp="1"/>
          </p:cNvSpPr>
          <p:nvPr>
            <p:ph type="subTitle" idx="1"/>
          </p:nvPr>
        </p:nvSpPr>
        <p:spPr>
          <a:xfrm>
            <a:off x="1036638" y="2698749"/>
            <a:ext cx="4165600" cy="1501535"/>
          </a:xfrm>
        </p:spPr>
        <p:txBody>
          <a:bodyPr lIns="0" tIns="127000" rIns="0" bIns="0" anchor="t" anchorCtr="0">
            <a:noAutofit/>
          </a:bodyPr>
          <a:lstStyle>
            <a:lvl1pPr marL="0" indent="0" algn="l">
              <a:buNone/>
              <a:defRPr sz="14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Klicka här för att ändra mall för underrubrikformat</a:t>
            </a:r>
          </a:p>
        </p:txBody>
      </p:sp>
      <p:sp>
        <p:nvSpPr>
          <p:cNvPr id="14" name="Platshållare för bild 12">
            <a:extLst>
              <a:ext uri="{FF2B5EF4-FFF2-40B4-BE49-F238E27FC236}">
                <a16:creationId xmlns:a16="http://schemas.microsoft.com/office/drawing/2014/main" id="{440E45C1-8119-40D6-9263-EAC57AB3744D}"/>
              </a:ext>
            </a:extLst>
          </p:cNvPr>
          <p:cNvSpPr>
            <a:spLocks noGrp="1"/>
          </p:cNvSpPr>
          <p:nvPr>
            <p:ph type="pic" sz="quarter" idx="10"/>
          </p:nvPr>
        </p:nvSpPr>
        <p:spPr>
          <a:xfrm>
            <a:off x="5545138" y="496888"/>
            <a:ext cx="3344862" cy="4220307"/>
          </a:xfrm>
          <a:custGeom>
            <a:avLst/>
            <a:gdLst>
              <a:gd name="connsiteX0" fmla="*/ 0 w 3115338"/>
              <a:gd name="connsiteY0" fmla="*/ 1620501 h 3241002"/>
              <a:gd name="connsiteX1" fmla="*/ 778835 w 3115338"/>
              <a:gd name="connsiteY1" fmla="*/ 1 h 3241002"/>
              <a:gd name="connsiteX2" fmla="*/ 2336504 w 3115338"/>
              <a:gd name="connsiteY2" fmla="*/ 1 h 3241002"/>
              <a:gd name="connsiteX3" fmla="*/ 3115338 w 3115338"/>
              <a:gd name="connsiteY3" fmla="*/ 1620501 h 3241002"/>
              <a:gd name="connsiteX4" fmla="*/ 2336504 w 3115338"/>
              <a:gd name="connsiteY4" fmla="*/ 3241001 h 3241002"/>
              <a:gd name="connsiteX5" fmla="*/ 778835 w 3115338"/>
              <a:gd name="connsiteY5" fmla="*/ 3241001 h 3241002"/>
              <a:gd name="connsiteX6" fmla="*/ 0 w 3115338"/>
              <a:gd name="connsiteY6" fmla="*/ 1620501 h 3241002"/>
              <a:gd name="connsiteX0" fmla="*/ 0 w 3093822"/>
              <a:gd name="connsiteY0" fmla="*/ 706100 h 3241000"/>
              <a:gd name="connsiteX1" fmla="*/ 757319 w 3093822"/>
              <a:gd name="connsiteY1" fmla="*/ 0 h 3241000"/>
              <a:gd name="connsiteX2" fmla="*/ 2314988 w 3093822"/>
              <a:gd name="connsiteY2" fmla="*/ 0 h 3241000"/>
              <a:gd name="connsiteX3" fmla="*/ 3093822 w 3093822"/>
              <a:gd name="connsiteY3" fmla="*/ 1620500 h 3241000"/>
              <a:gd name="connsiteX4" fmla="*/ 2314988 w 3093822"/>
              <a:gd name="connsiteY4" fmla="*/ 3241000 h 3241000"/>
              <a:gd name="connsiteX5" fmla="*/ 757319 w 3093822"/>
              <a:gd name="connsiteY5" fmla="*/ 3241000 h 3241000"/>
              <a:gd name="connsiteX6" fmla="*/ 0 w 3093822"/>
              <a:gd name="connsiteY6" fmla="*/ 706100 h 3241000"/>
              <a:gd name="connsiteX0" fmla="*/ 0 w 3093822"/>
              <a:gd name="connsiteY0" fmla="*/ 1157921 h 3692821"/>
              <a:gd name="connsiteX1" fmla="*/ 1542627 w 3093822"/>
              <a:gd name="connsiteY1" fmla="*/ 0 h 3692821"/>
              <a:gd name="connsiteX2" fmla="*/ 2314988 w 3093822"/>
              <a:gd name="connsiteY2" fmla="*/ 451821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093822"/>
              <a:gd name="connsiteY0" fmla="*/ 1157921 h 3692821"/>
              <a:gd name="connsiteX1" fmla="*/ 1542627 w 3093822"/>
              <a:gd name="connsiteY1" fmla="*/ 0 h 3692821"/>
              <a:gd name="connsiteX2" fmla="*/ 3089538 w 3093822"/>
              <a:gd name="connsiteY2" fmla="*/ 1151068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104579"/>
              <a:gd name="connsiteY0" fmla="*/ 1157921 h 3692821"/>
              <a:gd name="connsiteX1" fmla="*/ 1542627 w 3104579"/>
              <a:gd name="connsiteY1" fmla="*/ 0 h 3692821"/>
              <a:gd name="connsiteX2" fmla="*/ 3089538 w 3104579"/>
              <a:gd name="connsiteY2" fmla="*/ 1151068 h 3692821"/>
              <a:gd name="connsiteX3" fmla="*/ 3104579 w 3104579"/>
              <a:gd name="connsiteY3" fmla="*/ 2814598 h 3692821"/>
              <a:gd name="connsiteX4" fmla="*/ 2314988 w 3104579"/>
              <a:gd name="connsiteY4" fmla="*/ 3692821 h 3692821"/>
              <a:gd name="connsiteX5" fmla="*/ 757319 w 3104579"/>
              <a:gd name="connsiteY5" fmla="*/ 3692821 h 3692821"/>
              <a:gd name="connsiteX6" fmla="*/ 0 w 3104579"/>
              <a:gd name="connsiteY6" fmla="*/ 1157921 h 3692821"/>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757319 w 3104579"/>
              <a:gd name="connsiteY5" fmla="*/ 3692821 h 3994035"/>
              <a:gd name="connsiteX6" fmla="*/ 0 w 3104579"/>
              <a:gd name="connsiteY6" fmla="*/ 1157921 h 3994035"/>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57921 h 3994035"/>
              <a:gd name="connsiteX0" fmla="*/ 0 w 3104579"/>
              <a:gd name="connsiteY0" fmla="*/ 1168679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 name="connsiteX0" fmla="*/ 0 w 3104579"/>
              <a:gd name="connsiteY0" fmla="*/ 1168679 h 3994035"/>
              <a:gd name="connsiteX1" fmla="*/ 1542627 w 3104579"/>
              <a:gd name="connsiteY1" fmla="*/ 0 h 3994035"/>
              <a:gd name="connsiteX2" fmla="*/ 3100295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04579" h="3994035">
                <a:moveTo>
                  <a:pt x="0" y="1168679"/>
                </a:moveTo>
                <a:lnTo>
                  <a:pt x="1542627" y="0"/>
                </a:lnTo>
                <a:lnTo>
                  <a:pt x="3100295" y="1151068"/>
                </a:lnTo>
                <a:lnTo>
                  <a:pt x="3104579" y="2814598"/>
                </a:lnTo>
                <a:lnTo>
                  <a:pt x="1540438" y="3994035"/>
                </a:lnTo>
                <a:lnTo>
                  <a:pt x="4284" y="2853725"/>
                </a:lnTo>
                <a:lnTo>
                  <a:pt x="0" y="1168679"/>
                </a:lnTo>
                <a:close/>
              </a:path>
            </a:pathLst>
          </a:custGeom>
          <a:solidFill>
            <a:schemeClr val="bg1"/>
          </a:solidFill>
        </p:spPr>
        <p:txBody>
          <a:bodyPr>
            <a:normAutofit/>
          </a:bodyPr>
          <a:lstStyle/>
          <a:p>
            <a:endParaRPr lang="sv-SE"/>
          </a:p>
        </p:txBody>
      </p:sp>
    </p:spTree>
    <p:extLst>
      <p:ext uri="{BB962C8B-B14F-4D97-AF65-F5344CB8AC3E}">
        <p14:creationId xmlns:p14="http://schemas.microsoft.com/office/powerpoint/2010/main" val="155697128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2 Diagram 1">
    <p:spTree>
      <p:nvGrpSpPr>
        <p:cNvPr id="1" name=""/>
        <p:cNvGrpSpPr/>
        <p:nvPr/>
      </p:nvGrpSpPr>
      <p:grpSpPr>
        <a:xfrm>
          <a:off x="0" y="0"/>
          <a:ext cx="0" cy="0"/>
          <a:chOff x="0" y="0"/>
          <a:chExt cx="0" cy="0"/>
        </a:xfrm>
      </p:grpSpPr>
      <p:grpSp>
        <p:nvGrpSpPr>
          <p:cNvPr id="22" name="Grupp 21">
            <a:extLst>
              <a:ext uri="{FF2B5EF4-FFF2-40B4-BE49-F238E27FC236}">
                <a16:creationId xmlns:a16="http://schemas.microsoft.com/office/drawing/2014/main" id="{58A4F037-5372-4F50-AB2C-80E4F015FDE0}"/>
              </a:ext>
            </a:extLst>
          </p:cNvPr>
          <p:cNvGrpSpPr/>
          <p:nvPr userDrawn="1"/>
        </p:nvGrpSpPr>
        <p:grpSpPr>
          <a:xfrm>
            <a:off x="4099911" y="-1785593"/>
            <a:ext cx="8908892" cy="8714685"/>
            <a:chOff x="3589405" y="387640"/>
            <a:chExt cx="5873827" cy="5872463"/>
          </a:xfrm>
          <a:solidFill>
            <a:schemeClr val="tx1">
              <a:alpha val="10000"/>
            </a:schemeClr>
          </a:solidFill>
        </p:grpSpPr>
        <p:sp>
          <p:nvSpPr>
            <p:cNvPr id="23" name="Freeform 5">
              <a:extLst>
                <a:ext uri="{FF2B5EF4-FFF2-40B4-BE49-F238E27FC236}">
                  <a16:creationId xmlns:a16="http://schemas.microsoft.com/office/drawing/2014/main" id="{7C1D4E85-F2CE-4336-8CC8-25E235311297}"/>
                </a:ext>
              </a:extLst>
            </p:cNvPr>
            <p:cNvSpPr>
              <a:spLocks/>
            </p:cNvSpPr>
            <p:nvPr/>
          </p:nvSpPr>
          <p:spPr bwMode="auto">
            <a:xfrm>
              <a:off x="3871774" y="678194"/>
              <a:ext cx="1392749" cy="1400934"/>
            </a:xfrm>
            <a:custGeom>
              <a:avLst/>
              <a:gdLst>
                <a:gd name="T0" fmla="*/ 2096 w 2096"/>
                <a:gd name="T1" fmla="*/ 0 h 2108"/>
                <a:gd name="T2" fmla="*/ 877 w 2096"/>
                <a:gd name="T3" fmla="*/ 863 h 2108"/>
                <a:gd name="T4" fmla="*/ 0 w 2096"/>
                <a:gd name="T5" fmla="*/ 2108 h 2108"/>
                <a:gd name="T6" fmla="*/ 981 w 2096"/>
                <a:gd name="T7" fmla="*/ 948 h 2108"/>
                <a:gd name="T8" fmla="*/ 2096 w 2096"/>
                <a:gd name="T9" fmla="*/ 0 h 2108"/>
              </a:gdLst>
              <a:ahLst/>
              <a:cxnLst>
                <a:cxn ang="0">
                  <a:pos x="T0" y="T1"/>
                </a:cxn>
                <a:cxn ang="0">
                  <a:pos x="T2" y="T3"/>
                </a:cxn>
                <a:cxn ang="0">
                  <a:pos x="T4" y="T5"/>
                </a:cxn>
                <a:cxn ang="0">
                  <a:pos x="T6" y="T7"/>
                </a:cxn>
                <a:cxn ang="0">
                  <a:pos x="T8" y="T9"/>
                </a:cxn>
              </a:cxnLst>
              <a:rect l="0" t="0" r="r" b="b"/>
              <a:pathLst>
                <a:path w="2096" h="2108">
                  <a:moveTo>
                    <a:pt x="2096" y="0"/>
                  </a:moveTo>
                  <a:cubicBezTo>
                    <a:pt x="1655" y="211"/>
                    <a:pt x="1242" y="498"/>
                    <a:pt x="877" y="863"/>
                  </a:cubicBezTo>
                  <a:cubicBezTo>
                    <a:pt x="504" y="1235"/>
                    <a:pt x="213" y="1658"/>
                    <a:pt x="0" y="2108"/>
                  </a:cubicBezTo>
                  <a:cubicBezTo>
                    <a:pt x="254" y="1741"/>
                    <a:pt x="588" y="1343"/>
                    <a:pt x="981" y="948"/>
                  </a:cubicBezTo>
                  <a:cubicBezTo>
                    <a:pt x="1360" y="571"/>
                    <a:pt x="1741" y="249"/>
                    <a:pt x="209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4" name="Freeform 6">
              <a:extLst>
                <a:ext uri="{FF2B5EF4-FFF2-40B4-BE49-F238E27FC236}">
                  <a16:creationId xmlns:a16="http://schemas.microsoft.com/office/drawing/2014/main" id="{AAC8634F-3E34-4168-8D60-19B3A00C0D81}"/>
                </a:ext>
              </a:extLst>
            </p:cNvPr>
            <p:cNvSpPr>
              <a:spLocks/>
            </p:cNvSpPr>
            <p:nvPr/>
          </p:nvSpPr>
          <p:spPr bwMode="auto">
            <a:xfrm>
              <a:off x="3635784" y="435383"/>
              <a:ext cx="2381724" cy="2399457"/>
            </a:xfrm>
            <a:custGeom>
              <a:avLst/>
              <a:gdLst>
                <a:gd name="T0" fmla="*/ 446 w 3585"/>
                <a:gd name="T1" fmla="*/ 2866 h 3609"/>
                <a:gd name="T2" fmla="*/ 484 w 3585"/>
                <a:gd name="T3" fmla="*/ 2811 h 3609"/>
                <a:gd name="T4" fmla="*/ 1565 w 3585"/>
                <a:gd name="T5" fmla="*/ 1541 h 3609"/>
                <a:gd name="T6" fmla="*/ 2835 w 3585"/>
                <a:gd name="T7" fmla="*/ 460 h 3609"/>
                <a:gd name="T8" fmla="*/ 2891 w 3585"/>
                <a:gd name="T9" fmla="*/ 422 h 3609"/>
                <a:gd name="T10" fmla="*/ 2945 w 3585"/>
                <a:gd name="T11" fmla="*/ 385 h 3609"/>
                <a:gd name="T12" fmla="*/ 3585 w 3585"/>
                <a:gd name="T13" fmla="*/ 0 h 3609"/>
                <a:gd name="T14" fmla="*/ 3071 w 3585"/>
                <a:gd name="T15" fmla="*/ 123 h 3609"/>
                <a:gd name="T16" fmla="*/ 2863 w 3585"/>
                <a:gd name="T17" fmla="*/ 239 h 3609"/>
                <a:gd name="T18" fmla="*/ 2809 w 3585"/>
                <a:gd name="T19" fmla="*/ 272 h 3609"/>
                <a:gd name="T20" fmla="*/ 2752 w 3585"/>
                <a:gd name="T21" fmla="*/ 307 h 3609"/>
                <a:gd name="T22" fmla="*/ 1420 w 3585"/>
                <a:gd name="T23" fmla="*/ 1396 h 3609"/>
                <a:gd name="T24" fmla="*/ 331 w 3585"/>
                <a:gd name="T25" fmla="*/ 2728 h 3609"/>
                <a:gd name="T26" fmla="*/ 296 w 3585"/>
                <a:gd name="T27" fmla="*/ 2785 h 3609"/>
                <a:gd name="T28" fmla="*/ 263 w 3585"/>
                <a:gd name="T29" fmla="*/ 2839 h 3609"/>
                <a:gd name="T30" fmla="*/ 113 w 3585"/>
                <a:gd name="T31" fmla="*/ 3114 h 3609"/>
                <a:gd name="T32" fmla="*/ 0 w 3585"/>
                <a:gd name="T33" fmla="*/ 3609 h 3609"/>
                <a:gd name="T34" fmla="*/ 408 w 3585"/>
                <a:gd name="T35" fmla="*/ 2921 h 3609"/>
                <a:gd name="T36" fmla="*/ 446 w 3585"/>
                <a:gd name="T37" fmla="*/ 2866 h 3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85" h="3609">
                  <a:moveTo>
                    <a:pt x="446" y="2866"/>
                  </a:moveTo>
                  <a:cubicBezTo>
                    <a:pt x="459" y="2848"/>
                    <a:pt x="471" y="2830"/>
                    <a:pt x="484" y="2811"/>
                  </a:cubicBezTo>
                  <a:cubicBezTo>
                    <a:pt x="775" y="2399"/>
                    <a:pt x="1141" y="1966"/>
                    <a:pt x="1565" y="1541"/>
                  </a:cubicBezTo>
                  <a:cubicBezTo>
                    <a:pt x="1990" y="1117"/>
                    <a:pt x="2423" y="751"/>
                    <a:pt x="2835" y="460"/>
                  </a:cubicBezTo>
                  <a:cubicBezTo>
                    <a:pt x="2854" y="447"/>
                    <a:pt x="2872" y="435"/>
                    <a:pt x="2891" y="422"/>
                  </a:cubicBezTo>
                  <a:cubicBezTo>
                    <a:pt x="2909" y="409"/>
                    <a:pt x="2927" y="397"/>
                    <a:pt x="2945" y="385"/>
                  </a:cubicBezTo>
                  <a:cubicBezTo>
                    <a:pt x="3167" y="233"/>
                    <a:pt x="3382" y="104"/>
                    <a:pt x="3585" y="0"/>
                  </a:cubicBezTo>
                  <a:cubicBezTo>
                    <a:pt x="3412" y="31"/>
                    <a:pt x="3240" y="72"/>
                    <a:pt x="3071" y="123"/>
                  </a:cubicBezTo>
                  <a:cubicBezTo>
                    <a:pt x="3004" y="158"/>
                    <a:pt x="2935" y="196"/>
                    <a:pt x="2863" y="239"/>
                  </a:cubicBezTo>
                  <a:cubicBezTo>
                    <a:pt x="2845" y="249"/>
                    <a:pt x="2827" y="261"/>
                    <a:pt x="2809" y="272"/>
                  </a:cubicBezTo>
                  <a:cubicBezTo>
                    <a:pt x="2790" y="284"/>
                    <a:pt x="2771" y="294"/>
                    <a:pt x="2752" y="307"/>
                  </a:cubicBezTo>
                  <a:cubicBezTo>
                    <a:pt x="2343" y="565"/>
                    <a:pt x="1875" y="939"/>
                    <a:pt x="1420" y="1396"/>
                  </a:cubicBezTo>
                  <a:cubicBezTo>
                    <a:pt x="963" y="1851"/>
                    <a:pt x="589" y="2319"/>
                    <a:pt x="331" y="2728"/>
                  </a:cubicBezTo>
                  <a:cubicBezTo>
                    <a:pt x="318" y="2747"/>
                    <a:pt x="308" y="2766"/>
                    <a:pt x="296" y="2785"/>
                  </a:cubicBezTo>
                  <a:cubicBezTo>
                    <a:pt x="285" y="2803"/>
                    <a:pt x="273" y="2821"/>
                    <a:pt x="263" y="2839"/>
                  </a:cubicBezTo>
                  <a:cubicBezTo>
                    <a:pt x="205" y="2935"/>
                    <a:pt x="156" y="3027"/>
                    <a:pt x="113" y="3114"/>
                  </a:cubicBezTo>
                  <a:cubicBezTo>
                    <a:pt x="65" y="3277"/>
                    <a:pt x="28" y="3443"/>
                    <a:pt x="0" y="3609"/>
                  </a:cubicBezTo>
                  <a:cubicBezTo>
                    <a:pt x="107" y="3392"/>
                    <a:pt x="245" y="3161"/>
                    <a:pt x="408" y="2921"/>
                  </a:cubicBezTo>
                  <a:cubicBezTo>
                    <a:pt x="421" y="2903"/>
                    <a:pt x="433" y="2885"/>
                    <a:pt x="446" y="28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5" name="Freeform 7">
              <a:extLst>
                <a:ext uri="{FF2B5EF4-FFF2-40B4-BE49-F238E27FC236}">
                  <a16:creationId xmlns:a16="http://schemas.microsoft.com/office/drawing/2014/main" id="{1044E1AF-5D57-4C57-A718-661729CA160C}"/>
                </a:ext>
              </a:extLst>
            </p:cNvPr>
            <p:cNvSpPr>
              <a:spLocks/>
            </p:cNvSpPr>
            <p:nvPr/>
          </p:nvSpPr>
          <p:spPr bwMode="auto">
            <a:xfrm>
              <a:off x="3589405" y="387640"/>
              <a:ext cx="3051498" cy="3077416"/>
            </a:xfrm>
            <a:custGeom>
              <a:avLst/>
              <a:gdLst>
                <a:gd name="T0" fmla="*/ 267 w 4592"/>
                <a:gd name="T1" fmla="*/ 4024 h 4629"/>
                <a:gd name="T2" fmla="*/ 1026 w 4592"/>
                <a:gd name="T3" fmla="*/ 2858 h 4629"/>
                <a:gd name="T4" fmla="*/ 1121 w 4592"/>
                <a:gd name="T5" fmla="*/ 2738 h 4629"/>
                <a:gd name="T6" fmla="*/ 1236 w 4592"/>
                <a:gd name="T7" fmla="*/ 2597 h 4629"/>
                <a:gd name="T8" fmla="*/ 1896 w 4592"/>
                <a:gd name="T9" fmla="*/ 1875 h 4629"/>
                <a:gd name="T10" fmla="*/ 2618 w 4592"/>
                <a:gd name="T11" fmla="*/ 1215 h 4629"/>
                <a:gd name="T12" fmla="*/ 2759 w 4592"/>
                <a:gd name="T13" fmla="*/ 1101 h 4629"/>
                <a:gd name="T14" fmla="*/ 2878 w 4592"/>
                <a:gd name="T15" fmla="*/ 1006 h 4629"/>
                <a:gd name="T16" fmla="*/ 4045 w 4592"/>
                <a:gd name="T17" fmla="*/ 246 h 4629"/>
                <a:gd name="T18" fmla="*/ 4104 w 4592"/>
                <a:gd name="T19" fmla="*/ 217 h 4629"/>
                <a:gd name="T20" fmla="*/ 4159 w 4592"/>
                <a:gd name="T21" fmla="*/ 189 h 4629"/>
                <a:gd name="T22" fmla="*/ 4592 w 4592"/>
                <a:gd name="T23" fmla="*/ 6 h 4629"/>
                <a:gd name="T24" fmla="*/ 4098 w 4592"/>
                <a:gd name="T25" fmla="*/ 16 h 4629"/>
                <a:gd name="T26" fmla="*/ 4059 w 4592"/>
                <a:gd name="T27" fmla="*/ 19 h 4629"/>
                <a:gd name="T28" fmla="*/ 4034 w 4592"/>
                <a:gd name="T29" fmla="*/ 29 h 4629"/>
                <a:gd name="T30" fmla="*/ 3987 w 4592"/>
                <a:gd name="T31" fmla="*/ 49 h 4629"/>
                <a:gd name="T32" fmla="*/ 3976 w 4592"/>
                <a:gd name="T33" fmla="*/ 53 h 4629"/>
                <a:gd name="T34" fmla="*/ 3018 w 4592"/>
                <a:gd name="T35" fmla="*/ 598 h 4629"/>
                <a:gd name="T36" fmla="*/ 2950 w 4592"/>
                <a:gd name="T37" fmla="*/ 644 h 4629"/>
                <a:gd name="T38" fmla="*/ 2877 w 4592"/>
                <a:gd name="T39" fmla="*/ 698 h 4629"/>
                <a:gd name="T40" fmla="*/ 1717 w 4592"/>
                <a:gd name="T41" fmla="*/ 1696 h 4629"/>
                <a:gd name="T42" fmla="*/ 718 w 4592"/>
                <a:gd name="T43" fmla="*/ 2856 h 4629"/>
                <a:gd name="T44" fmla="*/ 665 w 4592"/>
                <a:gd name="T45" fmla="*/ 2929 h 4629"/>
                <a:gd name="T46" fmla="*/ 618 w 4592"/>
                <a:gd name="T47" fmla="*/ 2997 h 4629"/>
                <a:gd name="T48" fmla="*/ 74 w 4592"/>
                <a:gd name="T49" fmla="*/ 3955 h 4629"/>
                <a:gd name="T50" fmla="*/ 50 w 4592"/>
                <a:gd name="T51" fmla="*/ 4013 h 4629"/>
                <a:gd name="T52" fmla="*/ 28 w 4592"/>
                <a:gd name="T53" fmla="*/ 4070 h 4629"/>
                <a:gd name="T54" fmla="*/ 17 w 4592"/>
                <a:gd name="T55" fmla="*/ 4101 h 4629"/>
                <a:gd name="T56" fmla="*/ 8 w 4592"/>
                <a:gd name="T57" fmla="*/ 4629 h 4629"/>
                <a:gd name="T58" fmla="*/ 210 w 4592"/>
                <a:gd name="T59" fmla="*/ 4138 h 4629"/>
                <a:gd name="T60" fmla="*/ 238 w 4592"/>
                <a:gd name="T61" fmla="*/ 4083 h 4629"/>
                <a:gd name="T62" fmla="*/ 267 w 4592"/>
                <a:gd name="T63" fmla="*/ 4024 h 4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92" h="4629">
                  <a:moveTo>
                    <a:pt x="267" y="4024"/>
                  </a:moveTo>
                  <a:cubicBezTo>
                    <a:pt x="457" y="3655"/>
                    <a:pt x="713" y="3259"/>
                    <a:pt x="1026" y="2858"/>
                  </a:cubicBezTo>
                  <a:cubicBezTo>
                    <a:pt x="1057" y="2818"/>
                    <a:pt x="1089" y="2778"/>
                    <a:pt x="1121" y="2738"/>
                  </a:cubicBezTo>
                  <a:cubicBezTo>
                    <a:pt x="1159" y="2691"/>
                    <a:pt x="1197" y="2644"/>
                    <a:pt x="1236" y="2597"/>
                  </a:cubicBezTo>
                  <a:cubicBezTo>
                    <a:pt x="1437" y="2356"/>
                    <a:pt x="1658" y="2114"/>
                    <a:pt x="1896" y="1875"/>
                  </a:cubicBezTo>
                  <a:cubicBezTo>
                    <a:pt x="2134" y="1637"/>
                    <a:pt x="2376" y="1417"/>
                    <a:pt x="2618" y="1215"/>
                  </a:cubicBezTo>
                  <a:cubicBezTo>
                    <a:pt x="2665" y="1176"/>
                    <a:pt x="2712" y="1138"/>
                    <a:pt x="2759" y="1101"/>
                  </a:cubicBezTo>
                  <a:cubicBezTo>
                    <a:pt x="2799" y="1068"/>
                    <a:pt x="2839" y="1037"/>
                    <a:pt x="2878" y="1006"/>
                  </a:cubicBezTo>
                  <a:cubicBezTo>
                    <a:pt x="3280" y="693"/>
                    <a:pt x="3675" y="437"/>
                    <a:pt x="4045" y="246"/>
                  </a:cubicBezTo>
                  <a:cubicBezTo>
                    <a:pt x="4065" y="236"/>
                    <a:pt x="4084" y="226"/>
                    <a:pt x="4104" y="217"/>
                  </a:cubicBezTo>
                  <a:cubicBezTo>
                    <a:pt x="4122" y="208"/>
                    <a:pt x="4141" y="198"/>
                    <a:pt x="4159" y="189"/>
                  </a:cubicBezTo>
                  <a:cubicBezTo>
                    <a:pt x="4309" y="116"/>
                    <a:pt x="4453" y="55"/>
                    <a:pt x="4592" y="6"/>
                  </a:cubicBezTo>
                  <a:cubicBezTo>
                    <a:pt x="4427" y="0"/>
                    <a:pt x="4262" y="3"/>
                    <a:pt x="4098" y="16"/>
                  </a:cubicBezTo>
                  <a:cubicBezTo>
                    <a:pt x="4085" y="17"/>
                    <a:pt x="4072" y="18"/>
                    <a:pt x="4059" y="19"/>
                  </a:cubicBezTo>
                  <a:cubicBezTo>
                    <a:pt x="4051" y="22"/>
                    <a:pt x="4043" y="26"/>
                    <a:pt x="4034" y="29"/>
                  </a:cubicBezTo>
                  <a:cubicBezTo>
                    <a:pt x="4019" y="35"/>
                    <a:pt x="4003" y="42"/>
                    <a:pt x="3987" y="49"/>
                  </a:cubicBezTo>
                  <a:cubicBezTo>
                    <a:pt x="3983" y="50"/>
                    <a:pt x="3980" y="51"/>
                    <a:pt x="3976" y="53"/>
                  </a:cubicBezTo>
                  <a:cubicBezTo>
                    <a:pt x="3689" y="174"/>
                    <a:pt x="3362" y="358"/>
                    <a:pt x="3018" y="598"/>
                  </a:cubicBezTo>
                  <a:cubicBezTo>
                    <a:pt x="2995" y="613"/>
                    <a:pt x="2973" y="628"/>
                    <a:pt x="2950" y="644"/>
                  </a:cubicBezTo>
                  <a:cubicBezTo>
                    <a:pt x="2926" y="661"/>
                    <a:pt x="2902" y="680"/>
                    <a:pt x="2877" y="698"/>
                  </a:cubicBezTo>
                  <a:cubicBezTo>
                    <a:pt x="2499" y="973"/>
                    <a:pt x="2103" y="1309"/>
                    <a:pt x="1717" y="1696"/>
                  </a:cubicBezTo>
                  <a:cubicBezTo>
                    <a:pt x="1330" y="2082"/>
                    <a:pt x="994" y="2478"/>
                    <a:pt x="718" y="2856"/>
                  </a:cubicBezTo>
                  <a:cubicBezTo>
                    <a:pt x="701" y="2881"/>
                    <a:pt x="682" y="2905"/>
                    <a:pt x="665" y="2929"/>
                  </a:cubicBezTo>
                  <a:cubicBezTo>
                    <a:pt x="649" y="2952"/>
                    <a:pt x="634" y="2974"/>
                    <a:pt x="618" y="2997"/>
                  </a:cubicBezTo>
                  <a:cubicBezTo>
                    <a:pt x="379" y="3341"/>
                    <a:pt x="195" y="3668"/>
                    <a:pt x="74" y="3955"/>
                  </a:cubicBezTo>
                  <a:cubicBezTo>
                    <a:pt x="66" y="3975"/>
                    <a:pt x="57" y="3994"/>
                    <a:pt x="50" y="4013"/>
                  </a:cubicBezTo>
                  <a:cubicBezTo>
                    <a:pt x="42" y="4032"/>
                    <a:pt x="35" y="4051"/>
                    <a:pt x="28" y="4070"/>
                  </a:cubicBezTo>
                  <a:cubicBezTo>
                    <a:pt x="24" y="4080"/>
                    <a:pt x="21" y="4090"/>
                    <a:pt x="17" y="4101"/>
                  </a:cubicBezTo>
                  <a:cubicBezTo>
                    <a:pt x="4" y="4276"/>
                    <a:pt x="0" y="4452"/>
                    <a:pt x="8" y="4629"/>
                  </a:cubicBezTo>
                  <a:cubicBezTo>
                    <a:pt x="60" y="4472"/>
                    <a:pt x="127" y="4309"/>
                    <a:pt x="210" y="4138"/>
                  </a:cubicBezTo>
                  <a:cubicBezTo>
                    <a:pt x="219" y="4120"/>
                    <a:pt x="228" y="4101"/>
                    <a:pt x="238" y="4083"/>
                  </a:cubicBezTo>
                  <a:cubicBezTo>
                    <a:pt x="247" y="4063"/>
                    <a:pt x="257" y="4044"/>
                    <a:pt x="267" y="40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6" name="Freeform 8">
              <a:extLst>
                <a:ext uri="{FF2B5EF4-FFF2-40B4-BE49-F238E27FC236}">
                  <a16:creationId xmlns:a16="http://schemas.microsoft.com/office/drawing/2014/main" id="{3377C1A4-0564-4448-BF92-C18ABDBCE824}"/>
                </a:ext>
              </a:extLst>
            </p:cNvPr>
            <p:cNvSpPr>
              <a:spLocks/>
            </p:cNvSpPr>
            <p:nvPr/>
          </p:nvSpPr>
          <p:spPr bwMode="auto">
            <a:xfrm>
              <a:off x="3736728" y="524050"/>
              <a:ext cx="4067755" cy="4096401"/>
            </a:xfrm>
            <a:custGeom>
              <a:avLst/>
              <a:gdLst>
                <a:gd name="T0" fmla="*/ 711 w 6120"/>
                <a:gd name="T1" fmla="*/ 4802 h 6162"/>
                <a:gd name="T2" fmla="*/ 755 w 6120"/>
                <a:gd name="T3" fmla="*/ 4721 h 6162"/>
                <a:gd name="T4" fmla="*/ 2492 w 6120"/>
                <a:gd name="T5" fmla="*/ 2487 h 6162"/>
                <a:gd name="T6" fmla="*/ 4726 w 6120"/>
                <a:gd name="T7" fmla="*/ 750 h 6162"/>
                <a:gd name="T8" fmla="*/ 4807 w 6120"/>
                <a:gd name="T9" fmla="*/ 706 h 6162"/>
                <a:gd name="T10" fmla="*/ 4883 w 6120"/>
                <a:gd name="T11" fmla="*/ 666 h 6162"/>
                <a:gd name="T12" fmla="*/ 5747 w 6120"/>
                <a:gd name="T13" fmla="*/ 308 h 6162"/>
                <a:gd name="T14" fmla="*/ 5804 w 6120"/>
                <a:gd name="T15" fmla="*/ 292 h 6162"/>
                <a:gd name="T16" fmla="*/ 5862 w 6120"/>
                <a:gd name="T17" fmla="*/ 276 h 6162"/>
                <a:gd name="T18" fmla="*/ 6120 w 6120"/>
                <a:gd name="T19" fmla="*/ 226 h 6162"/>
                <a:gd name="T20" fmla="*/ 5817 w 6120"/>
                <a:gd name="T21" fmla="*/ 96 h 6162"/>
                <a:gd name="T22" fmla="*/ 5740 w 6120"/>
                <a:gd name="T23" fmla="*/ 67 h 6162"/>
                <a:gd name="T24" fmla="*/ 5659 w 6120"/>
                <a:gd name="T25" fmla="*/ 37 h 6162"/>
                <a:gd name="T26" fmla="*/ 5541 w 6120"/>
                <a:gd name="T27" fmla="*/ 0 h 6162"/>
                <a:gd name="T28" fmla="*/ 4988 w 6120"/>
                <a:gd name="T29" fmla="*/ 131 h 6162"/>
                <a:gd name="T30" fmla="*/ 4928 w 6120"/>
                <a:gd name="T31" fmla="*/ 153 h 6162"/>
                <a:gd name="T32" fmla="*/ 4868 w 6120"/>
                <a:gd name="T33" fmla="*/ 175 h 6162"/>
                <a:gd name="T34" fmla="*/ 3700 w 6120"/>
                <a:gd name="T35" fmla="*/ 791 h 6162"/>
                <a:gd name="T36" fmla="*/ 3593 w 6120"/>
                <a:gd name="T37" fmla="*/ 862 h 6162"/>
                <a:gd name="T38" fmla="*/ 3473 w 6120"/>
                <a:gd name="T39" fmla="*/ 946 h 6162"/>
                <a:gd name="T40" fmla="*/ 2108 w 6120"/>
                <a:gd name="T41" fmla="*/ 2103 h 6162"/>
                <a:gd name="T42" fmla="*/ 951 w 6120"/>
                <a:gd name="T43" fmla="*/ 3469 h 6162"/>
                <a:gd name="T44" fmla="*/ 866 w 6120"/>
                <a:gd name="T45" fmla="*/ 3588 h 6162"/>
                <a:gd name="T46" fmla="*/ 796 w 6120"/>
                <a:gd name="T47" fmla="*/ 3695 h 6162"/>
                <a:gd name="T48" fmla="*/ 180 w 6120"/>
                <a:gd name="T49" fmla="*/ 4863 h 6162"/>
                <a:gd name="T50" fmla="*/ 157 w 6120"/>
                <a:gd name="T51" fmla="*/ 4924 h 6162"/>
                <a:gd name="T52" fmla="*/ 136 w 6120"/>
                <a:gd name="T53" fmla="*/ 4983 h 6162"/>
                <a:gd name="T54" fmla="*/ 0 w 6120"/>
                <a:gd name="T55" fmla="*/ 5601 h 6162"/>
                <a:gd name="T56" fmla="*/ 9 w 6120"/>
                <a:gd name="T57" fmla="*/ 5631 h 6162"/>
                <a:gd name="T58" fmla="*/ 39 w 6120"/>
                <a:gd name="T59" fmla="*/ 5719 h 6162"/>
                <a:gd name="T60" fmla="*/ 69 w 6120"/>
                <a:gd name="T61" fmla="*/ 5799 h 6162"/>
                <a:gd name="T62" fmla="*/ 225 w 6120"/>
                <a:gd name="T63" fmla="*/ 6162 h 6162"/>
                <a:gd name="T64" fmla="*/ 282 w 6120"/>
                <a:gd name="T65" fmla="*/ 5857 h 6162"/>
                <a:gd name="T66" fmla="*/ 297 w 6120"/>
                <a:gd name="T67" fmla="*/ 5799 h 6162"/>
                <a:gd name="T68" fmla="*/ 313 w 6120"/>
                <a:gd name="T69" fmla="*/ 5742 h 6162"/>
                <a:gd name="T70" fmla="*/ 671 w 6120"/>
                <a:gd name="T71" fmla="*/ 4877 h 6162"/>
                <a:gd name="T72" fmla="*/ 711 w 6120"/>
                <a:gd name="T73" fmla="*/ 4802 h 6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20" h="6162">
                  <a:moveTo>
                    <a:pt x="711" y="4802"/>
                  </a:moveTo>
                  <a:cubicBezTo>
                    <a:pt x="726" y="4775"/>
                    <a:pt x="740" y="4748"/>
                    <a:pt x="755" y="4721"/>
                  </a:cubicBezTo>
                  <a:cubicBezTo>
                    <a:pt x="1151" y="4012"/>
                    <a:pt x="1746" y="3234"/>
                    <a:pt x="2492" y="2487"/>
                  </a:cubicBezTo>
                  <a:cubicBezTo>
                    <a:pt x="3239" y="1741"/>
                    <a:pt x="4017" y="1146"/>
                    <a:pt x="4726" y="750"/>
                  </a:cubicBezTo>
                  <a:cubicBezTo>
                    <a:pt x="4753" y="735"/>
                    <a:pt x="4780" y="721"/>
                    <a:pt x="4807" y="706"/>
                  </a:cubicBezTo>
                  <a:cubicBezTo>
                    <a:pt x="4832" y="693"/>
                    <a:pt x="4857" y="679"/>
                    <a:pt x="4883" y="666"/>
                  </a:cubicBezTo>
                  <a:cubicBezTo>
                    <a:pt x="5189" y="506"/>
                    <a:pt x="5480" y="385"/>
                    <a:pt x="5747" y="308"/>
                  </a:cubicBezTo>
                  <a:cubicBezTo>
                    <a:pt x="5766" y="302"/>
                    <a:pt x="5785" y="297"/>
                    <a:pt x="5804" y="292"/>
                  </a:cubicBezTo>
                  <a:cubicBezTo>
                    <a:pt x="5824" y="286"/>
                    <a:pt x="5843" y="281"/>
                    <a:pt x="5862" y="276"/>
                  </a:cubicBezTo>
                  <a:cubicBezTo>
                    <a:pt x="5951" y="254"/>
                    <a:pt x="6037" y="238"/>
                    <a:pt x="6120" y="226"/>
                  </a:cubicBezTo>
                  <a:cubicBezTo>
                    <a:pt x="6020" y="179"/>
                    <a:pt x="5919" y="136"/>
                    <a:pt x="5817" y="96"/>
                  </a:cubicBezTo>
                  <a:cubicBezTo>
                    <a:pt x="5791" y="86"/>
                    <a:pt x="5766" y="76"/>
                    <a:pt x="5740" y="67"/>
                  </a:cubicBezTo>
                  <a:cubicBezTo>
                    <a:pt x="5713" y="57"/>
                    <a:pt x="5686" y="47"/>
                    <a:pt x="5659" y="37"/>
                  </a:cubicBezTo>
                  <a:cubicBezTo>
                    <a:pt x="5620" y="24"/>
                    <a:pt x="5580" y="12"/>
                    <a:pt x="5541" y="0"/>
                  </a:cubicBezTo>
                  <a:cubicBezTo>
                    <a:pt x="5373" y="19"/>
                    <a:pt x="5187" y="62"/>
                    <a:pt x="4988" y="131"/>
                  </a:cubicBezTo>
                  <a:cubicBezTo>
                    <a:pt x="4969" y="137"/>
                    <a:pt x="4948" y="145"/>
                    <a:pt x="4928" y="153"/>
                  </a:cubicBezTo>
                  <a:cubicBezTo>
                    <a:pt x="4909" y="160"/>
                    <a:pt x="4888" y="168"/>
                    <a:pt x="4868" y="175"/>
                  </a:cubicBezTo>
                  <a:cubicBezTo>
                    <a:pt x="4509" y="311"/>
                    <a:pt x="4113" y="520"/>
                    <a:pt x="3700" y="791"/>
                  </a:cubicBezTo>
                  <a:cubicBezTo>
                    <a:pt x="3665" y="815"/>
                    <a:pt x="3629" y="837"/>
                    <a:pt x="3593" y="862"/>
                  </a:cubicBezTo>
                  <a:cubicBezTo>
                    <a:pt x="3554" y="889"/>
                    <a:pt x="3513" y="918"/>
                    <a:pt x="3473" y="946"/>
                  </a:cubicBezTo>
                  <a:cubicBezTo>
                    <a:pt x="3022" y="1264"/>
                    <a:pt x="2557" y="1653"/>
                    <a:pt x="2108" y="2103"/>
                  </a:cubicBezTo>
                  <a:cubicBezTo>
                    <a:pt x="1657" y="2553"/>
                    <a:pt x="1269" y="3017"/>
                    <a:pt x="951" y="3469"/>
                  </a:cubicBezTo>
                  <a:cubicBezTo>
                    <a:pt x="922" y="3509"/>
                    <a:pt x="893" y="3549"/>
                    <a:pt x="866" y="3588"/>
                  </a:cubicBezTo>
                  <a:cubicBezTo>
                    <a:pt x="842" y="3624"/>
                    <a:pt x="819" y="3660"/>
                    <a:pt x="796" y="3695"/>
                  </a:cubicBezTo>
                  <a:cubicBezTo>
                    <a:pt x="525" y="4108"/>
                    <a:pt x="316" y="4504"/>
                    <a:pt x="180" y="4863"/>
                  </a:cubicBezTo>
                  <a:cubicBezTo>
                    <a:pt x="173" y="4883"/>
                    <a:pt x="165" y="4904"/>
                    <a:pt x="157" y="4924"/>
                  </a:cubicBezTo>
                  <a:cubicBezTo>
                    <a:pt x="150" y="4943"/>
                    <a:pt x="142" y="4964"/>
                    <a:pt x="136" y="4983"/>
                  </a:cubicBezTo>
                  <a:cubicBezTo>
                    <a:pt x="58" y="5209"/>
                    <a:pt x="13" y="5416"/>
                    <a:pt x="0" y="5601"/>
                  </a:cubicBezTo>
                  <a:cubicBezTo>
                    <a:pt x="3" y="5611"/>
                    <a:pt x="6" y="5621"/>
                    <a:pt x="9" y="5631"/>
                  </a:cubicBezTo>
                  <a:cubicBezTo>
                    <a:pt x="19" y="5660"/>
                    <a:pt x="29" y="5690"/>
                    <a:pt x="39" y="5719"/>
                  </a:cubicBezTo>
                  <a:cubicBezTo>
                    <a:pt x="49" y="5746"/>
                    <a:pt x="59" y="5772"/>
                    <a:pt x="69" y="5799"/>
                  </a:cubicBezTo>
                  <a:cubicBezTo>
                    <a:pt x="116" y="5922"/>
                    <a:pt x="168" y="6043"/>
                    <a:pt x="225" y="6162"/>
                  </a:cubicBezTo>
                  <a:cubicBezTo>
                    <a:pt x="236" y="6065"/>
                    <a:pt x="255" y="5963"/>
                    <a:pt x="282" y="5857"/>
                  </a:cubicBezTo>
                  <a:cubicBezTo>
                    <a:pt x="286" y="5838"/>
                    <a:pt x="291" y="5819"/>
                    <a:pt x="297" y="5799"/>
                  </a:cubicBezTo>
                  <a:cubicBezTo>
                    <a:pt x="302" y="5780"/>
                    <a:pt x="307" y="5761"/>
                    <a:pt x="313" y="5742"/>
                  </a:cubicBezTo>
                  <a:cubicBezTo>
                    <a:pt x="390" y="5475"/>
                    <a:pt x="511" y="5184"/>
                    <a:pt x="671" y="4877"/>
                  </a:cubicBezTo>
                  <a:cubicBezTo>
                    <a:pt x="684" y="4852"/>
                    <a:pt x="698" y="4827"/>
                    <a:pt x="711" y="48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7" name="Freeform 9">
              <a:extLst>
                <a:ext uri="{FF2B5EF4-FFF2-40B4-BE49-F238E27FC236}">
                  <a16:creationId xmlns:a16="http://schemas.microsoft.com/office/drawing/2014/main" id="{6EC9FAE3-1492-416A-BCFC-66F77187622F}"/>
                </a:ext>
              </a:extLst>
            </p:cNvPr>
            <p:cNvSpPr>
              <a:spLocks/>
            </p:cNvSpPr>
            <p:nvPr/>
          </p:nvSpPr>
          <p:spPr bwMode="auto">
            <a:xfrm>
              <a:off x="4160964" y="945558"/>
              <a:ext cx="4516544" cy="4545190"/>
            </a:xfrm>
            <a:custGeom>
              <a:avLst/>
              <a:gdLst>
                <a:gd name="T0" fmla="*/ 6710 w 6796"/>
                <a:gd name="T1" fmla="*/ 461 h 6838"/>
                <a:gd name="T2" fmla="*/ 6619 w 6796"/>
                <a:gd name="T3" fmla="*/ 375 h 6838"/>
                <a:gd name="T4" fmla="*/ 6553 w 6796"/>
                <a:gd name="T5" fmla="*/ 312 h 6838"/>
                <a:gd name="T6" fmla="*/ 6484 w 6796"/>
                <a:gd name="T7" fmla="*/ 252 h 6838"/>
                <a:gd name="T8" fmla="*/ 6170 w 6796"/>
                <a:gd name="T9" fmla="*/ 1 h 6838"/>
                <a:gd name="T10" fmla="*/ 6125 w 6796"/>
                <a:gd name="T11" fmla="*/ 0 h 6838"/>
                <a:gd name="T12" fmla="*/ 5991 w 6796"/>
                <a:gd name="T13" fmla="*/ 6 h 6838"/>
                <a:gd name="T14" fmla="*/ 5933 w 6796"/>
                <a:gd name="T15" fmla="*/ 11 h 6838"/>
                <a:gd name="T16" fmla="*/ 5874 w 6796"/>
                <a:gd name="T17" fmla="*/ 18 h 6838"/>
                <a:gd name="T18" fmla="*/ 5184 w 6796"/>
                <a:gd name="T19" fmla="*/ 205 h 6838"/>
                <a:gd name="T20" fmla="*/ 5119 w 6796"/>
                <a:gd name="T21" fmla="*/ 231 h 6838"/>
                <a:gd name="T22" fmla="*/ 5050 w 6796"/>
                <a:gd name="T23" fmla="*/ 259 h 6838"/>
                <a:gd name="T24" fmla="*/ 3758 w 6796"/>
                <a:gd name="T25" fmla="*/ 987 h 6838"/>
                <a:gd name="T26" fmla="*/ 3625 w 6796"/>
                <a:gd name="T27" fmla="*/ 1081 h 6838"/>
                <a:gd name="T28" fmla="*/ 3479 w 6796"/>
                <a:gd name="T29" fmla="*/ 1189 h 6838"/>
                <a:gd name="T30" fmla="*/ 2254 w 6796"/>
                <a:gd name="T31" fmla="*/ 2254 h 6838"/>
                <a:gd name="T32" fmla="*/ 1188 w 6796"/>
                <a:gd name="T33" fmla="*/ 3479 h 6838"/>
                <a:gd name="T34" fmla="*/ 1081 w 6796"/>
                <a:gd name="T35" fmla="*/ 3626 h 6838"/>
                <a:gd name="T36" fmla="*/ 987 w 6796"/>
                <a:gd name="T37" fmla="*/ 3758 h 6838"/>
                <a:gd name="T38" fmla="*/ 259 w 6796"/>
                <a:gd name="T39" fmla="*/ 5050 h 6838"/>
                <a:gd name="T40" fmla="*/ 231 w 6796"/>
                <a:gd name="T41" fmla="*/ 5119 h 6838"/>
                <a:gd name="T42" fmla="*/ 205 w 6796"/>
                <a:gd name="T43" fmla="*/ 5184 h 6838"/>
                <a:gd name="T44" fmla="*/ 18 w 6796"/>
                <a:gd name="T45" fmla="*/ 5874 h 6838"/>
                <a:gd name="T46" fmla="*/ 11 w 6796"/>
                <a:gd name="T47" fmla="*/ 5933 h 6838"/>
                <a:gd name="T48" fmla="*/ 6 w 6796"/>
                <a:gd name="T49" fmla="*/ 5991 h 6838"/>
                <a:gd name="T50" fmla="*/ 0 w 6796"/>
                <a:gd name="T51" fmla="*/ 6125 h 6838"/>
                <a:gd name="T52" fmla="*/ 3 w 6796"/>
                <a:gd name="T53" fmla="*/ 6220 h 6838"/>
                <a:gd name="T54" fmla="*/ 208 w 6796"/>
                <a:gd name="T55" fmla="*/ 6475 h 6838"/>
                <a:gd name="T56" fmla="*/ 270 w 6796"/>
                <a:gd name="T57" fmla="*/ 6547 h 6838"/>
                <a:gd name="T58" fmla="*/ 332 w 6796"/>
                <a:gd name="T59" fmla="*/ 6615 h 6838"/>
                <a:gd name="T60" fmla="*/ 442 w 6796"/>
                <a:gd name="T61" fmla="*/ 6729 h 6838"/>
                <a:gd name="T62" fmla="*/ 556 w 6796"/>
                <a:gd name="T63" fmla="*/ 6838 h 6838"/>
                <a:gd name="T64" fmla="*/ 548 w 6796"/>
                <a:gd name="T65" fmla="*/ 6702 h 6838"/>
                <a:gd name="T66" fmla="*/ 551 w 6796"/>
                <a:gd name="T67" fmla="*/ 6619 h 6838"/>
                <a:gd name="T68" fmla="*/ 556 w 6796"/>
                <a:gd name="T69" fmla="*/ 6560 h 6838"/>
                <a:gd name="T70" fmla="*/ 561 w 6796"/>
                <a:gd name="T71" fmla="*/ 6501 h 6838"/>
                <a:gd name="T72" fmla="*/ 700 w 6796"/>
                <a:gd name="T73" fmla="*/ 5918 h 6838"/>
                <a:gd name="T74" fmla="*/ 724 w 6796"/>
                <a:gd name="T75" fmla="*/ 5852 h 6838"/>
                <a:gd name="T76" fmla="*/ 750 w 6796"/>
                <a:gd name="T77" fmla="*/ 5782 h 6838"/>
                <a:gd name="T78" fmla="*/ 1285 w 6796"/>
                <a:gd name="T79" fmla="*/ 4735 h 6838"/>
                <a:gd name="T80" fmla="*/ 1353 w 6796"/>
                <a:gd name="T81" fmla="*/ 4628 h 6838"/>
                <a:gd name="T82" fmla="*/ 1430 w 6796"/>
                <a:gd name="T83" fmla="*/ 4511 h 6838"/>
                <a:gd name="T84" fmla="*/ 2828 w 6796"/>
                <a:gd name="T85" fmla="*/ 2828 h 6838"/>
                <a:gd name="T86" fmla="*/ 4511 w 6796"/>
                <a:gd name="T87" fmla="*/ 1430 h 6838"/>
                <a:gd name="T88" fmla="*/ 4627 w 6796"/>
                <a:gd name="T89" fmla="*/ 1354 h 6838"/>
                <a:gd name="T90" fmla="*/ 4735 w 6796"/>
                <a:gd name="T91" fmla="*/ 1285 h 6838"/>
                <a:gd name="T92" fmla="*/ 5781 w 6796"/>
                <a:gd name="T93" fmla="*/ 750 h 6838"/>
                <a:gd name="T94" fmla="*/ 5851 w 6796"/>
                <a:gd name="T95" fmla="*/ 724 h 6838"/>
                <a:gd name="T96" fmla="*/ 5918 w 6796"/>
                <a:gd name="T97" fmla="*/ 700 h 6838"/>
                <a:gd name="T98" fmla="*/ 6501 w 6796"/>
                <a:gd name="T99" fmla="*/ 561 h 6838"/>
                <a:gd name="T100" fmla="*/ 6560 w 6796"/>
                <a:gd name="T101" fmla="*/ 556 h 6838"/>
                <a:gd name="T102" fmla="*/ 6620 w 6796"/>
                <a:gd name="T103" fmla="*/ 551 h 6838"/>
                <a:gd name="T104" fmla="*/ 6702 w 6796"/>
                <a:gd name="T105" fmla="*/ 548 h 6838"/>
                <a:gd name="T106" fmla="*/ 6796 w 6796"/>
                <a:gd name="T107" fmla="*/ 552 h 6838"/>
                <a:gd name="T108" fmla="*/ 6710 w 6796"/>
                <a:gd name="T109" fmla="*/ 461 h 6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796" h="6838">
                  <a:moveTo>
                    <a:pt x="6710" y="461"/>
                  </a:moveTo>
                  <a:cubicBezTo>
                    <a:pt x="6680" y="431"/>
                    <a:pt x="6649" y="403"/>
                    <a:pt x="6619" y="375"/>
                  </a:cubicBezTo>
                  <a:cubicBezTo>
                    <a:pt x="6597" y="354"/>
                    <a:pt x="6575" y="332"/>
                    <a:pt x="6553" y="312"/>
                  </a:cubicBezTo>
                  <a:cubicBezTo>
                    <a:pt x="6530" y="291"/>
                    <a:pt x="6507" y="272"/>
                    <a:pt x="6484" y="252"/>
                  </a:cubicBezTo>
                  <a:cubicBezTo>
                    <a:pt x="6382" y="163"/>
                    <a:pt x="6278" y="79"/>
                    <a:pt x="6170" y="1"/>
                  </a:cubicBezTo>
                  <a:cubicBezTo>
                    <a:pt x="6155" y="1"/>
                    <a:pt x="6140" y="0"/>
                    <a:pt x="6125" y="0"/>
                  </a:cubicBezTo>
                  <a:cubicBezTo>
                    <a:pt x="6082" y="0"/>
                    <a:pt x="6037" y="2"/>
                    <a:pt x="5991" y="6"/>
                  </a:cubicBezTo>
                  <a:cubicBezTo>
                    <a:pt x="5972" y="7"/>
                    <a:pt x="5953" y="9"/>
                    <a:pt x="5933" y="11"/>
                  </a:cubicBezTo>
                  <a:cubicBezTo>
                    <a:pt x="5914" y="13"/>
                    <a:pt x="5894" y="15"/>
                    <a:pt x="5874" y="18"/>
                  </a:cubicBezTo>
                  <a:cubicBezTo>
                    <a:pt x="5664" y="47"/>
                    <a:pt x="5432" y="110"/>
                    <a:pt x="5184" y="205"/>
                  </a:cubicBezTo>
                  <a:cubicBezTo>
                    <a:pt x="5162" y="214"/>
                    <a:pt x="5141" y="222"/>
                    <a:pt x="5119" y="231"/>
                  </a:cubicBezTo>
                  <a:cubicBezTo>
                    <a:pt x="5096" y="240"/>
                    <a:pt x="5073" y="249"/>
                    <a:pt x="5050" y="259"/>
                  </a:cubicBezTo>
                  <a:cubicBezTo>
                    <a:pt x="4649" y="427"/>
                    <a:pt x="4210" y="673"/>
                    <a:pt x="3758" y="987"/>
                  </a:cubicBezTo>
                  <a:cubicBezTo>
                    <a:pt x="3714" y="1018"/>
                    <a:pt x="3670" y="1049"/>
                    <a:pt x="3625" y="1081"/>
                  </a:cubicBezTo>
                  <a:cubicBezTo>
                    <a:pt x="3576" y="1116"/>
                    <a:pt x="3528" y="1152"/>
                    <a:pt x="3479" y="1189"/>
                  </a:cubicBezTo>
                  <a:cubicBezTo>
                    <a:pt x="3071" y="1494"/>
                    <a:pt x="2657" y="1851"/>
                    <a:pt x="2254" y="2254"/>
                  </a:cubicBezTo>
                  <a:cubicBezTo>
                    <a:pt x="1851" y="2657"/>
                    <a:pt x="1494" y="3071"/>
                    <a:pt x="1188" y="3479"/>
                  </a:cubicBezTo>
                  <a:cubicBezTo>
                    <a:pt x="1151" y="3528"/>
                    <a:pt x="1116" y="3577"/>
                    <a:pt x="1081" y="3626"/>
                  </a:cubicBezTo>
                  <a:cubicBezTo>
                    <a:pt x="1049" y="3670"/>
                    <a:pt x="1017" y="3714"/>
                    <a:pt x="987" y="3758"/>
                  </a:cubicBezTo>
                  <a:cubicBezTo>
                    <a:pt x="673" y="4210"/>
                    <a:pt x="427" y="4649"/>
                    <a:pt x="259" y="5050"/>
                  </a:cubicBezTo>
                  <a:cubicBezTo>
                    <a:pt x="249" y="5073"/>
                    <a:pt x="240" y="5096"/>
                    <a:pt x="231" y="5119"/>
                  </a:cubicBezTo>
                  <a:cubicBezTo>
                    <a:pt x="222" y="5141"/>
                    <a:pt x="214" y="5162"/>
                    <a:pt x="205" y="5184"/>
                  </a:cubicBezTo>
                  <a:cubicBezTo>
                    <a:pt x="110" y="5432"/>
                    <a:pt x="47" y="5665"/>
                    <a:pt x="18" y="5874"/>
                  </a:cubicBezTo>
                  <a:cubicBezTo>
                    <a:pt x="15" y="5894"/>
                    <a:pt x="13" y="5914"/>
                    <a:pt x="11" y="5933"/>
                  </a:cubicBezTo>
                  <a:cubicBezTo>
                    <a:pt x="8" y="5953"/>
                    <a:pt x="7" y="5972"/>
                    <a:pt x="6" y="5991"/>
                  </a:cubicBezTo>
                  <a:cubicBezTo>
                    <a:pt x="2" y="6037"/>
                    <a:pt x="0" y="6082"/>
                    <a:pt x="0" y="6125"/>
                  </a:cubicBezTo>
                  <a:cubicBezTo>
                    <a:pt x="0" y="6157"/>
                    <a:pt x="1" y="6189"/>
                    <a:pt x="3" y="6220"/>
                  </a:cubicBezTo>
                  <a:cubicBezTo>
                    <a:pt x="67" y="6307"/>
                    <a:pt x="136" y="6392"/>
                    <a:pt x="208" y="6475"/>
                  </a:cubicBezTo>
                  <a:cubicBezTo>
                    <a:pt x="228" y="6499"/>
                    <a:pt x="249" y="6524"/>
                    <a:pt x="270" y="6547"/>
                  </a:cubicBezTo>
                  <a:cubicBezTo>
                    <a:pt x="290" y="6570"/>
                    <a:pt x="312" y="6592"/>
                    <a:pt x="332" y="6615"/>
                  </a:cubicBezTo>
                  <a:cubicBezTo>
                    <a:pt x="368" y="6653"/>
                    <a:pt x="404" y="6692"/>
                    <a:pt x="442" y="6729"/>
                  </a:cubicBezTo>
                  <a:cubicBezTo>
                    <a:pt x="479" y="6767"/>
                    <a:pt x="517" y="6802"/>
                    <a:pt x="556" y="6838"/>
                  </a:cubicBezTo>
                  <a:cubicBezTo>
                    <a:pt x="551" y="6794"/>
                    <a:pt x="548" y="6749"/>
                    <a:pt x="548" y="6702"/>
                  </a:cubicBezTo>
                  <a:cubicBezTo>
                    <a:pt x="548" y="6675"/>
                    <a:pt x="550" y="6647"/>
                    <a:pt x="551" y="6619"/>
                  </a:cubicBezTo>
                  <a:cubicBezTo>
                    <a:pt x="552" y="6600"/>
                    <a:pt x="554" y="6580"/>
                    <a:pt x="556" y="6560"/>
                  </a:cubicBezTo>
                  <a:cubicBezTo>
                    <a:pt x="557" y="6541"/>
                    <a:pt x="559" y="6521"/>
                    <a:pt x="561" y="6501"/>
                  </a:cubicBezTo>
                  <a:cubicBezTo>
                    <a:pt x="582" y="6322"/>
                    <a:pt x="629" y="6126"/>
                    <a:pt x="700" y="5918"/>
                  </a:cubicBezTo>
                  <a:cubicBezTo>
                    <a:pt x="708" y="5896"/>
                    <a:pt x="716" y="5874"/>
                    <a:pt x="724" y="5852"/>
                  </a:cubicBezTo>
                  <a:cubicBezTo>
                    <a:pt x="733" y="5828"/>
                    <a:pt x="741" y="5805"/>
                    <a:pt x="750" y="5782"/>
                  </a:cubicBezTo>
                  <a:cubicBezTo>
                    <a:pt x="875" y="5455"/>
                    <a:pt x="1056" y="5102"/>
                    <a:pt x="1285" y="4735"/>
                  </a:cubicBezTo>
                  <a:cubicBezTo>
                    <a:pt x="1308" y="4699"/>
                    <a:pt x="1330" y="4664"/>
                    <a:pt x="1353" y="4628"/>
                  </a:cubicBezTo>
                  <a:cubicBezTo>
                    <a:pt x="1378" y="4589"/>
                    <a:pt x="1404" y="4550"/>
                    <a:pt x="1430" y="4511"/>
                  </a:cubicBezTo>
                  <a:cubicBezTo>
                    <a:pt x="1799" y="3961"/>
                    <a:pt x="2271" y="3385"/>
                    <a:pt x="2828" y="2828"/>
                  </a:cubicBezTo>
                  <a:cubicBezTo>
                    <a:pt x="3385" y="2271"/>
                    <a:pt x="3960" y="1799"/>
                    <a:pt x="4511" y="1430"/>
                  </a:cubicBezTo>
                  <a:cubicBezTo>
                    <a:pt x="4550" y="1404"/>
                    <a:pt x="4589" y="1379"/>
                    <a:pt x="4627" y="1354"/>
                  </a:cubicBezTo>
                  <a:cubicBezTo>
                    <a:pt x="4663" y="1330"/>
                    <a:pt x="4699" y="1308"/>
                    <a:pt x="4735" y="1285"/>
                  </a:cubicBezTo>
                  <a:cubicBezTo>
                    <a:pt x="5102" y="1056"/>
                    <a:pt x="5455" y="875"/>
                    <a:pt x="5781" y="750"/>
                  </a:cubicBezTo>
                  <a:cubicBezTo>
                    <a:pt x="5805" y="741"/>
                    <a:pt x="5828" y="733"/>
                    <a:pt x="5851" y="724"/>
                  </a:cubicBezTo>
                  <a:cubicBezTo>
                    <a:pt x="5874" y="716"/>
                    <a:pt x="5896" y="708"/>
                    <a:pt x="5918" y="700"/>
                  </a:cubicBezTo>
                  <a:cubicBezTo>
                    <a:pt x="6126" y="629"/>
                    <a:pt x="6322" y="582"/>
                    <a:pt x="6501" y="561"/>
                  </a:cubicBezTo>
                  <a:cubicBezTo>
                    <a:pt x="6521" y="559"/>
                    <a:pt x="6541" y="557"/>
                    <a:pt x="6560" y="556"/>
                  </a:cubicBezTo>
                  <a:cubicBezTo>
                    <a:pt x="6580" y="554"/>
                    <a:pt x="6600" y="552"/>
                    <a:pt x="6620" y="551"/>
                  </a:cubicBezTo>
                  <a:cubicBezTo>
                    <a:pt x="6647" y="550"/>
                    <a:pt x="6675" y="549"/>
                    <a:pt x="6702" y="548"/>
                  </a:cubicBezTo>
                  <a:cubicBezTo>
                    <a:pt x="6734" y="548"/>
                    <a:pt x="6765" y="550"/>
                    <a:pt x="6796" y="552"/>
                  </a:cubicBezTo>
                  <a:cubicBezTo>
                    <a:pt x="6767" y="521"/>
                    <a:pt x="6739" y="491"/>
                    <a:pt x="6710" y="4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8" name="Freeform 10">
              <a:extLst>
                <a:ext uri="{FF2B5EF4-FFF2-40B4-BE49-F238E27FC236}">
                  <a16:creationId xmlns:a16="http://schemas.microsoft.com/office/drawing/2014/main" id="{54CE5925-9480-4C02-A7F9-3B31E37C904C}"/>
                </a:ext>
              </a:extLst>
            </p:cNvPr>
            <p:cNvSpPr>
              <a:spLocks/>
            </p:cNvSpPr>
            <p:nvPr/>
          </p:nvSpPr>
          <p:spPr bwMode="auto">
            <a:xfrm>
              <a:off x="3956348" y="740943"/>
              <a:ext cx="4194616" cy="4225990"/>
            </a:xfrm>
            <a:custGeom>
              <a:avLst/>
              <a:gdLst>
                <a:gd name="T0" fmla="*/ 1126 w 6312"/>
                <a:gd name="T1" fmla="*/ 4101 h 6355"/>
                <a:gd name="T2" fmla="*/ 1212 w 6312"/>
                <a:gd name="T3" fmla="*/ 3976 h 6355"/>
                <a:gd name="T4" fmla="*/ 2479 w 6312"/>
                <a:gd name="T5" fmla="*/ 2477 h 6355"/>
                <a:gd name="T6" fmla="*/ 3978 w 6312"/>
                <a:gd name="T7" fmla="*/ 1210 h 6355"/>
                <a:gd name="T8" fmla="*/ 4103 w 6312"/>
                <a:gd name="T9" fmla="*/ 1124 h 6355"/>
                <a:gd name="T10" fmla="*/ 4216 w 6312"/>
                <a:gd name="T11" fmla="*/ 1049 h 6355"/>
                <a:gd name="T12" fmla="*/ 5392 w 6312"/>
                <a:gd name="T13" fmla="*/ 423 h 6355"/>
                <a:gd name="T14" fmla="*/ 5456 w 6312"/>
                <a:gd name="T15" fmla="*/ 399 h 6355"/>
                <a:gd name="T16" fmla="*/ 5518 w 6312"/>
                <a:gd name="T17" fmla="*/ 376 h 6355"/>
                <a:gd name="T18" fmla="*/ 6164 w 6312"/>
                <a:gd name="T19" fmla="*/ 208 h 6355"/>
                <a:gd name="T20" fmla="*/ 6222 w 6312"/>
                <a:gd name="T21" fmla="*/ 201 h 6355"/>
                <a:gd name="T22" fmla="*/ 6281 w 6312"/>
                <a:gd name="T23" fmla="*/ 195 h 6355"/>
                <a:gd name="T24" fmla="*/ 6312 w 6312"/>
                <a:gd name="T25" fmla="*/ 193 h 6355"/>
                <a:gd name="T26" fmla="*/ 6276 w 6312"/>
                <a:gd name="T27" fmla="*/ 170 h 6355"/>
                <a:gd name="T28" fmla="*/ 6203 w 6312"/>
                <a:gd name="T29" fmla="*/ 124 h 6355"/>
                <a:gd name="T30" fmla="*/ 6122 w 6312"/>
                <a:gd name="T31" fmla="*/ 74 h 6355"/>
                <a:gd name="T32" fmla="*/ 5988 w 6312"/>
                <a:gd name="T33" fmla="*/ 0 h 6355"/>
                <a:gd name="T34" fmla="*/ 5542 w 6312"/>
                <a:gd name="T35" fmla="*/ 68 h 6355"/>
                <a:gd name="T36" fmla="*/ 5484 w 6312"/>
                <a:gd name="T37" fmla="*/ 83 h 6355"/>
                <a:gd name="T38" fmla="*/ 5425 w 6312"/>
                <a:gd name="T39" fmla="*/ 101 h 6355"/>
                <a:gd name="T40" fmla="*/ 4488 w 6312"/>
                <a:gd name="T41" fmla="*/ 508 h 6355"/>
                <a:gd name="T42" fmla="*/ 4405 w 6312"/>
                <a:gd name="T43" fmla="*/ 555 h 6355"/>
                <a:gd name="T44" fmla="*/ 4316 w 6312"/>
                <a:gd name="T45" fmla="*/ 606 h 6355"/>
                <a:gd name="T46" fmla="*/ 2245 w 6312"/>
                <a:gd name="T47" fmla="*/ 2243 h 6355"/>
                <a:gd name="T48" fmla="*/ 608 w 6312"/>
                <a:gd name="T49" fmla="*/ 4314 h 6355"/>
                <a:gd name="T50" fmla="*/ 557 w 6312"/>
                <a:gd name="T51" fmla="*/ 4404 h 6355"/>
                <a:gd name="T52" fmla="*/ 510 w 6312"/>
                <a:gd name="T53" fmla="*/ 4486 h 6355"/>
                <a:gd name="T54" fmla="*/ 103 w 6312"/>
                <a:gd name="T55" fmla="*/ 5423 h 6355"/>
                <a:gd name="T56" fmla="*/ 85 w 6312"/>
                <a:gd name="T57" fmla="*/ 5482 h 6355"/>
                <a:gd name="T58" fmla="*/ 70 w 6312"/>
                <a:gd name="T59" fmla="*/ 5540 h 6355"/>
                <a:gd name="T60" fmla="*/ 1 w 6312"/>
                <a:gd name="T61" fmla="*/ 6034 h 6355"/>
                <a:gd name="T62" fmla="*/ 1 w 6312"/>
                <a:gd name="T63" fmla="*/ 6039 h 6355"/>
                <a:gd name="T64" fmla="*/ 36 w 6312"/>
                <a:gd name="T65" fmla="*/ 6102 h 6355"/>
                <a:gd name="T66" fmla="*/ 85 w 6312"/>
                <a:gd name="T67" fmla="*/ 6186 h 6355"/>
                <a:gd name="T68" fmla="*/ 134 w 6312"/>
                <a:gd name="T69" fmla="*/ 6264 h 6355"/>
                <a:gd name="T70" fmla="*/ 192 w 6312"/>
                <a:gd name="T71" fmla="*/ 6355 h 6355"/>
                <a:gd name="T72" fmla="*/ 197 w 6312"/>
                <a:gd name="T73" fmla="*/ 6279 h 6355"/>
                <a:gd name="T74" fmla="*/ 203 w 6312"/>
                <a:gd name="T75" fmla="*/ 6220 h 6355"/>
                <a:gd name="T76" fmla="*/ 210 w 6312"/>
                <a:gd name="T77" fmla="*/ 6162 h 6355"/>
                <a:gd name="T78" fmla="*/ 378 w 6312"/>
                <a:gd name="T79" fmla="*/ 5516 h 6355"/>
                <a:gd name="T80" fmla="*/ 400 w 6312"/>
                <a:gd name="T81" fmla="*/ 5454 h 6355"/>
                <a:gd name="T82" fmla="*/ 425 w 6312"/>
                <a:gd name="T83" fmla="*/ 5390 h 6355"/>
                <a:gd name="T84" fmla="*/ 1050 w 6312"/>
                <a:gd name="T85" fmla="*/ 4214 h 6355"/>
                <a:gd name="T86" fmla="*/ 1126 w 6312"/>
                <a:gd name="T87" fmla="*/ 4101 h 6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2" h="6355">
                  <a:moveTo>
                    <a:pt x="1126" y="4101"/>
                  </a:moveTo>
                  <a:cubicBezTo>
                    <a:pt x="1154" y="4060"/>
                    <a:pt x="1183" y="4018"/>
                    <a:pt x="1212" y="3976"/>
                  </a:cubicBezTo>
                  <a:cubicBezTo>
                    <a:pt x="1559" y="3480"/>
                    <a:pt x="1986" y="2971"/>
                    <a:pt x="2479" y="2477"/>
                  </a:cubicBezTo>
                  <a:cubicBezTo>
                    <a:pt x="2973" y="1984"/>
                    <a:pt x="3482" y="1557"/>
                    <a:pt x="3978" y="1210"/>
                  </a:cubicBezTo>
                  <a:cubicBezTo>
                    <a:pt x="4020" y="1181"/>
                    <a:pt x="4061" y="1152"/>
                    <a:pt x="4103" y="1124"/>
                  </a:cubicBezTo>
                  <a:cubicBezTo>
                    <a:pt x="4141" y="1098"/>
                    <a:pt x="4179" y="1073"/>
                    <a:pt x="4216" y="1049"/>
                  </a:cubicBezTo>
                  <a:cubicBezTo>
                    <a:pt x="4626" y="780"/>
                    <a:pt x="5024" y="569"/>
                    <a:pt x="5392" y="423"/>
                  </a:cubicBezTo>
                  <a:cubicBezTo>
                    <a:pt x="5414" y="415"/>
                    <a:pt x="5435" y="407"/>
                    <a:pt x="5456" y="399"/>
                  </a:cubicBezTo>
                  <a:cubicBezTo>
                    <a:pt x="5477" y="391"/>
                    <a:pt x="5498" y="383"/>
                    <a:pt x="5518" y="376"/>
                  </a:cubicBezTo>
                  <a:cubicBezTo>
                    <a:pt x="5747" y="293"/>
                    <a:pt x="5964" y="236"/>
                    <a:pt x="6164" y="208"/>
                  </a:cubicBezTo>
                  <a:cubicBezTo>
                    <a:pt x="6183" y="206"/>
                    <a:pt x="6203" y="203"/>
                    <a:pt x="6222" y="201"/>
                  </a:cubicBezTo>
                  <a:cubicBezTo>
                    <a:pt x="6242" y="199"/>
                    <a:pt x="6262" y="197"/>
                    <a:pt x="6281" y="195"/>
                  </a:cubicBezTo>
                  <a:cubicBezTo>
                    <a:pt x="6292" y="194"/>
                    <a:pt x="6302" y="193"/>
                    <a:pt x="6312" y="193"/>
                  </a:cubicBezTo>
                  <a:cubicBezTo>
                    <a:pt x="6300" y="185"/>
                    <a:pt x="6288" y="178"/>
                    <a:pt x="6276" y="170"/>
                  </a:cubicBezTo>
                  <a:cubicBezTo>
                    <a:pt x="6252" y="155"/>
                    <a:pt x="6228" y="139"/>
                    <a:pt x="6203" y="124"/>
                  </a:cubicBezTo>
                  <a:cubicBezTo>
                    <a:pt x="6176" y="108"/>
                    <a:pt x="6149" y="90"/>
                    <a:pt x="6122" y="74"/>
                  </a:cubicBezTo>
                  <a:cubicBezTo>
                    <a:pt x="6077" y="49"/>
                    <a:pt x="6032" y="24"/>
                    <a:pt x="5988" y="0"/>
                  </a:cubicBezTo>
                  <a:cubicBezTo>
                    <a:pt x="5852" y="4"/>
                    <a:pt x="5703" y="27"/>
                    <a:pt x="5542" y="68"/>
                  </a:cubicBezTo>
                  <a:cubicBezTo>
                    <a:pt x="5523" y="73"/>
                    <a:pt x="5503" y="78"/>
                    <a:pt x="5484" y="83"/>
                  </a:cubicBezTo>
                  <a:cubicBezTo>
                    <a:pt x="5464" y="89"/>
                    <a:pt x="5445" y="95"/>
                    <a:pt x="5425" y="101"/>
                  </a:cubicBezTo>
                  <a:cubicBezTo>
                    <a:pt x="5140" y="186"/>
                    <a:pt x="4823" y="324"/>
                    <a:pt x="4488" y="508"/>
                  </a:cubicBezTo>
                  <a:cubicBezTo>
                    <a:pt x="4461" y="523"/>
                    <a:pt x="4433" y="539"/>
                    <a:pt x="4405" y="555"/>
                  </a:cubicBezTo>
                  <a:cubicBezTo>
                    <a:pt x="4376" y="572"/>
                    <a:pt x="4346" y="588"/>
                    <a:pt x="4316" y="606"/>
                  </a:cubicBezTo>
                  <a:cubicBezTo>
                    <a:pt x="3656" y="993"/>
                    <a:pt x="2935" y="1552"/>
                    <a:pt x="2245" y="2243"/>
                  </a:cubicBezTo>
                  <a:cubicBezTo>
                    <a:pt x="1554" y="2933"/>
                    <a:pt x="995" y="3654"/>
                    <a:pt x="608" y="4314"/>
                  </a:cubicBezTo>
                  <a:cubicBezTo>
                    <a:pt x="590" y="4344"/>
                    <a:pt x="573" y="4374"/>
                    <a:pt x="557" y="4404"/>
                  </a:cubicBezTo>
                  <a:cubicBezTo>
                    <a:pt x="541" y="4431"/>
                    <a:pt x="525" y="4459"/>
                    <a:pt x="510" y="4486"/>
                  </a:cubicBezTo>
                  <a:cubicBezTo>
                    <a:pt x="326" y="4822"/>
                    <a:pt x="188" y="5138"/>
                    <a:pt x="103" y="5423"/>
                  </a:cubicBezTo>
                  <a:cubicBezTo>
                    <a:pt x="97" y="5443"/>
                    <a:pt x="91" y="5462"/>
                    <a:pt x="85" y="5482"/>
                  </a:cubicBezTo>
                  <a:cubicBezTo>
                    <a:pt x="80" y="5501"/>
                    <a:pt x="75" y="5521"/>
                    <a:pt x="70" y="5540"/>
                  </a:cubicBezTo>
                  <a:cubicBezTo>
                    <a:pt x="24" y="5720"/>
                    <a:pt x="0" y="5886"/>
                    <a:pt x="1" y="6034"/>
                  </a:cubicBezTo>
                  <a:cubicBezTo>
                    <a:pt x="1" y="6035"/>
                    <a:pt x="1" y="6037"/>
                    <a:pt x="1" y="6039"/>
                  </a:cubicBezTo>
                  <a:cubicBezTo>
                    <a:pt x="12" y="6060"/>
                    <a:pt x="24" y="6081"/>
                    <a:pt x="36" y="6102"/>
                  </a:cubicBezTo>
                  <a:cubicBezTo>
                    <a:pt x="52" y="6130"/>
                    <a:pt x="68" y="6158"/>
                    <a:pt x="85" y="6186"/>
                  </a:cubicBezTo>
                  <a:cubicBezTo>
                    <a:pt x="101" y="6212"/>
                    <a:pt x="117" y="6238"/>
                    <a:pt x="134" y="6264"/>
                  </a:cubicBezTo>
                  <a:cubicBezTo>
                    <a:pt x="153" y="6294"/>
                    <a:pt x="172" y="6325"/>
                    <a:pt x="192" y="6355"/>
                  </a:cubicBezTo>
                  <a:cubicBezTo>
                    <a:pt x="193" y="6330"/>
                    <a:pt x="195" y="6305"/>
                    <a:pt x="197" y="6279"/>
                  </a:cubicBezTo>
                  <a:cubicBezTo>
                    <a:pt x="199" y="6260"/>
                    <a:pt x="201" y="6240"/>
                    <a:pt x="203" y="6220"/>
                  </a:cubicBezTo>
                  <a:cubicBezTo>
                    <a:pt x="205" y="6201"/>
                    <a:pt x="208" y="6181"/>
                    <a:pt x="210" y="6162"/>
                  </a:cubicBezTo>
                  <a:cubicBezTo>
                    <a:pt x="238" y="5962"/>
                    <a:pt x="295" y="5745"/>
                    <a:pt x="378" y="5516"/>
                  </a:cubicBezTo>
                  <a:cubicBezTo>
                    <a:pt x="385" y="5496"/>
                    <a:pt x="392" y="5475"/>
                    <a:pt x="400" y="5454"/>
                  </a:cubicBezTo>
                  <a:cubicBezTo>
                    <a:pt x="408" y="5433"/>
                    <a:pt x="417" y="5412"/>
                    <a:pt x="425" y="5390"/>
                  </a:cubicBezTo>
                  <a:cubicBezTo>
                    <a:pt x="571" y="5022"/>
                    <a:pt x="782" y="4624"/>
                    <a:pt x="1050" y="4214"/>
                  </a:cubicBezTo>
                  <a:cubicBezTo>
                    <a:pt x="1075" y="4177"/>
                    <a:pt x="1100" y="4139"/>
                    <a:pt x="1126" y="410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9" name="Freeform 11">
              <a:extLst>
                <a:ext uri="{FF2B5EF4-FFF2-40B4-BE49-F238E27FC236}">
                  <a16:creationId xmlns:a16="http://schemas.microsoft.com/office/drawing/2014/main" id="{9BF6A145-B04A-4D96-B42A-F9F9564194A0}"/>
                </a:ext>
              </a:extLst>
            </p:cNvPr>
            <p:cNvSpPr>
              <a:spLocks/>
            </p:cNvSpPr>
            <p:nvPr/>
          </p:nvSpPr>
          <p:spPr bwMode="auto">
            <a:xfrm>
              <a:off x="4604297" y="1387527"/>
              <a:ext cx="4412873" cy="4441519"/>
            </a:xfrm>
            <a:custGeom>
              <a:avLst/>
              <a:gdLst>
                <a:gd name="T0" fmla="*/ 4682 w 6640"/>
                <a:gd name="T1" fmla="*/ 1069 h 6679"/>
                <a:gd name="T2" fmla="*/ 4782 w 6640"/>
                <a:gd name="T3" fmla="*/ 1013 h 6679"/>
                <a:gd name="T4" fmla="*/ 4876 w 6640"/>
                <a:gd name="T5" fmla="*/ 962 h 6679"/>
                <a:gd name="T6" fmla="*/ 5665 w 6640"/>
                <a:gd name="T7" fmla="*/ 626 h 6679"/>
                <a:gd name="T8" fmla="*/ 5735 w 6640"/>
                <a:gd name="T9" fmla="*/ 605 h 6679"/>
                <a:gd name="T10" fmla="*/ 5804 w 6640"/>
                <a:gd name="T11" fmla="*/ 586 h 6679"/>
                <a:gd name="T12" fmla="*/ 6300 w 6640"/>
                <a:gd name="T13" fmla="*/ 507 h 6679"/>
                <a:gd name="T14" fmla="*/ 6355 w 6640"/>
                <a:gd name="T15" fmla="*/ 505 h 6679"/>
                <a:gd name="T16" fmla="*/ 6360 w 6640"/>
                <a:gd name="T17" fmla="*/ 505 h 6679"/>
                <a:gd name="T18" fmla="*/ 6419 w 6640"/>
                <a:gd name="T19" fmla="*/ 507 h 6679"/>
                <a:gd name="T20" fmla="*/ 6640 w 6640"/>
                <a:gd name="T21" fmla="*/ 536 h 6679"/>
                <a:gd name="T22" fmla="*/ 6443 w 6640"/>
                <a:gd name="T23" fmla="*/ 254 h 6679"/>
                <a:gd name="T24" fmla="*/ 6385 w 6640"/>
                <a:gd name="T25" fmla="*/ 179 h 6679"/>
                <a:gd name="T26" fmla="*/ 6323 w 6640"/>
                <a:gd name="T27" fmla="*/ 102 h 6679"/>
                <a:gd name="T28" fmla="*/ 6253 w 6640"/>
                <a:gd name="T29" fmla="*/ 21 h 6679"/>
                <a:gd name="T30" fmla="*/ 6036 w 6640"/>
                <a:gd name="T31" fmla="*/ 1 h 6679"/>
                <a:gd name="T32" fmla="*/ 5943 w 6640"/>
                <a:gd name="T33" fmla="*/ 3 h 6679"/>
                <a:gd name="T34" fmla="*/ 5884 w 6640"/>
                <a:gd name="T35" fmla="*/ 8 h 6679"/>
                <a:gd name="T36" fmla="*/ 5824 w 6640"/>
                <a:gd name="T37" fmla="*/ 15 h 6679"/>
                <a:gd name="T38" fmla="*/ 5212 w 6640"/>
                <a:gd name="T39" fmla="*/ 174 h 6679"/>
                <a:gd name="T40" fmla="*/ 5142 w 6640"/>
                <a:gd name="T41" fmla="*/ 200 h 6679"/>
                <a:gd name="T42" fmla="*/ 5070 w 6640"/>
                <a:gd name="T43" fmla="*/ 229 h 6679"/>
                <a:gd name="T44" fmla="*/ 3933 w 6640"/>
                <a:gd name="T45" fmla="*/ 848 h 6679"/>
                <a:gd name="T46" fmla="*/ 3812 w 6640"/>
                <a:gd name="T47" fmla="*/ 929 h 6679"/>
                <a:gd name="T48" fmla="*/ 3679 w 6640"/>
                <a:gd name="T49" fmla="*/ 1023 h 6679"/>
                <a:gd name="T50" fmla="*/ 2245 w 6640"/>
                <a:gd name="T51" fmla="*/ 2245 h 6679"/>
                <a:gd name="T52" fmla="*/ 1023 w 6640"/>
                <a:gd name="T53" fmla="*/ 3679 h 6679"/>
                <a:gd name="T54" fmla="*/ 929 w 6640"/>
                <a:gd name="T55" fmla="*/ 3812 h 6679"/>
                <a:gd name="T56" fmla="*/ 848 w 6640"/>
                <a:gd name="T57" fmla="*/ 3933 h 6679"/>
                <a:gd name="T58" fmla="*/ 229 w 6640"/>
                <a:gd name="T59" fmla="*/ 5070 h 6679"/>
                <a:gd name="T60" fmla="*/ 200 w 6640"/>
                <a:gd name="T61" fmla="*/ 5142 h 6679"/>
                <a:gd name="T62" fmla="*/ 174 w 6640"/>
                <a:gd name="T63" fmla="*/ 5212 h 6679"/>
                <a:gd name="T64" fmla="*/ 15 w 6640"/>
                <a:gd name="T65" fmla="*/ 5824 h 6679"/>
                <a:gd name="T66" fmla="*/ 8 w 6640"/>
                <a:gd name="T67" fmla="*/ 5884 h 6679"/>
                <a:gd name="T68" fmla="*/ 3 w 6640"/>
                <a:gd name="T69" fmla="*/ 5943 h 6679"/>
                <a:gd name="T70" fmla="*/ 1 w 6640"/>
                <a:gd name="T71" fmla="*/ 6036 h 6679"/>
                <a:gd name="T72" fmla="*/ 30 w 6640"/>
                <a:gd name="T73" fmla="*/ 6297 h 6679"/>
                <a:gd name="T74" fmla="*/ 54 w 6640"/>
                <a:gd name="T75" fmla="*/ 6318 h 6679"/>
                <a:gd name="T76" fmla="*/ 132 w 6640"/>
                <a:gd name="T77" fmla="*/ 6383 h 6679"/>
                <a:gd name="T78" fmla="*/ 211 w 6640"/>
                <a:gd name="T79" fmla="*/ 6444 h 6679"/>
                <a:gd name="T80" fmla="*/ 547 w 6640"/>
                <a:gd name="T81" fmla="*/ 6679 h 6679"/>
                <a:gd name="T82" fmla="*/ 507 w 6640"/>
                <a:gd name="T83" fmla="*/ 6419 h 6679"/>
                <a:gd name="T84" fmla="*/ 505 w 6640"/>
                <a:gd name="T85" fmla="*/ 6360 h 6679"/>
                <a:gd name="T86" fmla="*/ 505 w 6640"/>
                <a:gd name="T87" fmla="*/ 6356 h 6679"/>
                <a:gd name="T88" fmla="*/ 507 w 6640"/>
                <a:gd name="T89" fmla="*/ 6300 h 6679"/>
                <a:gd name="T90" fmla="*/ 586 w 6640"/>
                <a:gd name="T91" fmla="*/ 5804 h 6679"/>
                <a:gd name="T92" fmla="*/ 605 w 6640"/>
                <a:gd name="T93" fmla="*/ 5735 h 6679"/>
                <a:gd name="T94" fmla="*/ 626 w 6640"/>
                <a:gd name="T95" fmla="*/ 5665 h 6679"/>
                <a:gd name="T96" fmla="*/ 962 w 6640"/>
                <a:gd name="T97" fmla="*/ 4876 h 6679"/>
                <a:gd name="T98" fmla="*/ 1013 w 6640"/>
                <a:gd name="T99" fmla="*/ 4781 h 6679"/>
                <a:gd name="T100" fmla="*/ 1069 w 6640"/>
                <a:gd name="T101" fmla="*/ 4682 h 6679"/>
                <a:gd name="T102" fmla="*/ 2654 w 6640"/>
                <a:gd name="T103" fmla="*/ 2654 h 6679"/>
                <a:gd name="T104" fmla="*/ 4682 w 6640"/>
                <a:gd name="T105" fmla="*/ 1069 h 6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640" h="6679">
                  <a:moveTo>
                    <a:pt x="4682" y="1069"/>
                  </a:moveTo>
                  <a:cubicBezTo>
                    <a:pt x="4715" y="1050"/>
                    <a:pt x="4748" y="1031"/>
                    <a:pt x="4782" y="1013"/>
                  </a:cubicBezTo>
                  <a:cubicBezTo>
                    <a:pt x="4813" y="996"/>
                    <a:pt x="4845" y="979"/>
                    <a:pt x="4876" y="962"/>
                  </a:cubicBezTo>
                  <a:cubicBezTo>
                    <a:pt x="5153" y="816"/>
                    <a:pt x="5418" y="703"/>
                    <a:pt x="5665" y="626"/>
                  </a:cubicBezTo>
                  <a:cubicBezTo>
                    <a:pt x="5688" y="619"/>
                    <a:pt x="5712" y="612"/>
                    <a:pt x="5735" y="605"/>
                  </a:cubicBezTo>
                  <a:cubicBezTo>
                    <a:pt x="5758" y="599"/>
                    <a:pt x="5781" y="592"/>
                    <a:pt x="5804" y="586"/>
                  </a:cubicBezTo>
                  <a:cubicBezTo>
                    <a:pt x="5981" y="539"/>
                    <a:pt x="6147" y="513"/>
                    <a:pt x="6300" y="507"/>
                  </a:cubicBezTo>
                  <a:cubicBezTo>
                    <a:pt x="6318" y="506"/>
                    <a:pt x="6337" y="505"/>
                    <a:pt x="6355" y="505"/>
                  </a:cubicBezTo>
                  <a:cubicBezTo>
                    <a:pt x="6357" y="505"/>
                    <a:pt x="6358" y="505"/>
                    <a:pt x="6360" y="505"/>
                  </a:cubicBezTo>
                  <a:cubicBezTo>
                    <a:pt x="6380" y="505"/>
                    <a:pt x="6399" y="506"/>
                    <a:pt x="6419" y="507"/>
                  </a:cubicBezTo>
                  <a:cubicBezTo>
                    <a:pt x="6496" y="511"/>
                    <a:pt x="6571" y="520"/>
                    <a:pt x="6640" y="536"/>
                  </a:cubicBezTo>
                  <a:cubicBezTo>
                    <a:pt x="6579" y="440"/>
                    <a:pt x="6513" y="346"/>
                    <a:pt x="6443" y="254"/>
                  </a:cubicBezTo>
                  <a:cubicBezTo>
                    <a:pt x="6424" y="229"/>
                    <a:pt x="6404" y="204"/>
                    <a:pt x="6385" y="179"/>
                  </a:cubicBezTo>
                  <a:cubicBezTo>
                    <a:pt x="6364" y="153"/>
                    <a:pt x="6344" y="128"/>
                    <a:pt x="6323" y="102"/>
                  </a:cubicBezTo>
                  <a:cubicBezTo>
                    <a:pt x="6300" y="75"/>
                    <a:pt x="6276" y="48"/>
                    <a:pt x="6253" y="21"/>
                  </a:cubicBezTo>
                  <a:cubicBezTo>
                    <a:pt x="6186" y="8"/>
                    <a:pt x="6114" y="1"/>
                    <a:pt x="6036" y="1"/>
                  </a:cubicBezTo>
                  <a:cubicBezTo>
                    <a:pt x="6006" y="0"/>
                    <a:pt x="5975" y="2"/>
                    <a:pt x="5943" y="3"/>
                  </a:cubicBezTo>
                  <a:cubicBezTo>
                    <a:pt x="5924" y="4"/>
                    <a:pt x="5904" y="6"/>
                    <a:pt x="5884" y="8"/>
                  </a:cubicBezTo>
                  <a:cubicBezTo>
                    <a:pt x="5864" y="10"/>
                    <a:pt x="5844" y="13"/>
                    <a:pt x="5824" y="15"/>
                  </a:cubicBezTo>
                  <a:cubicBezTo>
                    <a:pt x="5639" y="39"/>
                    <a:pt x="5433" y="93"/>
                    <a:pt x="5212" y="174"/>
                  </a:cubicBezTo>
                  <a:cubicBezTo>
                    <a:pt x="5189" y="183"/>
                    <a:pt x="5166" y="191"/>
                    <a:pt x="5142" y="200"/>
                  </a:cubicBezTo>
                  <a:cubicBezTo>
                    <a:pt x="5118" y="210"/>
                    <a:pt x="5094" y="219"/>
                    <a:pt x="5070" y="229"/>
                  </a:cubicBezTo>
                  <a:cubicBezTo>
                    <a:pt x="4719" y="373"/>
                    <a:pt x="4334" y="582"/>
                    <a:pt x="3933" y="848"/>
                  </a:cubicBezTo>
                  <a:cubicBezTo>
                    <a:pt x="3893" y="874"/>
                    <a:pt x="3852" y="902"/>
                    <a:pt x="3812" y="929"/>
                  </a:cubicBezTo>
                  <a:cubicBezTo>
                    <a:pt x="3767" y="960"/>
                    <a:pt x="3723" y="991"/>
                    <a:pt x="3679" y="1023"/>
                  </a:cubicBezTo>
                  <a:cubicBezTo>
                    <a:pt x="3206" y="1360"/>
                    <a:pt x="2718" y="1771"/>
                    <a:pt x="2245" y="2245"/>
                  </a:cubicBezTo>
                  <a:cubicBezTo>
                    <a:pt x="1771" y="2718"/>
                    <a:pt x="1360" y="3206"/>
                    <a:pt x="1023" y="3679"/>
                  </a:cubicBezTo>
                  <a:cubicBezTo>
                    <a:pt x="991" y="3723"/>
                    <a:pt x="960" y="3768"/>
                    <a:pt x="929" y="3812"/>
                  </a:cubicBezTo>
                  <a:cubicBezTo>
                    <a:pt x="902" y="3852"/>
                    <a:pt x="874" y="3893"/>
                    <a:pt x="848" y="3933"/>
                  </a:cubicBezTo>
                  <a:cubicBezTo>
                    <a:pt x="582" y="4334"/>
                    <a:pt x="373" y="4719"/>
                    <a:pt x="229" y="5070"/>
                  </a:cubicBezTo>
                  <a:cubicBezTo>
                    <a:pt x="219" y="5094"/>
                    <a:pt x="210" y="5118"/>
                    <a:pt x="200" y="5142"/>
                  </a:cubicBezTo>
                  <a:cubicBezTo>
                    <a:pt x="191" y="5166"/>
                    <a:pt x="183" y="5189"/>
                    <a:pt x="174" y="5212"/>
                  </a:cubicBezTo>
                  <a:cubicBezTo>
                    <a:pt x="93" y="5433"/>
                    <a:pt x="39" y="5639"/>
                    <a:pt x="15" y="5824"/>
                  </a:cubicBezTo>
                  <a:cubicBezTo>
                    <a:pt x="12" y="5844"/>
                    <a:pt x="10" y="5864"/>
                    <a:pt x="8" y="5884"/>
                  </a:cubicBezTo>
                  <a:cubicBezTo>
                    <a:pt x="6" y="5904"/>
                    <a:pt x="5" y="5924"/>
                    <a:pt x="3" y="5943"/>
                  </a:cubicBezTo>
                  <a:cubicBezTo>
                    <a:pt x="2" y="5975"/>
                    <a:pt x="0" y="6006"/>
                    <a:pt x="1" y="6036"/>
                  </a:cubicBezTo>
                  <a:cubicBezTo>
                    <a:pt x="1" y="6131"/>
                    <a:pt x="10" y="6218"/>
                    <a:pt x="30" y="6297"/>
                  </a:cubicBezTo>
                  <a:cubicBezTo>
                    <a:pt x="38" y="6304"/>
                    <a:pt x="46" y="6311"/>
                    <a:pt x="54" y="6318"/>
                  </a:cubicBezTo>
                  <a:cubicBezTo>
                    <a:pt x="80" y="6340"/>
                    <a:pt x="106" y="6362"/>
                    <a:pt x="132" y="6383"/>
                  </a:cubicBezTo>
                  <a:cubicBezTo>
                    <a:pt x="158" y="6404"/>
                    <a:pt x="184" y="6424"/>
                    <a:pt x="211" y="6444"/>
                  </a:cubicBezTo>
                  <a:cubicBezTo>
                    <a:pt x="320" y="6528"/>
                    <a:pt x="432" y="6606"/>
                    <a:pt x="547" y="6679"/>
                  </a:cubicBezTo>
                  <a:cubicBezTo>
                    <a:pt x="524" y="6598"/>
                    <a:pt x="511" y="6511"/>
                    <a:pt x="507" y="6419"/>
                  </a:cubicBezTo>
                  <a:cubicBezTo>
                    <a:pt x="506" y="6399"/>
                    <a:pt x="505" y="6380"/>
                    <a:pt x="505" y="6360"/>
                  </a:cubicBezTo>
                  <a:cubicBezTo>
                    <a:pt x="505" y="6358"/>
                    <a:pt x="505" y="6357"/>
                    <a:pt x="505" y="6356"/>
                  </a:cubicBezTo>
                  <a:cubicBezTo>
                    <a:pt x="505" y="6337"/>
                    <a:pt x="506" y="6318"/>
                    <a:pt x="507" y="6300"/>
                  </a:cubicBezTo>
                  <a:cubicBezTo>
                    <a:pt x="512" y="6147"/>
                    <a:pt x="539" y="5981"/>
                    <a:pt x="586" y="5804"/>
                  </a:cubicBezTo>
                  <a:cubicBezTo>
                    <a:pt x="592" y="5781"/>
                    <a:pt x="599" y="5758"/>
                    <a:pt x="605" y="5735"/>
                  </a:cubicBezTo>
                  <a:cubicBezTo>
                    <a:pt x="612" y="5712"/>
                    <a:pt x="619" y="5688"/>
                    <a:pt x="626" y="5665"/>
                  </a:cubicBezTo>
                  <a:cubicBezTo>
                    <a:pt x="703" y="5418"/>
                    <a:pt x="817" y="5153"/>
                    <a:pt x="962" y="4876"/>
                  </a:cubicBezTo>
                  <a:cubicBezTo>
                    <a:pt x="979" y="4845"/>
                    <a:pt x="996" y="4813"/>
                    <a:pt x="1013" y="4781"/>
                  </a:cubicBezTo>
                  <a:cubicBezTo>
                    <a:pt x="1031" y="4748"/>
                    <a:pt x="1050" y="4715"/>
                    <a:pt x="1069" y="4682"/>
                  </a:cubicBezTo>
                  <a:cubicBezTo>
                    <a:pt x="1441" y="4031"/>
                    <a:pt x="1982" y="3328"/>
                    <a:pt x="2654" y="2654"/>
                  </a:cubicBezTo>
                  <a:cubicBezTo>
                    <a:pt x="3328" y="1982"/>
                    <a:pt x="4031" y="1441"/>
                    <a:pt x="4682" y="10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0" name="Freeform 12">
              <a:extLst>
                <a:ext uri="{FF2B5EF4-FFF2-40B4-BE49-F238E27FC236}">
                  <a16:creationId xmlns:a16="http://schemas.microsoft.com/office/drawing/2014/main" id="{6967A9C6-FB4D-4270-BB09-0FBE5B7A6E5E}"/>
                </a:ext>
              </a:extLst>
            </p:cNvPr>
            <p:cNvSpPr>
              <a:spLocks/>
            </p:cNvSpPr>
            <p:nvPr/>
          </p:nvSpPr>
          <p:spPr bwMode="auto">
            <a:xfrm>
              <a:off x="5525067" y="2309661"/>
              <a:ext cx="3917703" cy="3936801"/>
            </a:xfrm>
            <a:custGeom>
              <a:avLst/>
              <a:gdLst>
                <a:gd name="T0" fmla="*/ 3424 w 5896"/>
                <a:gd name="T1" fmla="*/ 1876 h 5920"/>
                <a:gd name="T2" fmla="*/ 3633 w 5896"/>
                <a:gd name="T3" fmla="*/ 1712 h 5920"/>
                <a:gd name="T4" fmla="*/ 3808 w 5896"/>
                <a:gd name="T5" fmla="*/ 1582 h 5920"/>
                <a:gd name="T6" fmla="*/ 4916 w 5896"/>
                <a:gd name="T7" fmla="*/ 937 h 5920"/>
                <a:gd name="T8" fmla="*/ 5004 w 5896"/>
                <a:gd name="T9" fmla="*/ 901 h 5920"/>
                <a:gd name="T10" fmla="*/ 5086 w 5896"/>
                <a:gd name="T11" fmla="*/ 873 h 5920"/>
                <a:gd name="T12" fmla="*/ 5614 w 5896"/>
                <a:gd name="T13" fmla="*/ 767 h 5920"/>
                <a:gd name="T14" fmla="*/ 5621 w 5896"/>
                <a:gd name="T15" fmla="*/ 767 h 5920"/>
                <a:gd name="T16" fmla="*/ 5682 w 5896"/>
                <a:gd name="T17" fmla="*/ 770 h 5920"/>
                <a:gd name="T18" fmla="*/ 5742 w 5896"/>
                <a:gd name="T19" fmla="*/ 777 h 5920"/>
                <a:gd name="T20" fmla="*/ 5896 w 5896"/>
                <a:gd name="T21" fmla="*/ 821 h 5920"/>
                <a:gd name="T22" fmla="*/ 5826 w 5896"/>
                <a:gd name="T23" fmla="*/ 476 h 5920"/>
                <a:gd name="T24" fmla="*/ 5792 w 5896"/>
                <a:gd name="T25" fmla="*/ 349 h 5920"/>
                <a:gd name="T26" fmla="*/ 5752 w 5896"/>
                <a:gd name="T27" fmla="*/ 214 h 5920"/>
                <a:gd name="T28" fmla="*/ 5714 w 5896"/>
                <a:gd name="T29" fmla="*/ 97 h 5920"/>
                <a:gd name="T30" fmla="*/ 5444 w 5896"/>
                <a:gd name="T31" fmla="*/ 9 h 5920"/>
                <a:gd name="T32" fmla="*/ 5385 w 5896"/>
                <a:gd name="T33" fmla="*/ 3 h 5920"/>
                <a:gd name="T34" fmla="*/ 5324 w 5896"/>
                <a:gd name="T35" fmla="*/ 1 h 5920"/>
                <a:gd name="T36" fmla="*/ 5312 w 5896"/>
                <a:gd name="T37" fmla="*/ 0 h 5920"/>
                <a:gd name="T38" fmla="*/ 5307 w 5896"/>
                <a:gd name="T39" fmla="*/ 0 h 5920"/>
                <a:gd name="T40" fmla="*/ 4713 w 5896"/>
                <a:gd name="T41" fmla="*/ 112 h 5920"/>
                <a:gd name="T42" fmla="*/ 4636 w 5896"/>
                <a:gd name="T43" fmla="*/ 137 h 5920"/>
                <a:gd name="T44" fmla="*/ 4555 w 5896"/>
                <a:gd name="T45" fmla="*/ 168 h 5920"/>
                <a:gd name="T46" fmla="*/ 3688 w 5896"/>
                <a:gd name="T47" fmla="*/ 607 h 5920"/>
                <a:gd name="T48" fmla="*/ 3564 w 5896"/>
                <a:gd name="T49" fmla="*/ 684 h 5920"/>
                <a:gd name="T50" fmla="*/ 3430 w 5896"/>
                <a:gd name="T51" fmla="*/ 773 h 5920"/>
                <a:gd name="T52" fmla="*/ 1980 w 5896"/>
                <a:gd name="T53" fmla="*/ 1980 h 5920"/>
                <a:gd name="T54" fmla="*/ 774 w 5896"/>
                <a:gd name="T55" fmla="*/ 3429 h 5920"/>
                <a:gd name="T56" fmla="*/ 685 w 5896"/>
                <a:gd name="T57" fmla="*/ 3563 h 5920"/>
                <a:gd name="T58" fmla="*/ 607 w 5896"/>
                <a:gd name="T59" fmla="*/ 3688 h 5920"/>
                <a:gd name="T60" fmla="*/ 169 w 5896"/>
                <a:gd name="T61" fmla="*/ 4554 h 5920"/>
                <a:gd name="T62" fmla="*/ 137 w 5896"/>
                <a:gd name="T63" fmla="*/ 4635 h 5920"/>
                <a:gd name="T64" fmla="*/ 113 w 5896"/>
                <a:gd name="T65" fmla="*/ 4712 h 5920"/>
                <a:gd name="T66" fmla="*/ 1 w 5896"/>
                <a:gd name="T67" fmla="*/ 5311 h 5920"/>
                <a:gd name="T68" fmla="*/ 2 w 5896"/>
                <a:gd name="T69" fmla="*/ 5323 h 5920"/>
                <a:gd name="T70" fmla="*/ 4 w 5896"/>
                <a:gd name="T71" fmla="*/ 5384 h 5920"/>
                <a:gd name="T72" fmla="*/ 10 w 5896"/>
                <a:gd name="T73" fmla="*/ 5443 h 5920"/>
                <a:gd name="T74" fmla="*/ 121 w 5896"/>
                <a:gd name="T75" fmla="*/ 5747 h 5920"/>
                <a:gd name="T76" fmla="*/ 150 w 5896"/>
                <a:gd name="T77" fmla="*/ 5756 h 5920"/>
                <a:gd name="T78" fmla="*/ 291 w 5896"/>
                <a:gd name="T79" fmla="*/ 5800 h 5920"/>
                <a:gd name="T80" fmla="*/ 425 w 5896"/>
                <a:gd name="T81" fmla="*/ 5836 h 5920"/>
                <a:gd name="T82" fmla="*/ 835 w 5896"/>
                <a:gd name="T83" fmla="*/ 5920 h 5920"/>
                <a:gd name="T84" fmla="*/ 778 w 5896"/>
                <a:gd name="T85" fmla="*/ 5741 h 5920"/>
                <a:gd name="T86" fmla="*/ 771 w 5896"/>
                <a:gd name="T87" fmla="*/ 5681 h 5920"/>
                <a:gd name="T88" fmla="*/ 769 w 5896"/>
                <a:gd name="T89" fmla="*/ 5620 h 5920"/>
                <a:gd name="T90" fmla="*/ 768 w 5896"/>
                <a:gd name="T91" fmla="*/ 5612 h 5920"/>
                <a:gd name="T92" fmla="*/ 874 w 5896"/>
                <a:gd name="T93" fmla="*/ 5084 h 5920"/>
                <a:gd name="T94" fmla="*/ 903 w 5896"/>
                <a:gd name="T95" fmla="*/ 5002 h 5920"/>
                <a:gd name="T96" fmla="*/ 938 w 5896"/>
                <a:gd name="T97" fmla="*/ 4915 h 5920"/>
                <a:gd name="T98" fmla="*/ 1583 w 5896"/>
                <a:gd name="T99" fmla="*/ 3807 h 5920"/>
                <a:gd name="T100" fmla="*/ 1713 w 5896"/>
                <a:gd name="T101" fmla="*/ 3632 h 5920"/>
                <a:gd name="T102" fmla="*/ 1877 w 5896"/>
                <a:gd name="T103" fmla="*/ 3424 h 5920"/>
                <a:gd name="T104" fmla="*/ 2610 w 5896"/>
                <a:gd name="T105" fmla="*/ 2610 h 5920"/>
                <a:gd name="T106" fmla="*/ 3424 w 5896"/>
                <a:gd name="T107" fmla="*/ 1876 h 5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96" h="5920">
                  <a:moveTo>
                    <a:pt x="3424" y="1876"/>
                  </a:moveTo>
                  <a:cubicBezTo>
                    <a:pt x="3494" y="1819"/>
                    <a:pt x="3564" y="1765"/>
                    <a:pt x="3633" y="1712"/>
                  </a:cubicBezTo>
                  <a:cubicBezTo>
                    <a:pt x="3692" y="1667"/>
                    <a:pt x="3750" y="1624"/>
                    <a:pt x="3808" y="1582"/>
                  </a:cubicBezTo>
                  <a:cubicBezTo>
                    <a:pt x="4204" y="1295"/>
                    <a:pt x="4581" y="1076"/>
                    <a:pt x="4916" y="937"/>
                  </a:cubicBezTo>
                  <a:cubicBezTo>
                    <a:pt x="4945" y="925"/>
                    <a:pt x="4975" y="912"/>
                    <a:pt x="5004" y="901"/>
                  </a:cubicBezTo>
                  <a:cubicBezTo>
                    <a:pt x="5032" y="891"/>
                    <a:pt x="5058" y="882"/>
                    <a:pt x="5086" y="873"/>
                  </a:cubicBezTo>
                  <a:cubicBezTo>
                    <a:pt x="5281" y="806"/>
                    <a:pt x="5460" y="768"/>
                    <a:pt x="5614" y="767"/>
                  </a:cubicBezTo>
                  <a:cubicBezTo>
                    <a:pt x="5616" y="767"/>
                    <a:pt x="5618" y="767"/>
                    <a:pt x="5621" y="767"/>
                  </a:cubicBezTo>
                  <a:cubicBezTo>
                    <a:pt x="5642" y="768"/>
                    <a:pt x="5662" y="768"/>
                    <a:pt x="5682" y="770"/>
                  </a:cubicBezTo>
                  <a:cubicBezTo>
                    <a:pt x="5702" y="771"/>
                    <a:pt x="5722" y="774"/>
                    <a:pt x="5742" y="777"/>
                  </a:cubicBezTo>
                  <a:cubicBezTo>
                    <a:pt x="5797" y="785"/>
                    <a:pt x="5849" y="800"/>
                    <a:pt x="5896" y="821"/>
                  </a:cubicBezTo>
                  <a:cubicBezTo>
                    <a:pt x="5877" y="705"/>
                    <a:pt x="5854" y="590"/>
                    <a:pt x="5826" y="476"/>
                  </a:cubicBezTo>
                  <a:cubicBezTo>
                    <a:pt x="5816" y="433"/>
                    <a:pt x="5804" y="391"/>
                    <a:pt x="5792" y="349"/>
                  </a:cubicBezTo>
                  <a:cubicBezTo>
                    <a:pt x="5779" y="304"/>
                    <a:pt x="5766" y="259"/>
                    <a:pt x="5752" y="214"/>
                  </a:cubicBezTo>
                  <a:cubicBezTo>
                    <a:pt x="5740" y="175"/>
                    <a:pt x="5728" y="136"/>
                    <a:pt x="5714" y="97"/>
                  </a:cubicBezTo>
                  <a:cubicBezTo>
                    <a:pt x="5639" y="51"/>
                    <a:pt x="5549" y="22"/>
                    <a:pt x="5444" y="9"/>
                  </a:cubicBezTo>
                  <a:cubicBezTo>
                    <a:pt x="5425" y="6"/>
                    <a:pt x="5405" y="4"/>
                    <a:pt x="5385" y="3"/>
                  </a:cubicBezTo>
                  <a:cubicBezTo>
                    <a:pt x="5365" y="1"/>
                    <a:pt x="5345" y="1"/>
                    <a:pt x="5324" y="1"/>
                  </a:cubicBezTo>
                  <a:cubicBezTo>
                    <a:pt x="5320" y="1"/>
                    <a:pt x="5316" y="0"/>
                    <a:pt x="5312" y="0"/>
                  </a:cubicBezTo>
                  <a:cubicBezTo>
                    <a:pt x="5311" y="0"/>
                    <a:pt x="5309" y="0"/>
                    <a:pt x="5307" y="0"/>
                  </a:cubicBezTo>
                  <a:cubicBezTo>
                    <a:pt x="5135" y="0"/>
                    <a:pt x="4934" y="40"/>
                    <a:pt x="4713" y="112"/>
                  </a:cubicBezTo>
                  <a:cubicBezTo>
                    <a:pt x="4687" y="120"/>
                    <a:pt x="4662" y="127"/>
                    <a:pt x="4636" y="137"/>
                  </a:cubicBezTo>
                  <a:cubicBezTo>
                    <a:pt x="4610" y="146"/>
                    <a:pt x="4582" y="158"/>
                    <a:pt x="4555" y="168"/>
                  </a:cubicBezTo>
                  <a:cubicBezTo>
                    <a:pt x="4287" y="270"/>
                    <a:pt x="3995" y="418"/>
                    <a:pt x="3688" y="607"/>
                  </a:cubicBezTo>
                  <a:cubicBezTo>
                    <a:pt x="3647" y="632"/>
                    <a:pt x="3606" y="657"/>
                    <a:pt x="3564" y="684"/>
                  </a:cubicBezTo>
                  <a:cubicBezTo>
                    <a:pt x="3520" y="713"/>
                    <a:pt x="3475" y="743"/>
                    <a:pt x="3430" y="773"/>
                  </a:cubicBezTo>
                  <a:cubicBezTo>
                    <a:pt x="2956" y="1092"/>
                    <a:pt x="2460" y="1499"/>
                    <a:pt x="1980" y="1980"/>
                  </a:cubicBezTo>
                  <a:cubicBezTo>
                    <a:pt x="1500" y="2459"/>
                    <a:pt x="1093" y="2956"/>
                    <a:pt x="774" y="3429"/>
                  </a:cubicBezTo>
                  <a:cubicBezTo>
                    <a:pt x="744" y="3474"/>
                    <a:pt x="714" y="3519"/>
                    <a:pt x="685" y="3563"/>
                  </a:cubicBezTo>
                  <a:cubicBezTo>
                    <a:pt x="658" y="3605"/>
                    <a:pt x="633" y="3646"/>
                    <a:pt x="607" y="3688"/>
                  </a:cubicBezTo>
                  <a:cubicBezTo>
                    <a:pt x="419" y="3994"/>
                    <a:pt x="271" y="4287"/>
                    <a:pt x="169" y="4554"/>
                  </a:cubicBezTo>
                  <a:cubicBezTo>
                    <a:pt x="158" y="4581"/>
                    <a:pt x="147" y="4609"/>
                    <a:pt x="137" y="4635"/>
                  </a:cubicBezTo>
                  <a:cubicBezTo>
                    <a:pt x="128" y="4661"/>
                    <a:pt x="121" y="4686"/>
                    <a:pt x="113" y="4712"/>
                  </a:cubicBezTo>
                  <a:cubicBezTo>
                    <a:pt x="40" y="4935"/>
                    <a:pt x="0" y="5138"/>
                    <a:pt x="1" y="5311"/>
                  </a:cubicBezTo>
                  <a:cubicBezTo>
                    <a:pt x="1" y="5315"/>
                    <a:pt x="1" y="5319"/>
                    <a:pt x="2" y="5323"/>
                  </a:cubicBezTo>
                  <a:cubicBezTo>
                    <a:pt x="2" y="5344"/>
                    <a:pt x="2" y="5364"/>
                    <a:pt x="4" y="5384"/>
                  </a:cubicBezTo>
                  <a:cubicBezTo>
                    <a:pt x="5" y="5404"/>
                    <a:pt x="7" y="5424"/>
                    <a:pt x="10" y="5443"/>
                  </a:cubicBezTo>
                  <a:cubicBezTo>
                    <a:pt x="25" y="5564"/>
                    <a:pt x="62" y="5665"/>
                    <a:pt x="121" y="5747"/>
                  </a:cubicBezTo>
                  <a:cubicBezTo>
                    <a:pt x="131" y="5750"/>
                    <a:pt x="140" y="5753"/>
                    <a:pt x="150" y="5756"/>
                  </a:cubicBezTo>
                  <a:cubicBezTo>
                    <a:pt x="197" y="5771"/>
                    <a:pt x="244" y="5786"/>
                    <a:pt x="291" y="5800"/>
                  </a:cubicBezTo>
                  <a:cubicBezTo>
                    <a:pt x="336" y="5813"/>
                    <a:pt x="380" y="5825"/>
                    <a:pt x="425" y="5836"/>
                  </a:cubicBezTo>
                  <a:cubicBezTo>
                    <a:pt x="560" y="5870"/>
                    <a:pt x="697" y="5898"/>
                    <a:pt x="835" y="5920"/>
                  </a:cubicBezTo>
                  <a:cubicBezTo>
                    <a:pt x="807" y="5866"/>
                    <a:pt x="788" y="5806"/>
                    <a:pt x="778" y="5741"/>
                  </a:cubicBezTo>
                  <a:cubicBezTo>
                    <a:pt x="775" y="5721"/>
                    <a:pt x="773" y="5701"/>
                    <a:pt x="771" y="5681"/>
                  </a:cubicBezTo>
                  <a:cubicBezTo>
                    <a:pt x="769" y="5661"/>
                    <a:pt x="769" y="5641"/>
                    <a:pt x="769" y="5620"/>
                  </a:cubicBezTo>
                  <a:cubicBezTo>
                    <a:pt x="769" y="5617"/>
                    <a:pt x="768" y="5615"/>
                    <a:pt x="768" y="5612"/>
                  </a:cubicBezTo>
                  <a:cubicBezTo>
                    <a:pt x="769" y="5459"/>
                    <a:pt x="807" y="5280"/>
                    <a:pt x="874" y="5084"/>
                  </a:cubicBezTo>
                  <a:cubicBezTo>
                    <a:pt x="884" y="5057"/>
                    <a:pt x="892" y="5030"/>
                    <a:pt x="903" y="5002"/>
                  </a:cubicBezTo>
                  <a:cubicBezTo>
                    <a:pt x="913" y="4974"/>
                    <a:pt x="926" y="4944"/>
                    <a:pt x="938" y="4915"/>
                  </a:cubicBezTo>
                  <a:cubicBezTo>
                    <a:pt x="1077" y="4580"/>
                    <a:pt x="1296" y="4203"/>
                    <a:pt x="1583" y="3807"/>
                  </a:cubicBezTo>
                  <a:cubicBezTo>
                    <a:pt x="1625" y="3749"/>
                    <a:pt x="1668" y="3691"/>
                    <a:pt x="1713" y="3632"/>
                  </a:cubicBezTo>
                  <a:cubicBezTo>
                    <a:pt x="1765" y="3563"/>
                    <a:pt x="1820" y="3493"/>
                    <a:pt x="1877" y="3424"/>
                  </a:cubicBezTo>
                  <a:cubicBezTo>
                    <a:pt x="2095" y="3154"/>
                    <a:pt x="2341" y="2880"/>
                    <a:pt x="2610" y="2610"/>
                  </a:cubicBezTo>
                  <a:cubicBezTo>
                    <a:pt x="2881" y="2340"/>
                    <a:pt x="3155" y="2095"/>
                    <a:pt x="3424" y="187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1" name="Freeform 13">
              <a:extLst>
                <a:ext uri="{FF2B5EF4-FFF2-40B4-BE49-F238E27FC236}">
                  <a16:creationId xmlns:a16="http://schemas.microsoft.com/office/drawing/2014/main" id="{85D81FB3-8A4F-49F2-A164-8A0BF5C67920}"/>
                </a:ext>
              </a:extLst>
            </p:cNvPr>
            <p:cNvSpPr>
              <a:spLocks/>
            </p:cNvSpPr>
            <p:nvPr/>
          </p:nvSpPr>
          <p:spPr bwMode="auto">
            <a:xfrm>
              <a:off x="6849611" y="3634205"/>
              <a:ext cx="2613621" cy="2625898"/>
            </a:xfrm>
            <a:custGeom>
              <a:avLst/>
              <a:gdLst>
                <a:gd name="T0" fmla="*/ 3902 w 3934"/>
                <a:gd name="T1" fmla="*/ 32 h 3950"/>
                <a:gd name="T2" fmla="*/ 3727 w 3934"/>
                <a:gd name="T3" fmla="*/ 0 h 3950"/>
                <a:gd name="T4" fmla="*/ 3687 w 3934"/>
                <a:gd name="T5" fmla="*/ 3 h 3950"/>
                <a:gd name="T6" fmla="*/ 3616 w 3934"/>
                <a:gd name="T7" fmla="*/ 8 h 3950"/>
                <a:gd name="T8" fmla="*/ 3541 w 3934"/>
                <a:gd name="T9" fmla="*/ 21 h 3950"/>
                <a:gd name="T10" fmla="*/ 3005 w 3934"/>
                <a:gd name="T11" fmla="*/ 222 h 3950"/>
                <a:gd name="T12" fmla="*/ 2891 w 3934"/>
                <a:gd name="T13" fmla="*/ 283 h 3950"/>
                <a:gd name="T14" fmla="*/ 2768 w 3934"/>
                <a:gd name="T15" fmla="*/ 353 h 3950"/>
                <a:gd name="T16" fmla="*/ 1424 w 3934"/>
                <a:gd name="T17" fmla="*/ 1424 h 3950"/>
                <a:gd name="T18" fmla="*/ 353 w 3934"/>
                <a:gd name="T19" fmla="*/ 2768 h 3950"/>
                <a:gd name="T20" fmla="*/ 283 w 3934"/>
                <a:gd name="T21" fmla="*/ 2891 h 3950"/>
                <a:gd name="T22" fmla="*/ 222 w 3934"/>
                <a:gd name="T23" fmla="*/ 3005 h 3950"/>
                <a:gd name="T24" fmla="*/ 22 w 3934"/>
                <a:gd name="T25" fmla="*/ 3540 h 3950"/>
                <a:gd name="T26" fmla="*/ 8 w 3934"/>
                <a:gd name="T27" fmla="*/ 3616 h 3950"/>
                <a:gd name="T28" fmla="*/ 3 w 3934"/>
                <a:gd name="T29" fmla="*/ 3686 h 3950"/>
                <a:gd name="T30" fmla="*/ 1 w 3934"/>
                <a:gd name="T31" fmla="*/ 3727 h 3950"/>
                <a:gd name="T32" fmla="*/ 32 w 3934"/>
                <a:gd name="T33" fmla="*/ 3902 h 3950"/>
                <a:gd name="T34" fmla="*/ 56 w 3934"/>
                <a:gd name="T35" fmla="*/ 3950 h 3950"/>
                <a:gd name="T36" fmla="*/ 79 w 3934"/>
                <a:gd name="T37" fmla="*/ 3947 h 3950"/>
                <a:gd name="T38" fmla="*/ 282 w 3934"/>
                <a:gd name="T39" fmla="*/ 3917 h 3950"/>
                <a:gd name="T40" fmla="*/ 1127 w 3934"/>
                <a:gd name="T41" fmla="*/ 3685 h 3950"/>
                <a:gd name="T42" fmla="*/ 1020 w 3934"/>
                <a:gd name="T43" fmla="*/ 3624 h 3950"/>
                <a:gd name="T44" fmla="*/ 959 w 3934"/>
                <a:gd name="T45" fmla="*/ 3517 h 3950"/>
                <a:gd name="T46" fmla="*/ 946 w 3934"/>
                <a:gd name="T47" fmla="*/ 3454 h 3950"/>
                <a:gd name="T48" fmla="*/ 943 w 3934"/>
                <a:gd name="T49" fmla="*/ 3410 h 3950"/>
                <a:gd name="T50" fmla="*/ 945 w 3934"/>
                <a:gd name="T51" fmla="*/ 3382 h 3950"/>
                <a:gd name="T52" fmla="*/ 1060 w 3934"/>
                <a:gd name="T53" fmla="*/ 2995 h 3950"/>
                <a:gd name="T54" fmla="*/ 1123 w 3934"/>
                <a:gd name="T55" fmla="*/ 2873 h 3950"/>
                <a:gd name="T56" fmla="*/ 1207 w 3934"/>
                <a:gd name="T57" fmla="*/ 2729 h 3950"/>
                <a:gd name="T58" fmla="*/ 1890 w 3934"/>
                <a:gd name="T59" fmla="*/ 1890 h 3950"/>
                <a:gd name="T60" fmla="*/ 2729 w 3934"/>
                <a:gd name="T61" fmla="*/ 1207 h 3950"/>
                <a:gd name="T62" fmla="*/ 2873 w 3934"/>
                <a:gd name="T63" fmla="*/ 1123 h 3950"/>
                <a:gd name="T64" fmla="*/ 2994 w 3934"/>
                <a:gd name="T65" fmla="*/ 1061 h 3950"/>
                <a:gd name="T66" fmla="*/ 3382 w 3934"/>
                <a:gd name="T67" fmla="*/ 946 h 3950"/>
                <a:gd name="T68" fmla="*/ 3410 w 3934"/>
                <a:gd name="T69" fmla="*/ 943 h 3950"/>
                <a:gd name="T70" fmla="*/ 3454 w 3934"/>
                <a:gd name="T71" fmla="*/ 947 h 3950"/>
                <a:gd name="T72" fmla="*/ 3517 w 3934"/>
                <a:gd name="T73" fmla="*/ 959 h 3950"/>
                <a:gd name="T74" fmla="*/ 3624 w 3934"/>
                <a:gd name="T75" fmla="*/ 1020 h 3950"/>
                <a:gd name="T76" fmla="*/ 3679 w 3934"/>
                <a:gd name="T77" fmla="*/ 1109 h 3950"/>
                <a:gd name="T78" fmla="*/ 3893 w 3934"/>
                <a:gd name="T79" fmla="*/ 331 h 3950"/>
                <a:gd name="T80" fmla="*/ 3924 w 3934"/>
                <a:gd name="T81" fmla="*/ 131 h 3950"/>
                <a:gd name="T82" fmla="*/ 3934 w 3934"/>
                <a:gd name="T83" fmla="*/ 47 h 3950"/>
                <a:gd name="T84" fmla="*/ 3902 w 3934"/>
                <a:gd name="T85" fmla="*/ 32 h 3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34" h="3950">
                  <a:moveTo>
                    <a:pt x="3902" y="32"/>
                  </a:moveTo>
                  <a:cubicBezTo>
                    <a:pt x="3854" y="12"/>
                    <a:pt x="3797" y="1"/>
                    <a:pt x="3727" y="0"/>
                  </a:cubicBezTo>
                  <a:cubicBezTo>
                    <a:pt x="3714" y="0"/>
                    <a:pt x="3700" y="2"/>
                    <a:pt x="3687" y="3"/>
                  </a:cubicBezTo>
                  <a:cubicBezTo>
                    <a:pt x="3664" y="4"/>
                    <a:pt x="3641" y="5"/>
                    <a:pt x="3616" y="8"/>
                  </a:cubicBezTo>
                  <a:cubicBezTo>
                    <a:pt x="3592" y="12"/>
                    <a:pt x="3567" y="16"/>
                    <a:pt x="3541" y="21"/>
                  </a:cubicBezTo>
                  <a:cubicBezTo>
                    <a:pt x="3386" y="53"/>
                    <a:pt x="3204" y="121"/>
                    <a:pt x="3005" y="222"/>
                  </a:cubicBezTo>
                  <a:cubicBezTo>
                    <a:pt x="2967" y="241"/>
                    <a:pt x="2929" y="262"/>
                    <a:pt x="2891" y="283"/>
                  </a:cubicBezTo>
                  <a:cubicBezTo>
                    <a:pt x="2851" y="305"/>
                    <a:pt x="2810" y="329"/>
                    <a:pt x="2768" y="353"/>
                  </a:cubicBezTo>
                  <a:cubicBezTo>
                    <a:pt x="2350" y="601"/>
                    <a:pt x="1878" y="968"/>
                    <a:pt x="1424" y="1424"/>
                  </a:cubicBezTo>
                  <a:cubicBezTo>
                    <a:pt x="967" y="1878"/>
                    <a:pt x="601" y="2350"/>
                    <a:pt x="353" y="2768"/>
                  </a:cubicBezTo>
                  <a:cubicBezTo>
                    <a:pt x="329" y="2810"/>
                    <a:pt x="305" y="2851"/>
                    <a:pt x="283" y="2891"/>
                  </a:cubicBezTo>
                  <a:cubicBezTo>
                    <a:pt x="261" y="2930"/>
                    <a:pt x="241" y="2968"/>
                    <a:pt x="222" y="3005"/>
                  </a:cubicBezTo>
                  <a:cubicBezTo>
                    <a:pt x="121" y="3204"/>
                    <a:pt x="53" y="3386"/>
                    <a:pt x="22" y="3540"/>
                  </a:cubicBezTo>
                  <a:cubicBezTo>
                    <a:pt x="16" y="3566"/>
                    <a:pt x="12" y="3592"/>
                    <a:pt x="8" y="3616"/>
                  </a:cubicBezTo>
                  <a:cubicBezTo>
                    <a:pt x="5" y="3641"/>
                    <a:pt x="4" y="3664"/>
                    <a:pt x="3" y="3686"/>
                  </a:cubicBezTo>
                  <a:cubicBezTo>
                    <a:pt x="2" y="3700"/>
                    <a:pt x="0" y="3714"/>
                    <a:pt x="1" y="3727"/>
                  </a:cubicBezTo>
                  <a:cubicBezTo>
                    <a:pt x="1" y="3797"/>
                    <a:pt x="12" y="3854"/>
                    <a:pt x="32" y="3902"/>
                  </a:cubicBezTo>
                  <a:cubicBezTo>
                    <a:pt x="39" y="3919"/>
                    <a:pt x="47" y="3935"/>
                    <a:pt x="56" y="3950"/>
                  </a:cubicBezTo>
                  <a:cubicBezTo>
                    <a:pt x="64" y="3949"/>
                    <a:pt x="71" y="3948"/>
                    <a:pt x="79" y="3947"/>
                  </a:cubicBezTo>
                  <a:cubicBezTo>
                    <a:pt x="147" y="3939"/>
                    <a:pt x="214" y="3929"/>
                    <a:pt x="282" y="3917"/>
                  </a:cubicBezTo>
                  <a:cubicBezTo>
                    <a:pt x="569" y="3868"/>
                    <a:pt x="852" y="3791"/>
                    <a:pt x="1127" y="3685"/>
                  </a:cubicBezTo>
                  <a:cubicBezTo>
                    <a:pt x="1087" y="3673"/>
                    <a:pt x="1050" y="3653"/>
                    <a:pt x="1020" y="3624"/>
                  </a:cubicBezTo>
                  <a:cubicBezTo>
                    <a:pt x="990" y="3594"/>
                    <a:pt x="971" y="3557"/>
                    <a:pt x="959" y="3517"/>
                  </a:cubicBezTo>
                  <a:cubicBezTo>
                    <a:pt x="953" y="3497"/>
                    <a:pt x="949" y="3476"/>
                    <a:pt x="946" y="3454"/>
                  </a:cubicBezTo>
                  <a:cubicBezTo>
                    <a:pt x="945" y="3440"/>
                    <a:pt x="943" y="3425"/>
                    <a:pt x="943" y="3410"/>
                  </a:cubicBezTo>
                  <a:cubicBezTo>
                    <a:pt x="944" y="3401"/>
                    <a:pt x="945" y="3392"/>
                    <a:pt x="945" y="3382"/>
                  </a:cubicBezTo>
                  <a:cubicBezTo>
                    <a:pt x="952" y="3271"/>
                    <a:pt x="992" y="3140"/>
                    <a:pt x="1060" y="2995"/>
                  </a:cubicBezTo>
                  <a:cubicBezTo>
                    <a:pt x="1079" y="2955"/>
                    <a:pt x="1100" y="2914"/>
                    <a:pt x="1123" y="2873"/>
                  </a:cubicBezTo>
                  <a:cubicBezTo>
                    <a:pt x="1148" y="2826"/>
                    <a:pt x="1176" y="2778"/>
                    <a:pt x="1207" y="2729"/>
                  </a:cubicBezTo>
                  <a:cubicBezTo>
                    <a:pt x="1371" y="2466"/>
                    <a:pt x="1606" y="2176"/>
                    <a:pt x="1890" y="1890"/>
                  </a:cubicBezTo>
                  <a:cubicBezTo>
                    <a:pt x="2176" y="1606"/>
                    <a:pt x="2466" y="1372"/>
                    <a:pt x="2729" y="1207"/>
                  </a:cubicBezTo>
                  <a:cubicBezTo>
                    <a:pt x="2778" y="1176"/>
                    <a:pt x="2825" y="1149"/>
                    <a:pt x="2873" y="1123"/>
                  </a:cubicBezTo>
                  <a:cubicBezTo>
                    <a:pt x="2914" y="1100"/>
                    <a:pt x="2955" y="1079"/>
                    <a:pt x="2994" y="1061"/>
                  </a:cubicBezTo>
                  <a:cubicBezTo>
                    <a:pt x="3140" y="992"/>
                    <a:pt x="3271" y="953"/>
                    <a:pt x="3382" y="946"/>
                  </a:cubicBezTo>
                  <a:cubicBezTo>
                    <a:pt x="3392" y="945"/>
                    <a:pt x="3401" y="944"/>
                    <a:pt x="3410" y="943"/>
                  </a:cubicBezTo>
                  <a:cubicBezTo>
                    <a:pt x="3425" y="943"/>
                    <a:pt x="3440" y="945"/>
                    <a:pt x="3454" y="947"/>
                  </a:cubicBezTo>
                  <a:cubicBezTo>
                    <a:pt x="3476" y="949"/>
                    <a:pt x="3497" y="953"/>
                    <a:pt x="3517" y="959"/>
                  </a:cubicBezTo>
                  <a:cubicBezTo>
                    <a:pt x="3557" y="971"/>
                    <a:pt x="3594" y="990"/>
                    <a:pt x="3624" y="1020"/>
                  </a:cubicBezTo>
                  <a:cubicBezTo>
                    <a:pt x="3649" y="1045"/>
                    <a:pt x="3667" y="1076"/>
                    <a:pt x="3679" y="1109"/>
                  </a:cubicBezTo>
                  <a:cubicBezTo>
                    <a:pt x="3774" y="856"/>
                    <a:pt x="3846" y="595"/>
                    <a:pt x="3893" y="331"/>
                  </a:cubicBezTo>
                  <a:cubicBezTo>
                    <a:pt x="3905" y="265"/>
                    <a:pt x="3915" y="198"/>
                    <a:pt x="3924" y="131"/>
                  </a:cubicBezTo>
                  <a:cubicBezTo>
                    <a:pt x="3928" y="103"/>
                    <a:pt x="3931" y="75"/>
                    <a:pt x="3934" y="47"/>
                  </a:cubicBezTo>
                  <a:cubicBezTo>
                    <a:pt x="3924" y="41"/>
                    <a:pt x="3913" y="37"/>
                    <a:pt x="3902" y="3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sp>
        <p:nvSpPr>
          <p:cNvPr id="8" name="Platshållare för bild 7"/>
          <p:cNvSpPr>
            <a:spLocks noGrp="1"/>
          </p:cNvSpPr>
          <p:nvPr>
            <p:ph type="pic" sz="quarter" idx="15" hasCustomPrompt="1"/>
          </p:nvPr>
        </p:nvSpPr>
        <p:spPr>
          <a:xfrm>
            <a:off x="1292204" y="1347699"/>
            <a:ext cx="6559591" cy="2894111"/>
          </a:xfrm>
          <a:prstGeom prst="rect">
            <a:avLst/>
          </a:prstGeom>
        </p:spPr>
        <p:txBody>
          <a:bodyPr/>
          <a:lstStyle>
            <a:lvl1pPr marL="0" indent="0">
              <a:buNone/>
              <a:defRPr/>
            </a:lvl1pPr>
          </a:lstStyle>
          <a:p>
            <a:r>
              <a:rPr lang="sv-SE"/>
              <a:t> </a:t>
            </a:r>
          </a:p>
        </p:txBody>
      </p:sp>
      <p:sp>
        <p:nvSpPr>
          <p:cNvPr id="34" name="Rubrik 33"/>
          <p:cNvSpPr>
            <a:spLocks noGrp="1"/>
          </p:cNvSpPr>
          <p:nvPr>
            <p:ph type="title" hasCustomPrompt="1"/>
          </p:nvPr>
        </p:nvSpPr>
        <p:spPr>
          <a:xfrm>
            <a:off x="380999" y="231140"/>
            <a:ext cx="8347149" cy="793918"/>
          </a:xfrm>
          <a:prstGeom prst="rect">
            <a:avLst/>
          </a:prstGeom>
        </p:spPr>
        <p:txBody>
          <a:bodyPr lIns="0" tIns="0" rIns="0" bIns="0" anchor="t" anchorCtr="0">
            <a:normAutofit/>
          </a:bodyPr>
          <a:lstStyle>
            <a:lvl1pPr algn="l">
              <a:defRPr sz="3600">
                <a:solidFill>
                  <a:schemeClr val="tx1"/>
                </a:solidFill>
                <a:latin typeface="Calibri"/>
                <a:cs typeface="Calibri"/>
              </a:defRPr>
            </a:lvl1pPr>
          </a:lstStyle>
          <a:p>
            <a:r>
              <a:rPr lang="en-GB"/>
              <a:t>Heading</a:t>
            </a:r>
            <a:endParaRPr lang="sv-SE"/>
          </a:p>
        </p:txBody>
      </p:sp>
      <p:pic>
        <p:nvPicPr>
          <p:cNvPr id="20" name="Bildobjekt 1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0201" y="4590290"/>
            <a:ext cx="850195" cy="307734"/>
          </a:xfrm>
          <a:prstGeom prst="rect">
            <a:avLst/>
          </a:prstGeom>
        </p:spPr>
      </p:pic>
      <p:sp>
        <p:nvSpPr>
          <p:cNvPr id="33" name="Platshållare för sidfot 4">
            <a:extLst>
              <a:ext uri="{FF2B5EF4-FFF2-40B4-BE49-F238E27FC236}">
                <a16:creationId xmlns:a16="http://schemas.microsoft.com/office/drawing/2014/main" id="{1C6FB3DB-0950-4666-B82C-9D97BBA59464}"/>
              </a:ext>
            </a:extLst>
          </p:cNvPr>
          <p:cNvSpPr>
            <a:spLocks noGrp="1"/>
          </p:cNvSpPr>
          <p:nvPr>
            <p:ph type="ftr" sz="quarter" idx="11"/>
          </p:nvPr>
        </p:nvSpPr>
        <p:spPr>
          <a:xfrm>
            <a:off x="5824413" y="4483997"/>
            <a:ext cx="2509889" cy="382813"/>
          </a:xfrm>
          <a:prstGeom prst="rect">
            <a:avLst/>
          </a:prstGeom>
        </p:spPr>
        <p:txBody>
          <a:bodyPr lIns="0" tIns="0" rIns="0" bIns="0" anchor="b" anchorCtr="0"/>
          <a:lstStyle>
            <a:lvl1pPr algn="r">
              <a:defRPr sz="900" b="0">
                <a:solidFill>
                  <a:schemeClr val="tx1"/>
                </a:solidFill>
              </a:defRPr>
            </a:lvl1pPr>
          </a:lstStyle>
          <a:p>
            <a:r>
              <a:rPr lang="en-US"/>
              <a:t>Stakeholder Forum Agenda - Classification: External</a:t>
            </a:r>
            <a:endParaRPr lang="sv-SE"/>
          </a:p>
        </p:txBody>
      </p:sp>
      <p:sp>
        <p:nvSpPr>
          <p:cNvPr id="36" name="Platshållare för datum 3">
            <a:extLst>
              <a:ext uri="{FF2B5EF4-FFF2-40B4-BE49-F238E27FC236}">
                <a16:creationId xmlns:a16="http://schemas.microsoft.com/office/drawing/2014/main" id="{97EB302E-14CD-416C-8A6C-FB57E371C736}"/>
              </a:ext>
            </a:extLst>
          </p:cNvPr>
          <p:cNvSpPr>
            <a:spLocks noGrp="1"/>
          </p:cNvSpPr>
          <p:nvPr>
            <p:ph type="dt" sz="half" idx="10"/>
          </p:nvPr>
        </p:nvSpPr>
        <p:spPr>
          <a:xfrm>
            <a:off x="4734099" y="4495861"/>
            <a:ext cx="1018558" cy="370949"/>
          </a:xfrm>
          <a:prstGeom prst="rect">
            <a:avLst/>
          </a:prstGeom>
        </p:spPr>
        <p:txBody>
          <a:bodyPr lIns="0" tIns="0" rIns="0" bIns="0" anchor="b" anchorCtr="0"/>
          <a:lstStyle>
            <a:lvl1pPr algn="l">
              <a:defRPr sz="900" b="0" i="0" cap="all">
                <a:solidFill>
                  <a:schemeClr val="tx1"/>
                </a:solidFill>
              </a:defRPr>
            </a:lvl1pPr>
          </a:lstStyle>
          <a:p>
            <a:r>
              <a:rPr lang="sv-SE"/>
              <a:t>26/03/2026</a:t>
            </a:r>
          </a:p>
        </p:txBody>
      </p:sp>
      <p:sp>
        <p:nvSpPr>
          <p:cNvPr id="37" name="Platshållare för bildnummer 5">
            <a:extLst>
              <a:ext uri="{FF2B5EF4-FFF2-40B4-BE49-F238E27FC236}">
                <a16:creationId xmlns:a16="http://schemas.microsoft.com/office/drawing/2014/main" id="{62D3D4A6-6864-4A7B-83DD-99A157B1FAC2}"/>
              </a:ext>
            </a:extLst>
          </p:cNvPr>
          <p:cNvSpPr>
            <a:spLocks noGrp="1"/>
          </p:cNvSpPr>
          <p:nvPr>
            <p:ph type="sldNum" sz="quarter" idx="12"/>
          </p:nvPr>
        </p:nvSpPr>
        <p:spPr>
          <a:xfrm>
            <a:off x="8383230" y="4469824"/>
            <a:ext cx="368658" cy="396987"/>
          </a:xfrm>
          <a:prstGeom prst="rect">
            <a:avLst/>
          </a:prstGeom>
          <a:noFill/>
        </p:spPr>
        <p:txBody>
          <a:bodyPr lIns="25400" tIns="0" rIns="0" bIns="0" anchor="b" anchorCtr="0"/>
          <a:lstStyle>
            <a:lvl1pPr algn="r">
              <a:defRPr sz="900">
                <a:solidFill>
                  <a:schemeClr val="tx1"/>
                </a:solidFill>
              </a:defRPr>
            </a:lvl1pPr>
          </a:lstStyle>
          <a:p>
            <a:fld id="{394EE31B-4DFC-CF4D-9A18-3F5D4D7C7302}" type="slidenum">
              <a:rPr lang="sv-SE" smtClean="0"/>
              <a:pPr/>
              <a:t>‹#›</a:t>
            </a:fld>
            <a:endParaRPr lang="sv-SE"/>
          </a:p>
        </p:txBody>
      </p:sp>
    </p:spTree>
    <p:extLst>
      <p:ext uri="{BB962C8B-B14F-4D97-AF65-F5344CB8AC3E}">
        <p14:creationId xmlns:p14="http://schemas.microsoft.com/office/powerpoint/2010/main" val="169427190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4_Omsla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175562D-8BE4-4E07-BD9B-7CEBE40A1A7F}"/>
              </a:ext>
            </a:extLst>
          </p:cNvPr>
          <p:cNvSpPr>
            <a:spLocks noGrp="1"/>
          </p:cNvSpPr>
          <p:nvPr>
            <p:ph type="ctrTitle"/>
          </p:nvPr>
        </p:nvSpPr>
        <p:spPr>
          <a:xfrm>
            <a:off x="1014822" y="254000"/>
            <a:ext cx="4881152" cy="2317750"/>
          </a:xfrm>
        </p:spPr>
        <p:txBody>
          <a:bodyPr lIns="0" tIns="0" rIns="0" bIns="0" anchor="b" anchorCtr="0"/>
          <a:lstStyle>
            <a:lvl1pPr algn="l">
              <a:lnSpc>
                <a:spcPct val="100000"/>
              </a:lnSpc>
              <a:defRPr sz="2800"/>
            </a:lvl1pPr>
          </a:lstStyle>
          <a:p>
            <a:r>
              <a:rPr lang="sv-SE"/>
              <a:t>Klicka här för att ändra mall för rubrikformat</a:t>
            </a:r>
          </a:p>
        </p:txBody>
      </p:sp>
      <p:sp>
        <p:nvSpPr>
          <p:cNvPr id="3" name="Underrubrik 2">
            <a:extLst>
              <a:ext uri="{FF2B5EF4-FFF2-40B4-BE49-F238E27FC236}">
                <a16:creationId xmlns:a16="http://schemas.microsoft.com/office/drawing/2014/main" id="{2DB9F56F-2AD1-42EA-A8BF-E10C61A55E2D}"/>
              </a:ext>
            </a:extLst>
          </p:cNvPr>
          <p:cNvSpPr>
            <a:spLocks noGrp="1"/>
          </p:cNvSpPr>
          <p:nvPr>
            <p:ph type="subTitle" idx="1"/>
          </p:nvPr>
        </p:nvSpPr>
        <p:spPr>
          <a:xfrm>
            <a:off x="1036638" y="2698749"/>
            <a:ext cx="4165600" cy="1501535"/>
          </a:xfrm>
        </p:spPr>
        <p:txBody>
          <a:bodyPr lIns="0" tIns="127000" rIns="0" bIns="0" anchor="t" anchorCtr="0">
            <a:noAutofit/>
          </a:bodyPr>
          <a:lstStyle>
            <a:lvl1pPr marL="0" indent="0" algn="l">
              <a:buNone/>
              <a:defRPr sz="14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Klicka här för att ändra mall för underrubrikformat</a:t>
            </a:r>
          </a:p>
        </p:txBody>
      </p:sp>
      <p:sp>
        <p:nvSpPr>
          <p:cNvPr id="14" name="Platshållare för bild 12">
            <a:extLst>
              <a:ext uri="{FF2B5EF4-FFF2-40B4-BE49-F238E27FC236}">
                <a16:creationId xmlns:a16="http://schemas.microsoft.com/office/drawing/2014/main" id="{440E45C1-8119-40D6-9263-EAC57AB3744D}"/>
              </a:ext>
            </a:extLst>
          </p:cNvPr>
          <p:cNvSpPr>
            <a:spLocks noGrp="1"/>
          </p:cNvSpPr>
          <p:nvPr>
            <p:ph type="pic" sz="quarter" idx="10"/>
          </p:nvPr>
        </p:nvSpPr>
        <p:spPr>
          <a:xfrm>
            <a:off x="5545138" y="496888"/>
            <a:ext cx="3344862" cy="4220307"/>
          </a:xfrm>
          <a:custGeom>
            <a:avLst/>
            <a:gdLst>
              <a:gd name="connsiteX0" fmla="*/ 0 w 3115338"/>
              <a:gd name="connsiteY0" fmla="*/ 1620501 h 3241002"/>
              <a:gd name="connsiteX1" fmla="*/ 778835 w 3115338"/>
              <a:gd name="connsiteY1" fmla="*/ 1 h 3241002"/>
              <a:gd name="connsiteX2" fmla="*/ 2336504 w 3115338"/>
              <a:gd name="connsiteY2" fmla="*/ 1 h 3241002"/>
              <a:gd name="connsiteX3" fmla="*/ 3115338 w 3115338"/>
              <a:gd name="connsiteY3" fmla="*/ 1620501 h 3241002"/>
              <a:gd name="connsiteX4" fmla="*/ 2336504 w 3115338"/>
              <a:gd name="connsiteY4" fmla="*/ 3241001 h 3241002"/>
              <a:gd name="connsiteX5" fmla="*/ 778835 w 3115338"/>
              <a:gd name="connsiteY5" fmla="*/ 3241001 h 3241002"/>
              <a:gd name="connsiteX6" fmla="*/ 0 w 3115338"/>
              <a:gd name="connsiteY6" fmla="*/ 1620501 h 3241002"/>
              <a:gd name="connsiteX0" fmla="*/ 0 w 3093822"/>
              <a:gd name="connsiteY0" fmla="*/ 706100 h 3241000"/>
              <a:gd name="connsiteX1" fmla="*/ 757319 w 3093822"/>
              <a:gd name="connsiteY1" fmla="*/ 0 h 3241000"/>
              <a:gd name="connsiteX2" fmla="*/ 2314988 w 3093822"/>
              <a:gd name="connsiteY2" fmla="*/ 0 h 3241000"/>
              <a:gd name="connsiteX3" fmla="*/ 3093822 w 3093822"/>
              <a:gd name="connsiteY3" fmla="*/ 1620500 h 3241000"/>
              <a:gd name="connsiteX4" fmla="*/ 2314988 w 3093822"/>
              <a:gd name="connsiteY4" fmla="*/ 3241000 h 3241000"/>
              <a:gd name="connsiteX5" fmla="*/ 757319 w 3093822"/>
              <a:gd name="connsiteY5" fmla="*/ 3241000 h 3241000"/>
              <a:gd name="connsiteX6" fmla="*/ 0 w 3093822"/>
              <a:gd name="connsiteY6" fmla="*/ 706100 h 3241000"/>
              <a:gd name="connsiteX0" fmla="*/ 0 w 3093822"/>
              <a:gd name="connsiteY0" fmla="*/ 1157921 h 3692821"/>
              <a:gd name="connsiteX1" fmla="*/ 1542627 w 3093822"/>
              <a:gd name="connsiteY1" fmla="*/ 0 h 3692821"/>
              <a:gd name="connsiteX2" fmla="*/ 2314988 w 3093822"/>
              <a:gd name="connsiteY2" fmla="*/ 451821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093822"/>
              <a:gd name="connsiteY0" fmla="*/ 1157921 h 3692821"/>
              <a:gd name="connsiteX1" fmla="*/ 1542627 w 3093822"/>
              <a:gd name="connsiteY1" fmla="*/ 0 h 3692821"/>
              <a:gd name="connsiteX2" fmla="*/ 3089538 w 3093822"/>
              <a:gd name="connsiteY2" fmla="*/ 1151068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104579"/>
              <a:gd name="connsiteY0" fmla="*/ 1157921 h 3692821"/>
              <a:gd name="connsiteX1" fmla="*/ 1542627 w 3104579"/>
              <a:gd name="connsiteY1" fmla="*/ 0 h 3692821"/>
              <a:gd name="connsiteX2" fmla="*/ 3089538 w 3104579"/>
              <a:gd name="connsiteY2" fmla="*/ 1151068 h 3692821"/>
              <a:gd name="connsiteX3" fmla="*/ 3104579 w 3104579"/>
              <a:gd name="connsiteY3" fmla="*/ 2814598 h 3692821"/>
              <a:gd name="connsiteX4" fmla="*/ 2314988 w 3104579"/>
              <a:gd name="connsiteY4" fmla="*/ 3692821 h 3692821"/>
              <a:gd name="connsiteX5" fmla="*/ 757319 w 3104579"/>
              <a:gd name="connsiteY5" fmla="*/ 3692821 h 3692821"/>
              <a:gd name="connsiteX6" fmla="*/ 0 w 3104579"/>
              <a:gd name="connsiteY6" fmla="*/ 1157921 h 3692821"/>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757319 w 3104579"/>
              <a:gd name="connsiteY5" fmla="*/ 3692821 h 3994035"/>
              <a:gd name="connsiteX6" fmla="*/ 0 w 3104579"/>
              <a:gd name="connsiteY6" fmla="*/ 1157921 h 3994035"/>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57921 h 3994035"/>
              <a:gd name="connsiteX0" fmla="*/ 0 w 3104579"/>
              <a:gd name="connsiteY0" fmla="*/ 1168679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 name="connsiteX0" fmla="*/ 0 w 3104579"/>
              <a:gd name="connsiteY0" fmla="*/ 1168679 h 3994035"/>
              <a:gd name="connsiteX1" fmla="*/ 1542627 w 3104579"/>
              <a:gd name="connsiteY1" fmla="*/ 0 h 3994035"/>
              <a:gd name="connsiteX2" fmla="*/ 3100295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04579" h="3994035">
                <a:moveTo>
                  <a:pt x="0" y="1168679"/>
                </a:moveTo>
                <a:lnTo>
                  <a:pt x="1542627" y="0"/>
                </a:lnTo>
                <a:lnTo>
                  <a:pt x="3100295" y="1151068"/>
                </a:lnTo>
                <a:lnTo>
                  <a:pt x="3104579" y="2814598"/>
                </a:lnTo>
                <a:lnTo>
                  <a:pt x="1540438" y="3994035"/>
                </a:lnTo>
                <a:lnTo>
                  <a:pt x="4284" y="2853725"/>
                </a:lnTo>
                <a:lnTo>
                  <a:pt x="0" y="1168679"/>
                </a:lnTo>
                <a:close/>
              </a:path>
            </a:pathLst>
          </a:custGeom>
          <a:solidFill>
            <a:schemeClr val="bg1"/>
          </a:solidFill>
        </p:spPr>
        <p:txBody>
          <a:bodyPr>
            <a:normAutofit/>
          </a:bodyPr>
          <a:lstStyle/>
          <a:p>
            <a:endParaRPr lang="sv-SE"/>
          </a:p>
        </p:txBody>
      </p:sp>
    </p:spTree>
    <p:extLst>
      <p:ext uri="{BB962C8B-B14F-4D97-AF65-F5344CB8AC3E}">
        <p14:creationId xmlns:p14="http://schemas.microsoft.com/office/powerpoint/2010/main" val="9668325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5_Omsla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175562D-8BE4-4E07-BD9B-7CEBE40A1A7F}"/>
              </a:ext>
            </a:extLst>
          </p:cNvPr>
          <p:cNvSpPr>
            <a:spLocks noGrp="1"/>
          </p:cNvSpPr>
          <p:nvPr>
            <p:ph type="ctrTitle"/>
          </p:nvPr>
        </p:nvSpPr>
        <p:spPr>
          <a:xfrm>
            <a:off x="1014822" y="254000"/>
            <a:ext cx="4881152" cy="2317750"/>
          </a:xfrm>
        </p:spPr>
        <p:txBody>
          <a:bodyPr lIns="0" tIns="0" rIns="0" bIns="0" anchor="b" anchorCtr="0"/>
          <a:lstStyle>
            <a:lvl1pPr algn="l">
              <a:lnSpc>
                <a:spcPct val="100000"/>
              </a:lnSpc>
              <a:defRPr sz="2800"/>
            </a:lvl1pPr>
          </a:lstStyle>
          <a:p>
            <a:r>
              <a:rPr lang="sv-SE"/>
              <a:t>Klicka här för att ändra mall för rubrikformat</a:t>
            </a:r>
          </a:p>
        </p:txBody>
      </p:sp>
      <p:sp>
        <p:nvSpPr>
          <p:cNvPr id="3" name="Underrubrik 2">
            <a:extLst>
              <a:ext uri="{FF2B5EF4-FFF2-40B4-BE49-F238E27FC236}">
                <a16:creationId xmlns:a16="http://schemas.microsoft.com/office/drawing/2014/main" id="{2DB9F56F-2AD1-42EA-A8BF-E10C61A55E2D}"/>
              </a:ext>
            </a:extLst>
          </p:cNvPr>
          <p:cNvSpPr>
            <a:spLocks noGrp="1"/>
          </p:cNvSpPr>
          <p:nvPr>
            <p:ph type="subTitle" idx="1"/>
          </p:nvPr>
        </p:nvSpPr>
        <p:spPr>
          <a:xfrm>
            <a:off x="1036638" y="2698749"/>
            <a:ext cx="4165600" cy="1501535"/>
          </a:xfrm>
        </p:spPr>
        <p:txBody>
          <a:bodyPr lIns="0" tIns="127000" rIns="0" bIns="0" anchor="t" anchorCtr="0">
            <a:noAutofit/>
          </a:bodyPr>
          <a:lstStyle>
            <a:lvl1pPr marL="0" indent="0" algn="l">
              <a:buNone/>
              <a:defRPr sz="14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Klicka här för att ändra mall för underrubrikformat</a:t>
            </a:r>
          </a:p>
        </p:txBody>
      </p:sp>
      <p:sp>
        <p:nvSpPr>
          <p:cNvPr id="14" name="Platshållare för bild 12">
            <a:extLst>
              <a:ext uri="{FF2B5EF4-FFF2-40B4-BE49-F238E27FC236}">
                <a16:creationId xmlns:a16="http://schemas.microsoft.com/office/drawing/2014/main" id="{440E45C1-8119-40D6-9263-EAC57AB3744D}"/>
              </a:ext>
            </a:extLst>
          </p:cNvPr>
          <p:cNvSpPr>
            <a:spLocks noGrp="1"/>
          </p:cNvSpPr>
          <p:nvPr>
            <p:ph type="pic" sz="quarter" idx="10"/>
          </p:nvPr>
        </p:nvSpPr>
        <p:spPr>
          <a:xfrm>
            <a:off x="5545138" y="496888"/>
            <a:ext cx="3344862" cy="4220307"/>
          </a:xfrm>
          <a:custGeom>
            <a:avLst/>
            <a:gdLst>
              <a:gd name="connsiteX0" fmla="*/ 0 w 3115338"/>
              <a:gd name="connsiteY0" fmla="*/ 1620501 h 3241002"/>
              <a:gd name="connsiteX1" fmla="*/ 778835 w 3115338"/>
              <a:gd name="connsiteY1" fmla="*/ 1 h 3241002"/>
              <a:gd name="connsiteX2" fmla="*/ 2336504 w 3115338"/>
              <a:gd name="connsiteY2" fmla="*/ 1 h 3241002"/>
              <a:gd name="connsiteX3" fmla="*/ 3115338 w 3115338"/>
              <a:gd name="connsiteY3" fmla="*/ 1620501 h 3241002"/>
              <a:gd name="connsiteX4" fmla="*/ 2336504 w 3115338"/>
              <a:gd name="connsiteY4" fmla="*/ 3241001 h 3241002"/>
              <a:gd name="connsiteX5" fmla="*/ 778835 w 3115338"/>
              <a:gd name="connsiteY5" fmla="*/ 3241001 h 3241002"/>
              <a:gd name="connsiteX6" fmla="*/ 0 w 3115338"/>
              <a:gd name="connsiteY6" fmla="*/ 1620501 h 3241002"/>
              <a:gd name="connsiteX0" fmla="*/ 0 w 3093822"/>
              <a:gd name="connsiteY0" fmla="*/ 706100 h 3241000"/>
              <a:gd name="connsiteX1" fmla="*/ 757319 w 3093822"/>
              <a:gd name="connsiteY1" fmla="*/ 0 h 3241000"/>
              <a:gd name="connsiteX2" fmla="*/ 2314988 w 3093822"/>
              <a:gd name="connsiteY2" fmla="*/ 0 h 3241000"/>
              <a:gd name="connsiteX3" fmla="*/ 3093822 w 3093822"/>
              <a:gd name="connsiteY3" fmla="*/ 1620500 h 3241000"/>
              <a:gd name="connsiteX4" fmla="*/ 2314988 w 3093822"/>
              <a:gd name="connsiteY4" fmla="*/ 3241000 h 3241000"/>
              <a:gd name="connsiteX5" fmla="*/ 757319 w 3093822"/>
              <a:gd name="connsiteY5" fmla="*/ 3241000 h 3241000"/>
              <a:gd name="connsiteX6" fmla="*/ 0 w 3093822"/>
              <a:gd name="connsiteY6" fmla="*/ 706100 h 3241000"/>
              <a:gd name="connsiteX0" fmla="*/ 0 w 3093822"/>
              <a:gd name="connsiteY0" fmla="*/ 1157921 h 3692821"/>
              <a:gd name="connsiteX1" fmla="*/ 1542627 w 3093822"/>
              <a:gd name="connsiteY1" fmla="*/ 0 h 3692821"/>
              <a:gd name="connsiteX2" fmla="*/ 2314988 w 3093822"/>
              <a:gd name="connsiteY2" fmla="*/ 451821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093822"/>
              <a:gd name="connsiteY0" fmla="*/ 1157921 h 3692821"/>
              <a:gd name="connsiteX1" fmla="*/ 1542627 w 3093822"/>
              <a:gd name="connsiteY1" fmla="*/ 0 h 3692821"/>
              <a:gd name="connsiteX2" fmla="*/ 3089538 w 3093822"/>
              <a:gd name="connsiteY2" fmla="*/ 1151068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104579"/>
              <a:gd name="connsiteY0" fmla="*/ 1157921 h 3692821"/>
              <a:gd name="connsiteX1" fmla="*/ 1542627 w 3104579"/>
              <a:gd name="connsiteY1" fmla="*/ 0 h 3692821"/>
              <a:gd name="connsiteX2" fmla="*/ 3089538 w 3104579"/>
              <a:gd name="connsiteY2" fmla="*/ 1151068 h 3692821"/>
              <a:gd name="connsiteX3" fmla="*/ 3104579 w 3104579"/>
              <a:gd name="connsiteY3" fmla="*/ 2814598 h 3692821"/>
              <a:gd name="connsiteX4" fmla="*/ 2314988 w 3104579"/>
              <a:gd name="connsiteY4" fmla="*/ 3692821 h 3692821"/>
              <a:gd name="connsiteX5" fmla="*/ 757319 w 3104579"/>
              <a:gd name="connsiteY5" fmla="*/ 3692821 h 3692821"/>
              <a:gd name="connsiteX6" fmla="*/ 0 w 3104579"/>
              <a:gd name="connsiteY6" fmla="*/ 1157921 h 3692821"/>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757319 w 3104579"/>
              <a:gd name="connsiteY5" fmla="*/ 3692821 h 3994035"/>
              <a:gd name="connsiteX6" fmla="*/ 0 w 3104579"/>
              <a:gd name="connsiteY6" fmla="*/ 1157921 h 3994035"/>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57921 h 3994035"/>
              <a:gd name="connsiteX0" fmla="*/ 0 w 3104579"/>
              <a:gd name="connsiteY0" fmla="*/ 1168679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 name="connsiteX0" fmla="*/ 0 w 3104579"/>
              <a:gd name="connsiteY0" fmla="*/ 1168679 h 3994035"/>
              <a:gd name="connsiteX1" fmla="*/ 1542627 w 3104579"/>
              <a:gd name="connsiteY1" fmla="*/ 0 h 3994035"/>
              <a:gd name="connsiteX2" fmla="*/ 3100295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04579" h="3994035">
                <a:moveTo>
                  <a:pt x="0" y="1168679"/>
                </a:moveTo>
                <a:lnTo>
                  <a:pt x="1542627" y="0"/>
                </a:lnTo>
                <a:lnTo>
                  <a:pt x="3100295" y="1151068"/>
                </a:lnTo>
                <a:lnTo>
                  <a:pt x="3104579" y="2814598"/>
                </a:lnTo>
                <a:lnTo>
                  <a:pt x="1540438" y="3994035"/>
                </a:lnTo>
                <a:lnTo>
                  <a:pt x="4284" y="2853725"/>
                </a:lnTo>
                <a:lnTo>
                  <a:pt x="0" y="1168679"/>
                </a:lnTo>
                <a:close/>
              </a:path>
            </a:pathLst>
          </a:custGeom>
          <a:solidFill>
            <a:schemeClr val="bg1"/>
          </a:solidFill>
        </p:spPr>
        <p:txBody>
          <a:bodyPr>
            <a:normAutofit/>
          </a:bodyPr>
          <a:lstStyle/>
          <a:p>
            <a:endParaRPr lang="sv-SE"/>
          </a:p>
        </p:txBody>
      </p:sp>
    </p:spTree>
    <p:extLst>
      <p:ext uri="{BB962C8B-B14F-4D97-AF65-F5344CB8AC3E}">
        <p14:creationId xmlns:p14="http://schemas.microsoft.com/office/powerpoint/2010/main" val="18742776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Avsnit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175562D-8BE4-4E07-BD9B-7CEBE40A1A7F}"/>
              </a:ext>
            </a:extLst>
          </p:cNvPr>
          <p:cNvSpPr>
            <a:spLocks noGrp="1"/>
          </p:cNvSpPr>
          <p:nvPr>
            <p:ph type="ctrTitle"/>
          </p:nvPr>
        </p:nvSpPr>
        <p:spPr>
          <a:xfrm>
            <a:off x="1036638" y="1947982"/>
            <a:ext cx="4881152" cy="1438156"/>
          </a:xfrm>
        </p:spPr>
        <p:txBody>
          <a:bodyPr lIns="0" tIns="0" rIns="0" bIns="0" anchor="b" anchorCtr="0"/>
          <a:lstStyle>
            <a:lvl1pPr algn="l">
              <a:lnSpc>
                <a:spcPct val="100000"/>
              </a:lnSpc>
              <a:defRPr sz="2200"/>
            </a:lvl1pPr>
          </a:lstStyle>
          <a:p>
            <a:r>
              <a:rPr lang="sv-SE"/>
              <a:t>Klicka här för att ändra mall för rubrikformat</a:t>
            </a:r>
          </a:p>
        </p:txBody>
      </p:sp>
      <p:sp>
        <p:nvSpPr>
          <p:cNvPr id="3" name="Underrubrik 2">
            <a:extLst>
              <a:ext uri="{FF2B5EF4-FFF2-40B4-BE49-F238E27FC236}">
                <a16:creationId xmlns:a16="http://schemas.microsoft.com/office/drawing/2014/main" id="{2DB9F56F-2AD1-42EA-A8BF-E10C61A55E2D}"/>
              </a:ext>
            </a:extLst>
          </p:cNvPr>
          <p:cNvSpPr>
            <a:spLocks noGrp="1"/>
          </p:cNvSpPr>
          <p:nvPr>
            <p:ph type="subTitle" idx="1"/>
          </p:nvPr>
        </p:nvSpPr>
        <p:spPr>
          <a:xfrm>
            <a:off x="1036638" y="3513138"/>
            <a:ext cx="4187416" cy="814386"/>
          </a:xfrm>
        </p:spPr>
        <p:txBody>
          <a:bodyPr lIns="0" tIns="127000" rIns="0" bIns="0" anchor="t" anchorCtr="0">
            <a:noAutofit/>
          </a:bodyPr>
          <a:lstStyle>
            <a:lvl1pPr marL="0" indent="0" algn="l">
              <a:buNone/>
              <a:defRPr sz="14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Klicka här för att ändra mall för underrubrikformat</a:t>
            </a:r>
          </a:p>
        </p:txBody>
      </p:sp>
      <p:sp>
        <p:nvSpPr>
          <p:cNvPr id="14" name="Platshållare för bild 12">
            <a:extLst>
              <a:ext uri="{FF2B5EF4-FFF2-40B4-BE49-F238E27FC236}">
                <a16:creationId xmlns:a16="http://schemas.microsoft.com/office/drawing/2014/main" id="{440E45C1-8119-40D6-9263-EAC57AB3744D}"/>
              </a:ext>
            </a:extLst>
          </p:cNvPr>
          <p:cNvSpPr>
            <a:spLocks noGrp="1"/>
          </p:cNvSpPr>
          <p:nvPr>
            <p:ph type="pic" sz="quarter" idx="10" hasCustomPrompt="1"/>
          </p:nvPr>
        </p:nvSpPr>
        <p:spPr>
          <a:xfrm>
            <a:off x="5312954" y="-7620"/>
            <a:ext cx="3344862" cy="3288983"/>
          </a:xfrm>
          <a:custGeom>
            <a:avLst/>
            <a:gdLst>
              <a:gd name="connsiteX0" fmla="*/ 0 w 3115338"/>
              <a:gd name="connsiteY0" fmla="*/ 1620501 h 3241002"/>
              <a:gd name="connsiteX1" fmla="*/ 778835 w 3115338"/>
              <a:gd name="connsiteY1" fmla="*/ 1 h 3241002"/>
              <a:gd name="connsiteX2" fmla="*/ 2336504 w 3115338"/>
              <a:gd name="connsiteY2" fmla="*/ 1 h 3241002"/>
              <a:gd name="connsiteX3" fmla="*/ 3115338 w 3115338"/>
              <a:gd name="connsiteY3" fmla="*/ 1620501 h 3241002"/>
              <a:gd name="connsiteX4" fmla="*/ 2336504 w 3115338"/>
              <a:gd name="connsiteY4" fmla="*/ 3241001 h 3241002"/>
              <a:gd name="connsiteX5" fmla="*/ 778835 w 3115338"/>
              <a:gd name="connsiteY5" fmla="*/ 3241001 h 3241002"/>
              <a:gd name="connsiteX6" fmla="*/ 0 w 3115338"/>
              <a:gd name="connsiteY6" fmla="*/ 1620501 h 3241002"/>
              <a:gd name="connsiteX0" fmla="*/ 0 w 3093822"/>
              <a:gd name="connsiteY0" fmla="*/ 706100 h 3241000"/>
              <a:gd name="connsiteX1" fmla="*/ 757319 w 3093822"/>
              <a:gd name="connsiteY1" fmla="*/ 0 h 3241000"/>
              <a:gd name="connsiteX2" fmla="*/ 2314988 w 3093822"/>
              <a:gd name="connsiteY2" fmla="*/ 0 h 3241000"/>
              <a:gd name="connsiteX3" fmla="*/ 3093822 w 3093822"/>
              <a:gd name="connsiteY3" fmla="*/ 1620500 h 3241000"/>
              <a:gd name="connsiteX4" fmla="*/ 2314988 w 3093822"/>
              <a:gd name="connsiteY4" fmla="*/ 3241000 h 3241000"/>
              <a:gd name="connsiteX5" fmla="*/ 757319 w 3093822"/>
              <a:gd name="connsiteY5" fmla="*/ 3241000 h 3241000"/>
              <a:gd name="connsiteX6" fmla="*/ 0 w 3093822"/>
              <a:gd name="connsiteY6" fmla="*/ 706100 h 3241000"/>
              <a:gd name="connsiteX0" fmla="*/ 0 w 3093822"/>
              <a:gd name="connsiteY0" fmla="*/ 1157921 h 3692821"/>
              <a:gd name="connsiteX1" fmla="*/ 1542627 w 3093822"/>
              <a:gd name="connsiteY1" fmla="*/ 0 h 3692821"/>
              <a:gd name="connsiteX2" fmla="*/ 2314988 w 3093822"/>
              <a:gd name="connsiteY2" fmla="*/ 451821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093822"/>
              <a:gd name="connsiteY0" fmla="*/ 1157921 h 3692821"/>
              <a:gd name="connsiteX1" fmla="*/ 1542627 w 3093822"/>
              <a:gd name="connsiteY1" fmla="*/ 0 h 3692821"/>
              <a:gd name="connsiteX2" fmla="*/ 3089538 w 3093822"/>
              <a:gd name="connsiteY2" fmla="*/ 1151068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104579"/>
              <a:gd name="connsiteY0" fmla="*/ 1157921 h 3692821"/>
              <a:gd name="connsiteX1" fmla="*/ 1542627 w 3104579"/>
              <a:gd name="connsiteY1" fmla="*/ 0 h 3692821"/>
              <a:gd name="connsiteX2" fmla="*/ 3089538 w 3104579"/>
              <a:gd name="connsiteY2" fmla="*/ 1151068 h 3692821"/>
              <a:gd name="connsiteX3" fmla="*/ 3104579 w 3104579"/>
              <a:gd name="connsiteY3" fmla="*/ 2814598 h 3692821"/>
              <a:gd name="connsiteX4" fmla="*/ 2314988 w 3104579"/>
              <a:gd name="connsiteY4" fmla="*/ 3692821 h 3692821"/>
              <a:gd name="connsiteX5" fmla="*/ 757319 w 3104579"/>
              <a:gd name="connsiteY5" fmla="*/ 3692821 h 3692821"/>
              <a:gd name="connsiteX6" fmla="*/ 0 w 3104579"/>
              <a:gd name="connsiteY6" fmla="*/ 1157921 h 3692821"/>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757319 w 3104579"/>
              <a:gd name="connsiteY5" fmla="*/ 3692821 h 3994035"/>
              <a:gd name="connsiteX6" fmla="*/ 0 w 3104579"/>
              <a:gd name="connsiteY6" fmla="*/ 1157921 h 3994035"/>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57921 h 3994035"/>
              <a:gd name="connsiteX0" fmla="*/ 0 w 3104579"/>
              <a:gd name="connsiteY0" fmla="*/ 1168679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 name="connsiteX0" fmla="*/ 0 w 3104579"/>
              <a:gd name="connsiteY0" fmla="*/ 1168679 h 3994035"/>
              <a:gd name="connsiteX1" fmla="*/ 1542627 w 3104579"/>
              <a:gd name="connsiteY1" fmla="*/ 0 h 3994035"/>
              <a:gd name="connsiteX2" fmla="*/ 3100295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 name="connsiteX0" fmla="*/ 0 w 3104579"/>
              <a:gd name="connsiteY0" fmla="*/ 1168679 h 3994035"/>
              <a:gd name="connsiteX1" fmla="*/ 387310 w 3104579"/>
              <a:gd name="connsiteY1" fmla="*/ 881391 h 3994035"/>
              <a:gd name="connsiteX2" fmla="*/ 1542627 w 3104579"/>
              <a:gd name="connsiteY2" fmla="*/ 0 h 3994035"/>
              <a:gd name="connsiteX3" fmla="*/ 3100295 w 3104579"/>
              <a:gd name="connsiteY3" fmla="*/ 1151068 h 3994035"/>
              <a:gd name="connsiteX4" fmla="*/ 3104579 w 3104579"/>
              <a:gd name="connsiteY4" fmla="*/ 2814598 h 3994035"/>
              <a:gd name="connsiteX5" fmla="*/ 1540438 w 3104579"/>
              <a:gd name="connsiteY5" fmla="*/ 3994035 h 3994035"/>
              <a:gd name="connsiteX6" fmla="*/ 4284 w 3104579"/>
              <a:gd name="connsiteY6" fmla="*/ 2853725 h 3994035"/>
              <a:gd name="connsiteX7" fmla="*/ 0 w 3104579"/>
              <a:gd name="connsiteY7" fmla="*/ 1168679 h 3994035"/>
              <a:gd name="connsiteX0" fmla="*/ 0 w 3104579"/>
              <a:gd name="connsiteY0" fmla="*/ 1168679 h 3994035"/>
              <a:gd name="connsiteX1" fmla="*/ 387310 w 3104579"/>
              <a:gd name="connsiteY1" fmla="*/ 881391 h 3994035"/>
              <a:gd name="connsiteX2" fmla="*/ 1542627 w 3104579"/>
              <a:gd name="connsiteY2" fmla="*/ 0 h 3994035"/>
              <a:gd name="connsiteX3" fmla="*/ 2735415 w 3104579"/>
              <a:gd name="connsiteY3" fmla="*/ 888602 h 3994035"/>
              <a:gd name="connsiteX4" fmla="*/ 3100295 w 3104579"/>
              <a:gd name="connsiteY4" fmla="*/ 1151068 h 3994035"/>
              <a:gd name="connsiteX5" fmla="*/ 3104579 w 3104579"/>
              <a:gd name="connsiteY5" fmla="*/ 2814598 h 3994035"/>
              <a:gd name="connsiteX6" fmla="*/ 1540438 w 3104579"/>
              <a:gd name="connsiteY6" fmla="*/ 3994035 h 3994035"/>
              <a:gd name="connsiteX7" fmla="*/ 4284 w 3104579"/>
              <a:gd name="connsiteY7" fmla="*/ 2853725 h 3994035"/>
              <a:gd name="connsiteX8" fmla="*/ 0 w 3104579"/>
              <a:gd name="connsiteY8" fmla="*/ 1168679 h 3994035"/>
              <a:gd name="connsiteX0" fmla="*/ 0 w 3104579"/>
              <a:gd name="connsiteY0" fmla="*/ 959547 h 3784903"/>
              <a:gd name="connsiteX1" fmla="*/ 387310 w 3104579"/>
              <a:gd name="connsiteY1" fmla="*/ 672259 h 3784903"/>
              <a:gd name="connsiteX2" fmla="*/ 1592136 w 3104579"/>
              <a:gd name="connsiteY2" fmla="*/ 0 h 3784903"/>
              <a:gd name="connsiteX3" fmla="*/ 2735415 w 3104579"/>
              <a:gd name="connsiteY3" fmla="*/ 679470 h 3784903"/>
              <a:gd name="connsiteX4" fmla="*/ 3100295 w 3104579"/>
              <a:gd name="connsiteY4" fmla="*/ 941936 h 3784903"/>
              <a:gd name="connsiteX5" fmla="*/ 3104579 w 3104579"/>
              <a:gd name="connsiteY5" fmla="*/ 2605466 h 3784903"/>
              <a:gd name="connsiteX6" fmla="*/ 1540438 w 3104579"/>
              <a:gd name="connsiteY6" fmla="*/ 3784903 h 3784903"/>
              <a:gd name="connsiteX7" fmla="*/ 4284 w 3104579"/>
              <a:gd name="connsiteY7" fmla="*/ 2644593 h 3784903"/>
              <a:gd name="connsiteX8" fmla="*/ 0 w 3104579"/>
              <a:gd name="connsiteY8" fmla="*/ 959547 h 3784903"/>
              <a:gd name="connsiteX0" fmla="*/ 0 w 3104579"/>
              <a:gd name="connsiteY0" fmla="*/ 287288 h 3112644"/>
              <a:gd name="connsiteX1" fmla="*/ 387310 w 3104579"/>
              <a:gd name="connsiteY1" fmla="*/ 0 h 3112644"/>
              <a:gd name="connsiteX2" fmla="*/ 2735415 w 3104579"/>
              <a:gd name="connsiteY2" fmla="*/ 7211 h 3112644"/>
              <a:gd name="connsiteX3" fmla="*/ 3100295 w 3104579"/>
              <a:gd name="connsiteY3" fmla="*/ 269677 h 3112644"/>
              <a:gd name="connsiteX4" fmla="*/ 3104579 w 3104579"/>
              <a:gd name="connsiteY4" fmla="*/ 1933207 h 3112644"/>
              <a:gd name="connsiteX5" fmla="*/ 1540438 w 3104579"/>
              <a:gd name="connsiteY5" fmla="*/ 3112644 h 3112644"/>
              <a:gd name="connsiteX6" fmla="*/ 4284 w 3104579"/>
              <a:gd name="connsiteY6" fmla="*/ 1972334 h 3112644"/>
              <a:gd name="connsiteX7" fmla="*/ 0 w 3104579"/>
              <a:gd name="connsiteY7" fmla="*/ 287288 h 3112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4579" h="3112644">
                <a:moveTo>
                  <a:pt x="0" y="287288"/>
                </a:moveTo>
                <a:lnTo>
                  <a:pt x="387310" y="0"/>
                </a:lnTo>
                <a:lnTo>
                  <a:pt x="2735415" y="7211"/>
                </a:lnTo>
                <a:lnTo>
                  <a:pt x="3100295" y="269677"/>
                </a:lnTo>
                <a:lnTo>
                  <a:pt x="3104579" y="1933207"/>
                </a:lnTo>
                <a:lnTo>
                  <a:pt x="1540438" y="3112644"/>
                </a:lnTo>
                <a:lnTo>
                  <a:pt x="4284" y="1972334"/>
                </a:lnTo>
                <a:lnTo>
                  <a:pt x="0" y="287288"/>
                </a:lnTo>
                <a:close/>
              </a:path>
            </a:pathLst>
          </a:custGeom>
          <a:solidFill>
            <a:schemeClr val="bg1"/>
          </a:solidFill>
        </p:spPr>
        <p:txBody>
          <a:bodyPr>
            <a:normAutofit/>
          </a:bodyPr>
          <a:lstStyle>
            <a:lvl1pPr marL="0" indent="0">
              <a:buNone/>
              <a:defRPr/>
            </a:lvl1pPr>
          </a:lstStyle>
          <a:p>
            <a:r>
              <a:rPr lang="en-GB"/>
              <a:t> </a:t>
            </a:r>
            <a:r>
              <a:rPr lang="sv-SE"/>
              <a:t> </a:t>
            </a:r>
          </a:p>
        </p:txBody>
      </p:sp>
    </p:spTree>
    <p:extLst>
      <p:ext uri="{BB962C8B-B14F-4D97-AF65-F5344CB8AC3E}">
        <p14:creationId xmlns:p14="http://schemas.microsoft.com/office/powerpoint/2010/main" val="36292544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_Avsnit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175562D-8BE4-4E07-BD9B-7CEBE40A1A7F}"/>
              </a:ext>
            </a:extLst>
          </p:cNvPr>
          <p:cNvSpPr>
            <a:spLocks noGrp="1"/>
          </p:cNvSpPr>
          <p:nvPr>
            <p:ph type="ctrTitle"/>
          </p:nvPr>
        </p:nvSpPr>
        <p:spPr>
          <a:xfrm>
            <a:off x="1036638" y="1947983"/>
            <a:ext cx="4881152" cy="1438156"/>
          </a:xfrm>
        </p:spPr>
        <p:txBody>
          <a:bodyPr lIns="0" tIns="0" rIns="0" bIns="0" anchor="b" anchorCtr="0"/>
          <a:lstStyle>
            <a:lvl1pPr algn="l">
              <a:lnSpc>
                <a:spcPct val="100000"/>
              </a:lnSpc>
              <a:defRPr sz="2200"/>
            </a:lvl1pPr>
          </a:lstStyle>
          <a:p>
            <a:r>
              <a:rPr lang="sv-SE"/>
              <a:t>Klicka här för att ändra mall för rubrikformat</a:t>
            </a:r>
          </a:p>
        </p:txBody>
      </p:sp>
      <p:sp>
        <p:nvSpPr>
          <p:cNvPr id="3" name="Underrubrik 2">
            <a:extLst>
              <a:ext uri="{FF2B5EF4-FFF2-40B4-BE49-F238E27FC236}">
                <a16:creationId xmlns:a16="http://schemas.microsoft.com/office/drawing/2014/main" id="{2DB9F56F-2AD1-42EA-A8BF-E10C61A55E2D}"/>
              </a:ext>
            </a:extLst>
          </p:cNvPr>
          <p:cNvSpPr>
            <a:spLocks noGrp="1"/>
          </p:cNvSpPr>
          <p:nvPr>
            <p:ph type="subTitle" idx="1"/>
          </p:nvPr>
        </p:nvSpPr>
        <p:spPr>
          <a:xfrm>
            <a:off x="1036638" y="3513139"/>
            <a:ext cx="4187416" cy="814386"/>
          </a:xfrm>
        </p:spPr>
        <p:txBody>
          <a:bodyPr lIns="0" tIns="127000" rIns="0" bIns="0" anchor="t" anchorCtr="0">
            <a:noAutofit/>
          </a:bodyPr>
          <a:lstStyle>
            <a:lvl1pPr marL="0" indent="0" algn="l">
              <a:buNone/>
              <a:defRPr sz="14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Klicka här för att ändra mall för underrubrikformat</a:t>
            </a:r>
          </a:p>
        </p:txBody>
      </p:sp>
      <p:sp>
        <p:nvSpPr>
          <p:cNvPr id="5" name="Platshållare för bild 12">
            <a:extLst>
              <a:ext uri="{FF2B5EF4-FFF2-40B4-BE49-F238E27FC236}">
                <a16:creationId xmlns:a16="http://schemas.microsoft.com/office/drawing/2014/main" id="{0A5BD08F-4921-4A09-9FBD-CDB9A9F49C3B}"/>
              </a:ext>
            </a:extLst>
          </p:cNvPr>
          <p:cNvSpPr>
            <a:spLocks noGrp="1"/>
          </p:cNvSpPr>
          <p:nvPr>
            <p:ph type="pic" sz="quarter" idx="10" hasCustomPrompt="1"/>
          </p:nvPr>
        </p:nvSpPr>
        <p:spPr>
          <a:xfrm>
            <a:off x="5312954" y="-7620"/>
            <a:ext cx="3344862" cy="3288983"/>
          </a:xfrm>
          <a:custGeom>
            <a:avLst/>
            <a:gdLst>
              <a:gd name="connsiteX0" fmla="*/ 0 w 3115338"/>
              <a:gd name="connsiteY0" fmla="*/ 1620501 h 3241002"/>
              <a:gd name="connsiteX1" fmla="*/ 778835 w 3115338"/>
              <a:gd name="connsiteY1" fmla="*/ 1 h 3241002"/>
              <a:gd name="connsiteX2" fmla="*/ 2336504 w 3115338"/>
              <a:gd name="connsiteY2" fmla="*/ 1 h 3241002"/>
              <a:gd name="connsiteX3" fmla="*/ 3115338 w 3115338"/>
              <a:gd name="connsiteY3" fmla="*/ 1620501 h 3241002"/>
              <a:gd name="connsiteX4" fmla="*/ 2336504 w 3115338"/>
              <a:gd name="connsiteY4" fmla="*/ 3241001 h 3241002"/>
              <a:gd name="connsiteX5" fmla="*/ 778835 w 3115338"/>
              <a:gd name="connsiteY5" fmla="*/ 3241001 h 3241002"/>
              <a:gd name="connsiteX6" fmla="*/ 0 w 3115338"/>
              <a:gd name="connsiteY6" fmla="*/ 1620501 h 3241002"/>
              <a:gd name="connsiteX0" fmla="*/ 0 w 3093822"/>
              <a:gd name="connsiteY0" fmla="*/ 706100 h 3241000"/>
              <a:gd name="connsiteX1" fmla="*/ 757319 w 3093822"/>
              <a:gd name="connsiteY1" fmla="*/ 0 h 3241000"/>
              <a:gd name="connsiteX2" fmla="*/ 2314988 w 3093822"/>
              <a:gd name="connsiteY2" fmla="*/ 0 h 3241000"/>
              <a:gd name="connsiteX3" fmla="*/ 3093822 w 3093822"/>
              <a:gd name="connsiteY3" fmla="*/ 1620500 h 3241000"/>
              <a:gd name="connsiteX4" fmla="*/ 2314988 w 3093822"/>
              <a:gd name="connsiteY4" fmla="*/ 3241000 h 3241000"/>
              <a:gd name="connsiteX5" fmla="*/ 757319 w 3093822"/>
              <a:gd name="connsiteY5" fmla="*/ 3241000 h 3241000"/>
              <a:gd name="connsiteX6" fmla="*/ 0 w 3093822"/>
              <a:gd name="connsiteY6" fmla="*/ 706100 h 3241000"/>
              <a:gd name="connsiteX0" fmla="*/ 0 w 3093822"/>
              <a:gd name="connsiteY0" fmla="*/ 1157921 h 3692821"/>
              <a:gd name="connsiteX1" fmla="*/ 1542627 w 3093822"/>
              <a:gd name="connsiteY1" fmla="*/ 0 h 3692821"/>
              <a:gd name="connsiteX2" fmla="*/ 2314988 w 3093822"/>
              <a:gd name="connsiteY2" fmla="*/ 451821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093822"/>
              <a:gd name="connsiteY0" fmla="*/ 1157921 h 3692821"/>
              <a:gd name="connsiteX1" fmla="*/ 1542627 w 3093822"/>
              <a:gd name="connsiteY1" fmla="*/ 0 h 3692821"/>
              <a:gd name="connsiteX2" fmla="*/ 3089538 w 3093822"/>
              <a:gd name="connsiteY2" fmla="*/ 1151068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104579"/>
              <a:gd name="connsiteY0" fmla="*/ 1157921 h 3692821"/>
              <a:gd name="connsiteX1" fmla="*/ 1542627 w 3104579"/>
              <a:gd name="connsiteY1" fmla="*/ 0 h 3692821"/>
              <a:gd name="connsiteX2" fmla="*/ 3089538 w 3104579"/>
              <a:gd name="connsiteY2" fmla="*/ 1151068 h 3692821"/>
              <a:gd name="connsiteX3" fmla="*/ 3104579 w 3104579"/>
              <a:gd name="connsiteY3" fmla="*/ 2814598 h 3692821"/>
              <a:gd name="connsiteX4" fmla="*/ 2314988 w 3104579"/>
              <a:gd name="connsiteY4" fmla="*/ 3692821 h 3692821"/>
              <a:gd name="connsiteX5" fmla="*/ 757319 w 3104579"/>
              <a:gd name="connsiteY5" fmla="*/ 3692821 h 3692821"/>
              <a:gd name="connsiteX6" fmla="*/ 0 w 3104579"/>
              <a:gd name="connsiteY6" fmla="*/ 1157921 h 3692821"/>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757319 w 3104579"/>
              <a:gd name="connsiteY5" fmla="*/ 3692821 h 3994035"/>
              <a:gd name="connsiteX6" fmla="*/ 0 w 3104579"/>
              <a:gd name="connsiteY6" fmla="*/ 1157921 h 3994035"/>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57921 h 3994035"/>
              <a:gd name="connsiteX0" fmla="*/ 0 w 3104579"/>
              <a:gd name="connsiteY0" fmla="*/ 1168679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 name="connsiteX0" fmla="*/ 0 w 3104579"/>
              <a:gd name="connsiteY0" fmla="*/ 1168679 h 3994035"/>
              <a:gd name="connsiteX1" fmla="*/ 1542627 w 3104579"/>
              <a:gd name="connsiteY1" fmla="*/ 0 h 3994035"/>
              <a:gd name="connsiteX2" fmla="*/ 3100295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 name="connsiteX0" fmla="*/ 0 w 3104579"/>
              <a:gd name="connsiteY0" fmla="*/ 1168679 h 3994035"/>
              <a:gd name="connsiteX1" fmla="*/ 387310 w 3104579"/>
              <a:gd name="connsiteY1" fmla="*/ 881391 h 3994035"/>
              <a:gd name="connsiteX2" fmla="*/ 1542627 w 3104579"/>
              <a:gd name="connsiteY2" fmla="*/ 0 h 3994035"/>
              <a:gd name="connsiteX3" fmla="*/ 3100295 w 3104579"/>
              <a:gd name="connsiteY3" fmla="*/ 1151068 h 3994035"/>
              <a:gd name="connsiteX4" fmla="*/ 3104579 w 3104579"/>
              <a:gd name="connsiteY4" fmla="*/ 2814598 h 3994035"/>
              <a:gd name="connsiteX5" fmla="*/ 1540438 w 3104579"/>
              <a:gd name="connsiteY5" fmla="*/ 3994035 h 3994035"/>
              <a:gd name="connsiteX6" fmla="*/ 4284 w 3104579"/>
              <a:gd name="connsiteY6" fmla="*/ 2853725 h 3994035"/>
              <a:gd name="connsiteX7" fmla="*/ 0 w 3104579"/>
              <a:gd name="connsiteY7" fmla="*/ 1168679 h 3994035"/>
              <a:gd name="connsiteX0" fmla="*/ 0 w 3104579"/>
              <a:gd name="connsiteY0" fmla="*/ 1168679 h 3994035"/>
              <a:gd name="connsiteX1" fmla="*/ 387310 w 3104579"/>
              <a:gd name="connsiteY1" fmla="*/ 881391 h 3994035"/>
              <a:gd name="connsiteX2" fmla="*/ 1542627 w 3104579"/>
              <a:gd name="connsiteY2" fmla="*/ 0 h 3994035"/>
              <a:gd name="connsiteX3" fmla="*/ 2735415 w 3104579"/>
              <a:gd name="connsiteY3" fmla="*/ 888602 h 3994035"/>
              <a:gd name="connsiteX4" fmla="*/ 3100295 w 3104579"/>
              <a:gd name="connsiteY4" fmla="*/ 1151068 h 3994035"/>
              <a:gd name="connsiteX5" fmla="*/ 3104579 w 3104579"/>
              <a:gd name="connsiteY5" fmla="*/ 2814598 h 3994035"/>
              <a:gd name="connsiteX6" fmla="*/ 1540438 w 3104579"/>
              <a:gd name="connsiteY6" fmla="*/ 3994035 h 3994035"/>
              <a:gd name="connsiteX7" fmla="*/ 4284 w 3104579"/>
              <a:gd name="connsiteY7" fmla="*/ 2853725 h 3994035"/>
              <a:gd name="connsiteX8" fmla="*/ 0 w 3104579"/>
              <a:gd name="connsiteY8" fmla="*/ 1168679 h 3994035"/>
              <a:gd name="connsiteX0" fmla="*/ 0 w 3104579"/>
              <a:gd name="connsiteY0" fmla="*/ 959547 h 3784903"/>
              <a:gd name="connsiteX1" fmla="*/ 387310 w 3104579"/>
              <a:gd name="connsiteY1" fmla="*/ 672259 h 3784903"/>
              <a:gd name="connsiteX2" fmla="*/ 1592136 w 3104579"/>
              <a:gd name="connsiteY2" fmla="*/ 0 h 3784903"/>
              <a:gd name="connsiteX3" fmla="*/ 2735415 w 3104579"/>
              <a:gd name="connsiteY3" fmla="*/ 679470 h 3784903"/>
              <a:gd name="connsiteX4" fmla="*/ 3100295 w 3104579"/>
              <a:gd name="connsiteY4" fmla="*/ 941936 h 3784903"/>
              <a:gd name="connsiteX5" fmla="*/ 3104579 w 3104579"/>
              <a:gd name="connsiteY5" fmla="*/ 2605466 h 3784903"/>
              <a:gd name="connsiteX6" fmla="*/ 1540438 w 3104579"/>
              <a:gd name="connsiteY6" fmla="*/ 3784903 h 3784903"/>
              <a:gd name="connsiteX7" fmla="*/ 4284 w 3104579"/>
              <a:gd name="connsiteY7" fmla="*/ 2644593 h 3784903"/>
              <a:gd name="connsiteX8" fmla="*/ 0 w 3104579"/>
              <a:gd name="connsiteY8" fmla="*/ 959547 h 3784903"/>
              <a:gd name="connsiteX0" fmla="*/ 0 w 3104579"/>
              <a:gd name="connsiteY0" fmla="*/ 287288 h 3112644"/>
              <a:gd name="connsiteX1" fmla="*/ 387310 w 3104579"/>
              <a:gd name="connsiteY1" fmla="*/ 0 h 3112644"/>
              <a:gd name="connsiteX2" fmla="*/ 2735415 w 3104579"/>
              <a:gd name="connsiteY2" fmla="*/ 7211 h 3112644"/>
              <a:gd name="connsiteX3" fmla="*/ 3100295 w 3104579"/>
              <a:gd name="connsiteY3" fmla="*/ 269677 h 3112644"/>
              <a:gd name="connsiteX4" fmla="*/ 3104579 w 3104579"/>
              <a:gd name="connsiteY4" fmla="*/ 1933207 h 3112644"/>
              <a:gd name="connsiteX5" fmla="*/ 1540438 w 3104579"/>
              <a:gd name="connsiteY5" fmla="*/ 3112644 h 3112644"/>
              <a:gd name="connsiteX6" fmla="*/ 4284 w 3104579"/>
              <a:gd name="connsiteY6" fmla="*/ 1972334 h 3112644"/>
              <a:gd name="connsiteX7" fmla="*/ 0 w 3104579"/>
              <a:gd name="connsiteY7" fmla="*/ 287288 h 3112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4579" h="3112644">
                <a:moveTo>
                  <a:pt x="0" y="287288"/>
                </a:moveTo>
                <a:lnTo>
                  <a:pt x="387310" y="0"/>
                </a:lnTo>
                <a:lnTo>
                  <a:pt x="2735415" y="7211"/>
                </a:lnTo>
                <a:lnTo>
                  <a:pt x="3100295" y="269677"/>
                </a:lnTo>
                <a:lnTo>
                  <a:pt x="3104579" y="1933207"/>
                </a:lnTo>
                <a:lnTo>
                  <a:pt x="1540438" y="3112644"/>
                </a:lnTo>
                <a:lnTo>
                  <a:pt x="4284" y="1972334"/>
                </a:lnTo>
                <a:lnTo>
                  <a:pt x="0" y="287288"/>
                </a:lnTo>
                <a:close/>
              </a:path>
            </a:pathLst>
          </a:custGeom>
          <a:solidFill>
            <a:schemeClr val="bg1"/>
          </a:solidFill>
        </p:spPr>
        <p:txBody>
          <a:bodyPr>
            <a:normAutofit/>
          </a:bodyPr>
          <a:lstStyle>
            <a:lvl1pPr marL="0" indent="0">
              <a:buNone/>
              <a:defRPr/>
            </a:lvl1pPr>
          </a:lstStyle>
          <a:p>
            <a:r>
              <a:rPr lang="en-GB"/>
              <a:t> </a:t>
            </a:r>
            <a:r>
              <a:rPr lang="sv-SE"/>
              <a:t> </a:t>
            </a:r>
          </a:p>
        </p:txBody>
      </p:sp>
    </p:spTree>
    <p:extLst>
      <p:ext uri="{BB962C8B-B14F-4D97-AF65-F5344CB8AC3E}">
        <p14:creationId xmlns:p14="http://schemas.microsoft.com/office/powerpoint/2010/main" val="39234783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3_Avsnit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175562D-8BE4-4E07-BD9B-7CEBE40A1A7F}"/>
              </a:ext>
            </a:extLst>
          </p:cNvPr>
          <p:cNvSpPr>
            <a:spLocks noGrp="1"/>
          </p:cNvSpPr>
          <p:nvPr>
            <p:ph type="ctrTitle"/>
          </p:nvPr>
        </p:nvSpPr>
        <p:spPr>
          <a:xfrm>
            <a:off x="1036638" y="1947983"/>
            <a:ext cx="4881152" cy="1438156"/>
          </a:xfrm>
        </p:spPr>
        <p:txBody>
          <a:bodyPr lIns="0" tIns="0" rIns="0" bIns="0" anchor="b" anchorCtr="0"/>
          <a:lstStyle>
            <a:lvl1pPr algn="l">
              <a:lnSpc>
                <a:spcPct val="100000"/>
              </a:lnSpc>
              <a:defRPr sz="2200">
                <a:solidFill>
                  <a:schemeClr val="tx2"/>
                </a:solidFill>
              </a:defRPr>
            </a:lvl1pPr>
          </a:lstStyle>
          <a:p>
            <a:r>
              <a:rPr lang="sv-SE"/>
              <a:t>Klicka här för att ändra mall för rubrikformat</a:t>
            </a:r>
          </a:p>
        </p:txBody>
      </p:sp>
      <p:sp>
        <p:nvSpPr>
          <p:cNvPr id="3" name="Underrubrik 2">
            <a:extLst>
              <a:ext uri="{FF2B5EF4-FFF2-40B4-BE49-F238E27FC236}">
                <a16:creationId xmlns:a16="http://schemas.microsoft.com/office/drawing/2014/main" id="{2DB9F56F-2AD1-42EA-A8BF-E10C61A55E2D}"/>
              </a:ext>
            </a:extLst>
          </p:cNvPr>
          <p:cNvSpPr>
            <a:spLocks noGrp="1"/>
          </p:cNvSpPr>
          <p:nvPr>
            <p:ph type="subTitle" idx="1"/>
          </p:nvPr>
        </p:nvSpPr>
        <p:spPr>
          <a:xfrm>
            <a:off x="1036638" y="3513139"/>
            <a:ext cx="4187416" cy="814386"/>
          </a:xfrm>
        </p:spPr>
        <p:txBody>
          <a:bodyPr lIns="0" tIns="127000" rIns="0" bIns="0" anchor="t" anchorCtr="0">
            <a:noAutofit/>
          </a:bodyPr>
          <a:lstStyle>
            <a:lvl1pPr marL="0" indent="0" algn="l">
              <a:buNone/>
              <a:defRPr sz="140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Klicka här för att ändra mall för underrubrikformat</a:t>
            </a:r>
          </a:p>
        </p:txBody>
      </p:sp>
      <p:sp>
        <p:nvSpPr>
          <p:cNvPr id="8" name="Platshållare för bild 12">
            <a:extLst>
              <a:ext uri="{FF2B5EF4-FFF2-40B4-BE49-F238E27FC236}">
                <a16:creationId xmlns:a16="http://schemas.microsoft.com/office/drawing/2014/main" id="{612A0B56-6CEA-4855-9D29-F693E2E3F30E}"/>
              </a:ext>
            </a:extLst>
          </p:cNvPr>
          <p:cNvSpPr>
            <a:spLocks noGrp="1"/>
          </p:cNvSpPr>
          <p:nvPr>
            <p:ph type="pic" sz="quarter" idx="10" hasCustomPrompt="1"/>
          </p:nvPr>
        </p:nvSpPr>
        <p:spPr>
          <a:xfrm>
            <a:off x="5312954" y="-7620"/>
            <a:ext cx="3344862" cy="3288983"/>
          </a:xfrm>
          <a:custGeom>
            <a:avLst/>
            <a:gdLst>
              <a:gd name="connsiteX0" fmla="*/ 0 w 3115338"/>
              <a:gd name="connsiteY0" fmla="*/ 1620501 h 3241002"/>
              <a:gd name="connsiteX1" fmla="*/ 778835 w 3115338"/>
              <a:gd name="connsiteY1" fmla="*/ 1 h 3241002"/>
              <a:gd name="connsiteX2" fmla="*/ 2336504 w 3115338"/>
              <a:gd name="connsiteY2" fmla="*/ 1 h 3241002"/>
              <a:gd name="connsiteX3" fmla="*/ 3115338 w 3115338"/>
              <a:gd name="connsiteY3" fmla="*/ 1620501 h 3241002"/>
              <a:gd name="connsiteX4" fmla="*/ 2336504 w 3115338"/>
              <a:gd name="connsiteY4" fmla="*/ 3241001 h 3241002"/>
              <a:gd name="connsiteX5" fmla="*/ 778835 w 3115338"/>
              <a:gd name="connsiteY5" fmla="*/ 3241001 h 3241002"/>
              <a:gd name="connsiteX6" fmla="*/ 0 w 3115338"/>
              <a:gd name="connsiteY6" fmla="*/ 1620501 h 3241002"/>
              <a:gd name="connsiteX0" fmla="*/ 0 w 3093822"/>
              <a:gd name="connsiteY0" fmla="*/ 706100 h 3241000"/>
              <a:gd name="connsiteX1" fmla="*/ 757319 w 3093822"/>
              <a:gd name="connsiteY1" fmla="*/ 0 h 3241000"/>
              <a:gd name="connsiteX2" fmla="*/ 2314988 w 3093822"/>
              <a:gd name="connsiteY2" fmla="*/ 0 h 3241000"/>
              <a:gd name="connsiteX3" fmla="*/ 3093822 w 3093822"/>
              <a:gd name="connsiteY3" fmla="*/ 1620500 h 3241000"/>
              <a:gd name="connsiteX4" fmla="*/ 2314988 w 3093822"/>
              <a:gd name="connsiteY4" fmla="*/ 3241000 h 3241000"/>
              <a:gd name="connsiteX5" fmla="*/ 757319 w 3093822"/>
              <a:gd name="connsiteY5" fmla="*/ 3241000 h 3241000"/>
              <a:gd name="connsiteX6" fmla="*/ 0 w 3093822"/>
              <a:gd name="connsiteY6" fmla="*/ 706100 h 3241000"/>
              <a:gd name="connsiteX0" fmla="*/ 0 w 3093822"/>
              <a:gd name="connsiteY0" fmla="*/ 1157921 h 3692821"/>
              <a:gd name="connsiteX1" fmla="*/ 1542627 w 3093822"/>
              <a:gd name="connsiteY1" fmla="*/ 0 h 3692821"/>
              <a:gd name="connsiteX2" fmla="*/ 2314988 w 3093822"/>
              <a:gd name="connsiteY2" fmla="*/ 451821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093822"/>
              <a:gd name="connsiteY0" fmla="*/ 1157921 h 3692821"/>
              <a:gd name="connsiteX1" fmla="*/ 1542627 w 3093822"/>
              <a:gd name="connsiteY1" fmla="*/ 0 h 3692821"/>
              <a:gd name="connsiteX2" fmla="*/ 3089538 w 3093822"/>
              <a:gd name="connsiteY2" fmla="*/ 1151068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104579"/>
              <a:gd name="connsiteY0" fmla="*/ 1157921 h 3692821"/>
              <a:gd name="connsiteX1" fmla="*/ 1542627 w 3104579"/>
              <a:gd name="connsiteY1" fmla="*/ 0 h 3692821"/>
              <a:gd name="connsiteX2" fmla="*/ 3089538 w 3104579"/>
              <a:gd name="connsiteY2" fmla="*/ 1151068 h 3692821"/>
              <a:gd name="connsiteX3" fmla="*/ 3104579 w 3104579"/>
              <a:gd name="connsiteY3" fmla="*/ 2814598 h 3692821"/>
              <a:gd name="connsiteX4" fmla="*/ 2314988 w 3104579"/>
              <a:gd name="connsiteY4" fmla="*/ 3692821 h 3692821"/>
              <a:gd name="connsiteX5" fmla="*/ 757319 w 3104579"/>
              <a:gd name="connsiteY5" fmla="*/ 3692821 h 3692821"/>
              <a:gd name="connsiteX6" fmla="*/ 0 w 3104579"/>
              <a:gd name="connsiteY6" fmla="*/ 1157921 h 3692821"/>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757319 w 3104579"/>
              <a:gd name="connsiteY5" fmla="*/ 3692821 h 3994035"/>
              <a:gd name="connsiteX6" fmla="*/ 0 w 3104579"/>
              <a:gd name="connsiteY6" fmla="*/ 1157921 h 3994035"/>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57921 h 3994035"/>
              <a:gd name="connsiteX0" fmla="*/ 0 w 3104579"/>
              <a:gd name="connsiteY0" fmla="*/ 1168679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 name="connsiteX0" fmla="*/ 0 w 3104579"/>
              <a:gd name="connsiteY0" fmla="*/ 1168679 h 3994035"/>
              <a:gd name="connsiteX1" fmla="*/ 1542627 w 3104579"/>
              <a:gd name="connsiteY1" fmla="*/ 0 h 3994035"/>
              <a:gd name="connsiteX2" fmla="*/ 3100295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 name="connsiteX0" fmla="*/ 0 w 3104579"/>
              <a:gd name="connsiteY0" fmla="*/ 1168679 h 3994035"/>
              <a:gd name="connsiteX1" fmla="*/ 387310 w 3104579"/>
              <a:gd name="connsiteY1" fmla="*/ 881391 h 3994035"/>
              <a:gd name="connsiteX2" fmla="*/ 1542627 w 3104579"/>
              <a:gd name="connsiteY2" fmla="*/ 0 h 3994035"/>
              <a:gd name="connsiteX3" fmla="*/ 3100295 w 3104579"/>
              <a:gd name="connsiteY3" fmla="*/ 1151068 h 3994035"/>
              <a:gd name="connsiteX4" fmla="*/ 3104579 w 3104579"/>
              <a:gd name="connsiteY4" fmla="*/ 2814598 h 3994035"/>
              <a:gd name="connsiteX5" fmla="*/ 1540438 w 3104579"/>
              <a:gd name="connsiteY5" fmla="*/ 3994035 h 3994035"/>
              <a:gd name="connsiteX6" fmla="*/ 4284 w 3104579"/>
              <a:gd name="connsiteY6" fmla="*/ 2853725 h 3994035"/>
              <a:gd name="connsiteX7" fmla="*/ 0 w 3104579"/>
              <a:gd name="connsiteY7" fmla="*/ 1168679 h 3994035"/>
              <a:gd name="connsiteX0" fmla="*/ 0 w 3104579"/>
              <a:gd name="connsiteY0" fmla="*/ 1168679 h 3994035"/>
              <a:gd name="connsiteX1" fmla="*/ 387310 w 3104579"/>
              <a:gd name="connsiteY1" fmla="*/ 881391 h 3994035"/>
              <a:gd name="connsiteX2" fmla="*/ 1542627 w 3104579"/>
              <a:gd name="connsiteY2" fmla="*/ 0 h 3994035"/>
              <a:gd name="connsiteX3" fmla="*/ 2735415 w 3104579"/>
              <a:gd name="connsiteY3" fmla="*/ 888602 h 3994035"/>
              <a:gd name="connsiteX4" fmla="*/ 3100295 w 3104579"/>
              <a:gd name="connsiteY4" fmla="*/ 1151068 h 3994035"/>
              <a:gd name="connsiteX5" fmla="*/ 3104579 w 3104579"/>
              <a:gd name="connsiteY5" fmla="*/ 2814598 h 3994035"/>
              <a:gd name="connsiteX6" fmla="*/ 1540438 w 3104579"/>
              <a:gd name="connsiteY6" fmla="*/ 3994035 h 3994035"/>
              <a:gd name="connsiteX7" fmla="*/ 4284 w 3104579"/>
              <a:gd name="connsiteY7" fmla="*/ 2853725 h 3994035"/>
              <a:gd name="connsiteX8" fmla="*/ 0 w 3104579"/>
              <a:gd name="connsiteY8" fmla="*/ 1168679 h 3994035"/>
              <a:gd name="connsiteX0" fmla="*/ 0 w 3104579"/>
              <a:gd name="connsiteY0" fmla="*/ 959547 h 3784903"/>
              <a:gd name="connsiteX1" fmla="*/ 387310 w 3104579"/>
              <a:gd name="connsiteY1" fmla="*/ 672259 h 3784903"/>
              <a:gd name="connsiteX2" fmla="*/ 1592136 w 3104579"/>
              <a:gd name="connsiteY2" fmla="*/ 0 h 3784903"/>
              <a:gd name="connsiteX3" fmla="*/ 2735415 w 3104579"/>
              <a:gd name="connsiteY3" fmla="*/ 679470 h 3784903"/>
              <a:gd name="connsiteX4" fmla="*/ 3100295 w 3104579"/>
              <a:gd name="connsiteY4" fmla="*/ 941936 h 3784903"/>
              <a:gd name="connsiteX5" fmla="*/ 3104579 w 3104579"/>
              <a:gd name="connsiteY5" fmla="*/ 2605466 h 3784903"/>
              <a:gd name="connsiteX6" fmla="*/ 1540438 w 3104579"/>
              <a:gd name="connsiteY6" fmla="*/ 3784903 h 3784903"/>
              <a:gd name="connsiteX7" fmla="*/ 4284 w 3104579"/>
              <a:gd name="connsiteY7" fmla="*/ 2644593 h 3784903"/>
              <a:gd name="connsiteX8" fmla="*/ 0 w 3104579"/>
              <a:gd name="connsiteY8" fmla="*/ 959547 h 3784903"/>
              <a:gd name="connsiteX0" fmla="*/ 0 w 3104579"/>
              <a:gd name="connsiteY0" fmla="*/ 287288 h 3112644"/>
              <a:gd name="connsiteX1" fmla="*/ 387310 w 3104579"/>
              <a:gd name="connsiteY1" fmla="*/ 0 h 3112644"/>
              <a:gd name="connsiteX2" fmla="*/ 2735415 w 3104579"/>
              <a:gd name="connsiteY2" fmla="*/ 7211 h 3112644"/>
              <a:gd name="connsiteX3" fmla="*/ 3100295 w 3104579"/>
              <a:gd name="connsiteY3" fmla="*/ 269677 h 3112644"/>
              <a:gd name="connsiteX4" fmla="*/ 3104579 w 3104579"/>
              <a:gd name="connsiteY4" fmla="*/ 1933207 h 3112644"/>
              <a:gd name="connsiteX5" fmla="*/ 1540438 w 3104579"/>
              <a:gd name="connsiteY5" fmla="*/ 3112644 h 3112644"/>
              <a:gd name="connsiteX6" fmla="*/ 4284 w 3104579"/>
              <a:gd name="connsiteY6" fmla="*/ 1972334 h 3112644"/>
              <a:gd name="connsiteX7" fmla="*/ 0 w 3104579"/>
              <a:gd name="connsiteY7" fmla="*/ 287288 h 3112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4579" h="3112644">
                <a:moveTo>
                  <a:pt x="0" y="287288"/>
                </a:moveTo>
                <a:lnTo>
                  <a:pt x="387310" y="0"/>
                </a:lnTo>
                <a:lnTo>
                  <a:pt x="2735415" y="7211"/>
                </a:lnTo>
                <a:lnTo>
                  <a:pt x="3100295" y="269677"/>
                </a:lnTo>
                <a:lnTo>
                  <a:pt x="3104579" y="1933207"/>
                </a:lnTo>
                <a:lnTo>
                  <a:pt x="1540438" y="3112644"/>
                </a:lnTo>
                <a:lnTo>
                  <a:pt x="4284" y="1972334"/>
                </a:lnTo>
                <a:lnTo>
                  <a:pt x="0" y="287288"/>
                </a:lnTo>
                <a:close/>
              </a:path>
            </a:pathLst>
          </a:custGeom>
          <a:solidFill>
            <a:schemeClr val="bg1"/>
          </a:solidFill>
        </p:spPr>
        <p:txBody>
          <a:bodyPr>
            <a:normAutofit/>
          </a:bodyPr>
          <a:lstStyle>
            <a:lvl1pPr marL="0" indent="0">
              <a:buNone/>
              <a:defRPr/>
            </a:lvl1pPr>
          </a:lstStyle>
          <a:p>
            <a:r>
              <a:rPr lang="en-GB"/>
              <a:t> </a:t>
            </a:r>
            <a:r>
              <a:rPr lang="sv-SE"/>
              <a:t> </a:t>
            </a:r>
          </a:p>
        </p:txBody>
      </p:sp>
    </p:spTree>
    <p:extLst>
      <p:ext uri="{BB962C8B-B14F-4D97-AF65-F5344CB8AC3E}">
        <p14:creationId xmlns:p14="http://schemas.microsoft.com/office/powerpoint/2010/main" val="36626230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4_Avsnit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175562D-8BE4-4E07-BD9B-7CEBE40A1A7F}"/>
              </a:ext>
            </a:extLst>
          </p:cNvPr>
          <p:cNvSpPr>
            <a:spLocks noGrp="1"/>
          </p:cNvSpPr>
          <p:nvPr>
            <p:ph type="ctrTitle"/>
          </p:nvPr>
        </p:nvSpPr>
        <p:spPr>
          <a:xfrm>
            <a:off x="1163638" y="1947983"/>
            <a:ext cx="4881152" cy="1438156"/>
          </a:xfrm>
        </p:spPr>
        <p:txBody>
          <a:bodyPr lIns="0" tIns="0" rIns="0" bIns="0" anchor="b" anchorCtr="0"/>
          <a:lstStyle>
            <a:lvl1pPr algn="l">
              <a:lnSpc>
                <a:spcPct val="100000"/>
              </a:lnSpc>
              <a:defRPr sz="2200">
                <a:solidFill>
                  <a:schemeClr val="tx2"/>
                </a:solidFill>
              </a:defRPr>
            </a:lvl1pPr>
          </a:lstStyle>
          <a:p>
            <a:r>
              <a:rPr lang="sv-SE"/>
              <a:t>Klicka här för att ändra mall för rubrikformat</a:t>
            </a:r>
          </a:p>
        </p:txBody>
      </p:sp>
      <p:sp>
        <p:nvSpPr>
          <p:cNvPr id="3" name="Underrubrik 2">
            <a:extLst>
              <a:ext uri="{FF2B5EF4-FFF2-40B4-BE49-F238E27FC236}">
                <a16:creationId xmlns:a16="http://schemas.microsoft.com/office/drawing/2014/main" id="{2DB9F56F-2AD1-42EA-A8BF-E10C61A55E2D}"/>
              </a:ext>
            </a:extLst>
          </p:cNvPr>
          <p:cNvSpPr>
            <a:spLocks noGrp="1"/>
          </p:cNvSpPr>
          <p:nvPr>
            <p:ph type="subTitle" idx="1"/>
          </p:nvPr>
        </p:nvSpPr>
        <p:spPr>
          <a:xfrm>
            <a:off x="1163638" y="3513139"/>
            <a:ext cx="4187416" cy="814386"/>
          </a:xfrm>
        </p:spPr>
        <p:txBody>
          <a:bodyPr lIns="0" tIns="127000" rIns="0" bIns="0" anchor="t" anchorCtr="0">
            <a:noAutofit/>
          </a:bodyPr>
          <a:lstStyle>
            <a:lvl1pPr marL="0" indent="0" algn="l">
              <a:buNone/>
              <a:defRPr sz="140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Klicka här för att ändra mall för underrubrikformat</a:t>
            </a:r>
          </a:p>
        </p:txBody>
      </p:sp>
      <p:sp>
        <p:nvSpPr>
          <p:cNvPr id="5" name="Platshållare för bild 12">
            <a:extLst>
              <a:ext uri="{FF2B5EF4-FFF2-40B4-BE49-F238E27FC236}">
                <a16:creationId xmlns:a16="http://schemas.microsoft.com/office/drawing/2014/main" id="{2B26F70E-6AEA-4478-BD29-2AC776FA0836}"/>
              </a:ext>
            </a:extLst>
          </p:cNvPr>
          <p:cNvSpPr>
            <a:spLocks noGrp="1"/>
          </p:cNvSpPr>
          <p:nvPr>
            <p:ph type="pic" sz="quarter" idx="10" hasCustomPrompt="1"/>
          </p:nvPr>
        </p:nvSpPr>
        <p:spPr>
          <a:xfrm>
            <a:off x="5312954" y="-7620"/>
            <a:ext cx="3344862" cy="3288983"/>
          </a:xfrm>
          <a:custGeom>
            <a:avLst/>
            <a:gdLst>
              <a:gd name="connsiteX0" fmla="*/ 0 w 3115338"/>
              <a:gd name="connsiteY0" fmla="*/ 1620501 h 3241002"/>
              <a:gd name="connsiteX1" fmla="*/ 778835 w 3115338"/>
              <a:gd name="connsiteY1" fmla="*/ 1 h 3241002"/>
              <a:gd name="connsiteX2" fmla="*/ 2336504 w 3115338"/>
              <a:gd name="connsiteY2" fmla="*/ 1 h 3241002"/>
              <a:gd name="connsiteX3" fmla="*/ 3115338 w 3115338"/>
              <a:gd name="connsiteY3" fmla="*/ 1620501 h 3241002"/>
              <a:gd name="connsiteX4" fmla="*/ 2336504 w 3115338"/>
              <a:gd name="connsiteY4" fmla="*/ 3241001 h 3241002"/>
              <a:gd name="connsiteX5" fmla="*/ 778835 w 3115338"/>
              <a:gd name="connsiteY5" fmla="*/ 3241001 h 3241002"/>
              <a:gd name="connsiteX6" fmla="*/ 0 w 3115338"/>
              <a:gd name="connsiteY6" fmla="*/ 1620501 h 3241002"/>
              <a:gd name="connsiteX0" fmla="*/ 0 w 3093822"/>
              <a:gd name="connsiteY0" fmla="*/ 706100 h 3241000"/>
              <a:gd name="connsiteX1" fmla="*/ 757319 w 3093822"/>
              <a:gd name="connsiteY1" fmla="*/ 0 h 3241000"/>
              <a:gd name="connsiteX2" fmla="*/ 2314988 w 3093822"/>
              <a:gd name="connsiteY2" fmla="*/ 0 h 3241000"/>
              <a:gd name="connsiteX3" fmla="*/ 3093822 w 3093822"/>
              <a:gd name="connsiteY3" fmla="*/ 1620500 h 3241000"/>
              <a:gd name="connsiteX4" fmla="*/ 2314988 w 3093822"/>
              <a:gd name="connsiteY4" fmla="*/ 3241000 h 3241000"/>
              <a:gd name="connsiteX5" fmla="*/ 757319 w 3093822"/>
              <a:gd name="connsiteY5" fmla="*/ 3241000 h 3241000"/>
              <a:gd name="connsiteX6" fmla="*/ 0 w 3093822"/>
              <a:gd name="connsiteY6" fmla="*/ 706100 h 3241000"/>
              <a:gd name="connsiteX0" fmla="*/ 0 w 3093822"/>
              <a:gd name="connsiteY0" fmla="*/ 1157921 h 3692821"/>
              <a:gd name="connsiteX1" fmla="*/ 1542627 w 3093822"/>
              <a:gd name="connsiteY1" fmla="*/ 0 h 3692821"/>
              <a:gd name="connsiteX2" fmla="*/ 2314988 w 3093822"/>
              <a:gd name="connsiteY2" fmla="*/ 451821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093822"/>
              <a:gd name="connsiteY0" fmla="*/ 1157921 h 3692821"/>
              <a:gd name="connsiteX1" fmla="*/ 1542627 w 3093822"/>
              <a:gd name="connsiteY1" fmla="*/ 0 h 3692821"/>
              <a:gd name="connsiteX2" fmla="*/ 3089538 w 3093822"/>
              <a:gd name="connsiteY2" fmla="*/ 1151068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104579"/>
              <a:gd name="connsiteY0" fmla="*/ 1157921 h 3692821"/>
              <a:gd name="connsiteX1" fmla="*/ 1542627 w 3104579"/>
              <a:gd name="connsiteY1" fmla="*/ 0 h 3692821"/>
              <a:gd name="connsiteX2" fmla="*/ 3089538 w 3104579"/>
              <a:gd name="connsiteY2" fmla="*/ 1151068 h 3692821"/>
              <a:gd name="connsiteX3" fmla="*/ 3104579 w 3104579"/>
              <a:gd name="connsiteY3" fmla="*/ 2814598 h 3692821"/>
              <a:gd name="connsiteX4" fmla="*/ 2314988 w 3104579"/>
              <a:gd name="connsiteY4" fmla="*/ 3692821 h 3692821"/>
              <a:gd name="connsiteX5" fmla="*/ 757319 w 3104579"/>
              <a:gd name="connsiteY5" fmla="*/ 3692821 h 3692821"/>
              <a:gd name="connsiteX6" fmla="*/ 0 w 3104579"/>
              <a:gd name="connsiteY6" fmla="*/ 1157921 h 3692821"/>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757319 w 3104579"/>
              <a:gd name="connsiteY5" fmla="*/ 3692821 h 3994035"/>
              <a:gd name="connsiteX6" fmla="*/ 0 w 3104579"/>
              <a:gd name="connsiteY6" fmla="*/ 1157921 h 3994035"/>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57921 h 3994035"/>
              <a:gd name="connsiteX0" fmla="*/ 0 w 3104579"/>
              <a:gd name="connsiteY0" fmla="*/ 1168679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 name="connsiteX0" fmla="*/ 0 w 3104579"/>
              <a:gd name="connsiteY0" fmla="*/ 1168679 h 3994035"/>
              <a:gd name="connsiteX1" fmla="*/ 1542627 w 3104579"/>
              <a:gd name="connsiteY1" fmla="*/ 0 h 3994035"/>
              <a:gd name="connsiteX2" fmla="*/ 3100295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 name="connsiteX0" fmla="*/ 0 w 3104579"/>
              <a:gd name="connsiteY0" fmla="*/ 1168679 h 3994035"/>
              <a:gd name="connsiteX1" fmla="*/ 387310 w 3104579"/>
              <a:gd name="connsiteY1" fmla="*/ 881391 h 3994035"/>
              <a:gd name="connsiteX2" fmla="*/ 1542627 w 3104579"/>
              <a:gd name="connsiteY2" fmla="*/ 0 h 3994035"/>
              <a:gd name="connsiteX3" fmla="*/ 3100295 w 3104579"/>
              <a:gd name="connsiteY3" fmla="*/ 1151068 h 3994035"/>
              <a:gd name="connsiteX4" fmla="*/ 3104579 w 3104579"/>
              <a:gd name="connsiteY4" fmla="*/ 2814598 h 3994035"/>
              <a:gd name="connsiteX5" fmla="*/ 1540438 w 3104579"/>
              <a:gd name="connsiteY5" fmla="*/ 3994035 h 3994035"/>
              <a:gd name="connsiteX6" fmla="*/ 4284 w 3104579"/>
              <a:gd name="connsiteY6" fmla="*/ 2853725 h 3994035"/>
              <a:gd name="connsiteX7" fmla="*/ 0 w 3104579"/>
              <a:gd name="connsiteY7" fmla="*/ 1168679 h 3994035"/>
              <a:gd name="connsiteX0" fmla="*/ 0 w 3104579"/>
              <a:gd name="connsiteY0" fmla="*/ 1168679 h 3994035"/>
              <a:gd name="connsiteX1" fmla="*/ 387310 w 3104579"/>
              <a:gd name="connsiteY1" fmla="*/ 881391 h 3994035"/>
              <a:gd name="connsiteX2" fmla="*/ 1542627 w 3104579"/>
              <a:gd name="connsiteY2" fmla="*/ 0 h 3994035"/>
              <a:gd name="connsiteX3" fmla="*/ 2735415 w 3104579"/>
              <a:gd name="connsiteY3" fmla="*/ 888602 h 3994035"/>
              <a:gd name="connsiteX4" fmla="*/ 3100295 w 3104579"/>
              <a:gd name="connsiteY4" fmla="*/ 1151068 h 3994035"/>
              <a:gd name="connsiteX5" fmla="*/ 3104579 w 3104579"/>
              <a:gd name="connsiteY5" fmla="*/ 2814598 h 3994035"/>
              <a:gd name="connsiteX6" fmla="*/ 1540438 w 3104579"/>
              <a:gd name="connsiteY6" fmla="*/ 3994035 h 3994035"/>
              <a:gd name="connsiteX7" fmla="*/ 4284 w 3104579"/>
              <a:gd name="connsiteY7" fmla="*/ 2853725 h 3994035"/>
              <a:gd name="connsiteX8" fmla="*/ 0 w 3104579"/>
              <a:gd name="connsiteY8" fmla="*/ 1168679 h 3994035"/>
              <a:gd name="connsiteX0" fmla="*/ 0 w 3104579"/>
              <a:gd name="connsiteY0" fmla="*/ 959547 h 3784903"/>
              <a:gd name="connsiteX1" fmla="*/ 387310 w 3104579"/>
              <a:gd name="connsiteY1" fmla="*/ 672259 h 3784903"/>
              <a:gd name="connsiteX2" fmla="*/ 1592136 w 3104579"/>
              <a:gd name="connsiteY2" fmla="*/ 0 h 3784903"/>
              <a:gd name="connsiteX3" fmla="*/ 2735415 w 3104579"/>
              <a:gd name="connsiteY3" fmla="*/ 679470 h 3784903"/>
              <a:gd name="connsiteX4" fmla="*/ 3100295 w 3104579"/>
              <a:gd name="connsiteY4" fmla="*/ 941936 h 3784903"/>
              <a:gd name="connsiteX5" fmla="*/ 3104579 w 3104579"/>
              <a:gd name="connsiteY5" fmla="*/ 2605466 h 3784903"/>
              <a:gd name="connsiteX6" fmla="*/ 1540438 w 3104579"/>
              <a:gd name="connsiteY6" fmla="*/ 3784903 h 3784903"/>
              <a:gd name="connsiteX7" fmla="*/ 4284 w 3104579"/>
              <a:gd name="connsiteY7" fmla="*/ 2644593 h 3784903"/>
              <a:gd name="connsiteX8" fmla="*/ 0 w 3104579"/>
              <a:gd name="connsiteY8" fmla="*/ 959547 h 3784903"/>
              <a:gd name="connsiteX0" fmla="*/ 0 w 3104579"/>
              <a:gd name="connsiteY0" fmla="*/ 287288 h 3112644"/>
              <a:gd name="connsiteX1" fmla="*/ 387310 w 3104579"/>
              <a:gd name="connsiteY1" fmla="*/ 0 h 3112644"/>
              <a:gd name="connsiteX2" fmla="*/ 2735415 w 3104579"/>
              <a:gd name="connsiteY2" fmla="*/ 7211 h 3112644"/>
              <a:gd name="connsiteX3" fmla="*/ 3100295 w 3104579"/>
              <a:gd name="connsiteY3" fmla="*/ 269677 h 3112644"/>
              <a:gd name="connsiteX4" fmla="*/ 3104579 w 3104579"/>
              <a:gd name="connsiteY4" fmla="*/ 1933207 h 3112644"/>
              <a:gd name="connsiteX5" fmla="*/ 1540438 w 3104579"/>
              <a:gd name="connsiteY5" fmla="*/ 3112644 h 3112644"/>
              <a:gd name="connsiteX6" fmla="*/ 4284 w 3104579"/>
              <a:gd name="connsiteY6" fmla="*/ 1972334 h 3112644"/>
              <a:gd name="connsiteX7" fmla="*/ 0 w 3104579"/>
              <a:gd name="connsiteY7" fmla="*/ 287288 h 3112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4579" h="3112644">
                <a:moveTo>
                  <a:pt x="0" y="287288"/>
                </a:moveTo>
                <a:lnTo>
                  <a:pt x="387310" y="0"/>
                </a:lnTo>
                <a:lnTo>
                  <a:pt x="2735415" y="7211"/>
                </a:lnTo>
                <a:lnTo>
                  <a:pt x="3100295" y="269677"/>
                </a:lnTo>
                <a:lnTo>
                  <a:pt x="3104579" y="1933207"/>
                </a:lnTo>
                <a:lnTo>
                  <a:pt x="1540438" y="3112644"/>
                </a:lnTo>
                <a:lnTo>
                  <a:pt x="4284" y="1972334"/>
                </a:lnTo>
                <a:lnTo>
                  <a:pt x="0" y="287288"/>
                </a:lnTo>
                <a:close/>
              </a:path>
            </a:pathLst>
          </a:custGeom>
          <a:solidFill>
            <a:schemeClr val="bg1"/>
          </a:solidFill>
        </p:spPr>
        <p:txBody>
          <a:bodyPr>
            <a:normAutofit/>
          </a:bodyPr>
          <a:lstStyle>
            <a:lvl1pPr marL="0" indent="0">
              <a:buNone/>
              <a:defRPr/>
            </a:lvl1pPr>
          </a:lstStyle>
          <a:p>
            <a:r>
              <a:rPr lang="en-GB"/>
              <a:t> </a:t>
            </a:r>
            <a:r>
              <a:rPr lang="sv-SE"/>
              <a:t> </a:t>
            </a:r>
          </a:p>
        </p:txBody>
      </p:sp>
    </p:spTree>
    <p:extLst>
      <p:ext uri="{BB962C8B-B14F-4D97-AF65-F5344CB8AC3E}">
        <p14:creationId xmlns:p14="http://schemas.microsoft.com/office/powerpoint/2010/main" val="33045608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5_Avsnitt">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175562D-8BE4-4E07-BD9B-7CEBE40A1A7F}"/>
              </a:ext>
            </a:extLst>
          </p:cNvPr>
          <p:cNvSpPr>
            <a:spLocks noGrp="1"/>
          </p:cNvSpPr>
          <p:nvPr>
            <p:ph type="ctrTitle"/>
          </p:nvPr>
        </p:nvSpPr>
        <p:spPr>
          <a:xfrm>
            <a:off x="1163638" y="1947983"/>
            <a:ext cx="4881152" cy="1438155"/>
          </a:xfrm>
        </p:spPr>
        <p:txBody>
          <a:bodyPr lIns="0" tIns="0" rIns="0" bIns="0" anchor="b" anchorCtr="0"/>
          <a:lstStyle>
            <a:lvl1pPr algn="l">
              <a:lnSpc>
                <a:spcPct val="100000"/>
              </a:lnSpc>
              <a:defRPr sz="2200">
                <a:solidFill>
                  <a:schemeClr val="tx2"/>
                </a:solidFill>
              </a:defRPr>
            </a:lvl1pPr>
          </a:lstStyle>
          <a:p>
            <a:r>
              <a:rPr lang="sv-SE"/>
              <a:t>Klicka här för att ändra mall för rubrikformat</a:t>
            </a:r>
          </a:p>
        </p:txBody>
      </p:sp>
      <p:sp>
        <p:nvSpPr>
          <p:cNvPr id="3" name="Underrubrik 2">
            <a:extLst>
              <a:ext uri="{FF2B5EF4-FFF2-40B4-BE49-F238E27FC236}">
                <a16:creationId xmlns:a16="http://schemas.microsoft.com/office/drawing/2014/main" id="{2DB9F56F-2AD1-42EA-A8BF-E10C61A55E2D}"/>
              </a:ext>
            </a:extLst>
          </p:cNvPr>
          <p:cNvSpPr>
            <a:spLocks noGrp="1"/>
          </p:cNvSpPr>
          <p:nvPr>
            <p:ph type="subTitle" idx="1"/>
          </p:nvPr>
        </p:nvSpPr>
        <p:spPr>
          <a:xfrm>
            <a:off x="1163638" y="3513139"/>
            <a:ext cx="4187416" cy="814386"/>
          </a:xfrm>
        </p:spPr>
        <p:txBody>
          <a:bodyPr lIns="0" tIns="127000" rIns="0" bIns="0" anchor="t" anchorCtr="0">
            <a:noAutofit/>
          </a:bodyPr>
          <a:lstStyle>
            <a:lvl1pPr marL="0" indent="0" algn="l">
              <a:buNone/>
              <a:defRPr sz="140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Klicka här för att ändra mall för underrubrikformat</a:t>
            </a:r>
          </a:p>
        </p:txBody>
      </p:sp>
      <p:sp>
        <p:nvSpPr>
          <p:cNvPr id="9" name="Platshållare för bild 12">
            <a:extLst>
              <a:ext uri="{FF2B5EF4-FFF2-40B4-BE49-F238E27FC236}">
                <a16:creationId xmlns:a16="http://schemas.microsoft.com/office/drawing/2014/main" id="{03825CCF-BA42-4BA6-AE8D-F63299AF3D91}"/>
              </a:ext>
            </a:extLst>
          </p:cNvPr>
          <p:cNvSpPr>
            <a:spLocks noGrp="1"/>
          </p:cNvSpPr>
          <p:nvPr>
            <p:ph type="pic" sz="quarter" idx="10" hasCustomPrompt="1"/>
          </p:nvPr>
        </p:nvSpPr>
        <p:spPr>
          <a:xfrm>
            <a:off x="5312954" y="-7620"/>
            <a:ext cx="3344862" cy="3288983"/>
          </a:xfrm>
          <a:custGeom>
            <a:avLst/>
            <a:gdLst>
              <a:gd name="connsiteX0" fmla="*/ 0 w 3115338"/>
              <a:gd name="connsiteY0" fmla="*/ 1620501 h 3241002"/>
              <a:gd name="connsiteX1" fmla="*/ 778835 w 3115338"/>
              <a:gd name="connsiteY1" fmla="*/ 1 h 3241002"/>
              <a:gd name="connsiteX2" fmla="*/ 2336504 w 3115338"/>
              <a:gd name="connsiteY2" fmla="*/ 1 h 3241002"/>
              <a:gd name="connsiteX3" fmla="*/ 3115338 w 3115338"/>
              <a:gd name="connsiteY3" fmla="*/ 1620501 h 3241002"/>
              <a:gd name="connsiteX4" fmla="*/ 2336504 w 3115338"/>
              <a:gd name="connsiteY4" fmla="*/ 3241001 h 3241002"/>
              <a:gd name="connsiteX5" fmla="*/ 778835 w 3115338"/>
              <a:gd name="connsiteY5" fmla="*/ 3241001 h 3241002"/>
              <a:gd name="connsiteX6" fmla="*/ 0 w 3115338"/>
              <a:gd name="connsiteY6" fmla="*/ 1620501 h 3241002"/>
              <a:gd name="connsiteX0" fmla="*/ 0 w 3093822"/>
              <a:gd name="connsiteY0" fmla="*/ 706100 h 3241000"/>
              <a:gd name="connsiteX1" fmla="*/ 757319 w 3093822"/>
              <a:gd name="connsiteY1" fmla="*/ 0 h 3241000"/>
              <a:gd name="connsiteX2" fmla="*/ 2314988 w 3093822"/>
              <a:gd name="connsiteY2" fmla="*/ 0 h 3241000"/>
              <a:gd name="connsiteX3" fmla="*/ 3093822 w 3093822"/>
              <a:gd name="connsiteY3" fmla="*/ 1620500 h 3241000"/>
              <a:gd name="connsiteX4" fmla="*/ 2314988 w 3093822"/>
              <a:gd name="connsiteY4" fmla="*/ 3241000 h 3241000"/>
              <a:gd name="connsiteX5" fmla="*/ 757319 w 3093822"/>
              <a:gd name="connsiteY5" fmla="*/ 3241000 h 3241000"/>
              <a:gd name="connsiteX6" fmla="*/ 0 w 3093822"/>
              <a:gd name="connsiteY6" fmla="*/ 706100 h 3241000"/>
              <a:gd name="connsiteX0" fmla="*/ 0 w 3093822"/>
              <a:gd name="connsiteY0" fmla="*/ 1157921 h 3692821"/>
              <a:gd name="connsiteX1" fmla="*/ 1542627 w 3093822"/>
              <a:gd name="connsiteY1" fmla="*/ 0 h 3692821"/>
              <a:gd name="connsiteX2" fmla="*/ 2314988 w 3093822"/>
              <a:gd name="connsiteY2" fmla="*/ 451821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093822"/>
              <a:gd name="connsiteY0" fmla="*/ 1157921 h 3692821"/>
              <a:gd name="connsiteX1" fmla="*/ 1542627 w 3093822"/>
              <a:gd name="connsiteY1" fmla="*/ 0 h 3692821"/>
              <a:gd name="connsiteX2" fmla="*/ 3089538 w 3093822"/>
              <a:gd name="connsiteY2" fmla="*/ 1151068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104579"/>
              <a:gd name="connsiteY0" fmla="*/ 1157921 h 3692821"/>
              <a:gd name="connsiteX1" fmla="*/ 1542627 w 3104579"/>
              <a:gd name="connsiteY1" fmla="*/ 0 h 3692821"/>
              <a:gd name="connsiteX2" fmla="*/ 3089538 w 3104579"/>
              <a:gd name="connsiteY2" fmla="*/ 1151068 h 3692821"/>
              <a:gd name="connsiteX3" fmla="*/ 3104579 w 3104579"/>
              <a:gd name="connsiteY3" fmla="*/ 2814598 h 3692821"/>
              <a:gd name="connsiteX4" fmla="*/ 2314988 w 3104579"/>
              <a:gd name="connsiteY4" fmla="*/ 3692821 h 3692821"/>
              <a:gd name="connsiteX5" fmla="*/ 757319 w 3104579"/>
              <a:gd name="connsiteY5" fmla="*/ 3692821 h 3692821"/>
              <a:gd name="connsiteX6" fmla="*/ 0 w 3104579"/>
              <a:gd name="connsiteY6" fmla="*/ 1157921 h 3692821"/>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757319 w 3104579"/>
              <a:gd name="connsiteY5" fmla="*/ 3692821 h 3994035"/>
              <a:gd name="connsiteX6" fmla="*/ 0 w 3104579"/>
              <a:gd name="connsiteY6" fmla="*/ 1157921 h 3994035"/>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57921 h 3994035"/>
              <a:gd name="connsiteX0" fmla="*/ 0 w 3104579"/>
              <a:gd name="connsiteY0" fmla="*/ 1168679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 name="connsiteX0" fmla="*/ 0 w 3104579"/>
              <a:gd name="connsiteY0" fmla="*/ 1168679 h 3994035"/>
              <a:gd name="connsiteX1" fmla="*/ 1542627 w 3104579"/>
              <a:gd name="connsiteY1" fmla="*/ 0 h 3994035"/>
              <a:gd name="connsiteX2" fmla="*/ 3100295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 name="connsiteX0" fmla="*/ 0 w 3104579"/>
              <a:gd name="connsiteY0" fmla="*/ 1168679 h 3994035"/>
              <a:gd name="connsiteX1" fmla="*/ 387310 w 3104579"/>
              <a:gd name="connsiteY1" fmla="*/ 881391 h 3994035"/>
              <a:gd name="connsiteX2" fmla="*/ 1542627 w 3104579"/>
              <a:gd name="connsiteY2" fmla="*/ 0 h 3994035"/>
              <a:gd name="connsiteX3" fmla="*/ 3100295 w 3104579"/>
              <a:gd name="connsiteY3" fmla="*/ 1151068 h 3994035"/>
              <a:gd name="connsiteX4" fmla="*/ 3104579 w 3104579"/>
              <a:gd name="connsiteY4" fmla="*/ 2814598 h 3994035"/>
              <a:gd name="connsiteX5" fmla="*/ 1540438 w 3104579"/>
              <a:gd name="connsiteY5" fmla="*/ 3994035 h 3994035"/>
              <a:gd name="connsiteX6" fmla="*/ 4284 w 3104579"/>
              <a:gd name="connsiteY6" fmla="*/ 2853725 h 3994035"/>
              <a:gd name="connsiteX7" fmla="*/ 0 w 3104579"/>
              <a:gd name="connsiteY7" fmla="*/ 1168679 h 3994035"/>
              <a:gd name="connsiteX0" fmla="*/ 0 w 3104579"/>
              <a:gd name="connsiteY0" fmla="*/ 1168679 h 3994035"/>
              <a:gd name="connsiteX1" fmla="*/ 387310 w 3104579"/>
              <a:gd name="connsiteY1" fmla="*/ 881391 h 3994035"/>
              <a:gd name="connsiteX2" fmla="*/ 1542627 w 3104579"/>
              <a:gd name="connsiteY2" fmla="*/ 0 h 3994035"/>
              <a:gd name="connsiteX3" fmla="*/ 2735415 w 3104579"/>
              <a:gd name="connsiteY3" fmla="*/ 888602 h 3994035"/>
              <a:gd name="connsiteX4" fmla="*/ 3100295 w 3104579"/>
              <a:gd name="connsiteY4" fmla="*/ 1151068 h 3994035"/>
              <a:gd name="connsiteX5" fmla="*/ 3104579 w 3104579"/>
              <a:gd name="connsiteY5" fmla="*/ 2814598 h 3994035"/>
              <a:gd name="connsiteX6" fmla="*/ 1540438 w 3104579"/>
              <a:gd name="connsiteY6" fmla="*/ 3994035 h 3994035"/>
              <a:gd name="connsiteX7" fmla="*/ 4284 w 3104579"/>
              <a:gd name="connsiteY7" fmla="*/ 2853725 h 3994035"/>
              <a:gd name="connsiteX8" fmla="*/ 0 w 3104579"/>
              <a:gd name="connsiteY8" fmla="*/ 1168679 h 3994035"/>
              <a:gd name="connsiteX0" fmla="*/ 0 w 3104579"/>
              <a:gd name="connsiteY0" fmla="*/ 959547 h 3784903"/>
              <a:gd name="connsiteX1" fmla="*/ 387310 w 3104579"/>
              <a:gd name="connsiteY1" fmla="*/ 672259 h 3784903"/>
              <a:gd name="connsiteX2" fmla="*/ 1592136 w 3104579"/>
              <a:gd name="connsiteY2" fmla="*/ 0 h 3784903"/>
              <a:gd name="connsiteX3" fmla="*/ 2735415 w 3104579"/>
              <a:gd name="connsiteY3" fmla="*/ 679470 h 3784903"/>
              <a:gd name="connsiteX4" fmla="*/ 3100295 w 3104579"/>
              <a:gd name="connsiteY4" fmla="*/ 941936 h 3784903"/>
              <a:gd name="connsiteX5" fmla="*/ 3104579 w 3104579"/>
              <a:gd name="connsiteY5" fmla="*/ 2605466 h 3784903"/>
              <a:gd name="connsiteX6" fmla="*/ 1540438 w 3104579"/>
              <a:gd name="connsiteY6" fmla="*/ 3784903 h 3784903"/>
              <a:gd name="connsiteX7" fmla="*/ 4284 w 3104579"/>
              <a:gd name="connsiteY7" fmla="*/ 2644593 h 3784903"/>
              <a:gd name="connsiteX8" fmla="*/ 0 w 3104579"/>
              <a:gd name="connsiteY8" fmla="*/ 959547 h 3784903"/>
              <a:gd name="connsiteX0" fmla="*/ 0 w 3104579"/>
              <a:gd name="connsiteY0" fmla="*/ 287288 h 3112644"/>
              <a:gd name="connsiteX1" fmla="*/ 387310 w 3104579"/>
              <a:gd name="connsiteY1" fmla="*/ 0 h 3112644"/>
              <a:gd name="connsiteX2" fmla="*/ 2735415 w 3104579"/>
              <a:gd name="connsiteY2" fmla="*/ 7211 h 3112644"/>
              <a:gd name="connsiteX3" fmla="*/ 3100295 w 3104579"/>
              <a:gd name="connsiteY3" fmla="*/ 269677 h 3112644"/>
              <a:gd name="connsiteX4" fmla="*/ 3104579 w 3104579"/>
              <a:gd name="connsiteY4" fmla="*/ 1933207 h 3112644"/>
              <a:gd name="connsiteX5" fmla="*/ 1540438 w 3104579"/>
              <a:gd name="connsiteY5" fmla="*/ 3112644 h 3112644"/>
              <a:gd name="connsiteX6" fmla="*/ 4284 w 3104579"/>
              <a:gd name="connsiteY6" fmla="*/ 1972334 h 3112644"/>
              <a:gd name="connsiteX7" fmla="*/ 0 w 3104579"/>
              <a:gd name="connsiteY7" fmla="*/ 287288 h 3112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4579" h="3112644">
                <a:moveTo>
                  <a:pt x="0" y="287288"/>
                </a:moveTo>
                <a:lnTo>
                  <a:pt x="387310" y="0"/>
                </a:lnTo>
                <a:lnTo>
                  <a:pt x="2735415" y="7211"/>
                </a:lnTo>
                <a:lnTo>
                  <a:pt x="3100295" y="269677"/>
                </a:lnTo>
                <a:lnTo>
                  <a:pt x="3104579" y="1933207"/>
                </a:lnTo>
                <a:lnTo>
                  <a:pt x="1540438" y="3112644"/>
                </a:lnTo>
                <a:lnTo>
                  <a:pt x="4284" y="1972334"/>
                </a:lnTo>
                <a:lnTo>
                  <a:pt x="0" y="287288"/>
                </a:lnTo>
                <a:close/>
              </a:path>
            </a:pathLst>
          </a:custGeom>
          <a:solidFill>
            <a:schemeClr val="bg1"/>
          </a:solidFill>
        </p:spPr>
        <p:txBody>
          <a:bodyPr>
            <a:normAutofit/>
          </a:bodyPr>
          <a:lstStyle>
            <a:lvl1pPr marL="0" indent="0">
              <a:buNone/>
              <a:defRPr/>
            </a:lvl1pPr>
          </a:lstStyle>
          <a:p>
            <a:r>
              <a:rPr lang="en-GB"/>
              <a:t> </a:t>
            </a:r>
            <a:r>
              <a:rPr lang="sv-SE"/>
              <a:t> </a:t>
            </a:r>
          </a:p>
        </p:txBody>
      </p:sp>
    </p:spTree>
    <p:extLst>
      <p:ext uri="{BB962C8B-B14F-4D97-AF65-F5344CB8AC3E}">
        <p14:creationId xmlns:p14="http://schemas.microsoft.com/office/powerpoint/2010/main" val="183151122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6_Avsnit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175562D-8BE4-4E07-BD9B-7CEBE40A1A7F}"/>
              </a:ext>
            </a:extLst>
          </p:cNvPr>
          <p:cNvSpPr>
            <a:spLocks noGrp="1"/>
          </p:cNvSpPr>
          <p:nvPr>
            <p:ph type="ctrTitle"/>
          </p:nvPr>
        </p:nvSpPr>
        <p:spPr>
          <a:xfrm>
            <a:off x="1163638" y="1947983"/>
            <a:ext cx="4881152" cy="1438155"/>
          </a:xfrm>
        </p:spPr>
        <p:txBody>
          <a:bodyPr lIns="0" tIns="0" rIns="0" bIns="0" anchor="b" anchorCtr="0"/>
          <a:lstStyle>
            <a:lvl1pPr algn="l">
              <a:lnSpc>
                <a:spcPct val="100000"/>
              </a:lnSpc>
              <a:defRPr sz="2200">
                <a:solidFill>
                  <a:schemeClr val="tx2"/>
                </a:solidFill>
              </a:defRPr>
            </a:lvl1pPr>
          </a:lstStyle>
          <a:p>
            <a:r>
              <a:rPr lang="sv-SE"/>
              <a:t>Klicka här för att ändra mall för rubrikformat</a:t>
            </a:r>
          </a:p>
        </p:txBody>
      </p:sp>
      <p:sp>
        <p:nvSpPr>
          <p:cNvPr id="3" name="Underrubrik 2">
            <a:extLst>
              <a:ext uri="{FF2B5EF4-FFF2-40B4-BE49-F238E27FC236}">
                <a16:creationId xmlns:a16="http://schemas.microsoft.com/office/drawing/2014/main" id="{2DB9F56F-2AD1-42EA-A8BF-E10C61A55E2D}"/>
              </a:ext>
            </a:extLst>
          </p:cNvPr>
          <p:cNvSpPr>
            <a:spLocks noGrp="1"/>
          </p:cNvSpPr>
          <p:nvPr>
            <p:ph type="subTitle" idx="1"/>
          </p:nvPr>
        </p:nvSpPr>
        <p:spPr>
          <a:xfrm>
            <a:off x="1163638" y="3513139"/>
            <a:ext cx="4187416" cy="814386"/>
          </a:xfrm>
        </p:spPr>
        <p:txBody>
          <a:bodyPr lIns="0" tIns="127000" rIns="0" bIns="0" anchor="t" anchorCtr="0">
            <a:noAutofit/>
          </a:bodyPr>
          <a:lstStyle>
            <a:lvl1pPr marL="0" indent="0" algn="l">
              <a:buNone/>
              <a:defRPr sz="140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Klicka här för att ändra mall för underrubrikformat</a:t>
            </a:r>
          </a:p>
        </p:txBody>
      </p:sp>
      <p:sp>
        <p:nvSpPr>
          <p:cNvPr id="5" name="Platshållare för bild 12">
            <a:extLst>
              <a:ext uri="{FF2B5EF4-FFF2-40B4-BE49-F238E27FC236}">
                <a16:creationId xmlns:a16="http://schemas.microsoft.com/office/drawing/2014/main" id="{2706D7BC-ED2A-405A-B0E7-323EB2D5D2DB}"/>
              </a:ext>
            </a:extLst>
          </p:cNvPr>
          <p:cNvSpPr>
            <a:spLocks noGrp="1"/>
          </p:cNvSpPr>
          <p:nvPr>
            <p:ph type="pic" sz="quarter" idx="10" hasCustomPrompt="1"/>
          </p:nvPr>
        </p:nvSpPr>
        <p:spPr>
          <a:xfrm>
            <a:off x="5312954" y="-7620"/>
            <a:ext cx="3344862" cy="3288983"/>
          </a:xfrm>
          <a:custGeom>
            <a:avLst/>
            <a:gdLst>
              <a:gd name="connsiteX0" fmla="*/ 0 w 3115338"/>
              <a:gd name="connsiteY0" fmla="*/ 1620501 h 3241002"/>
              <a:gd name="connsiteX1" fmla="*/ 778835 w 3115338"/>
              <a:gd name="connsiteY1" fmla="*/ 1 h 3241002"/>
              <a:gd name="connsiteX2" fmla="*/ 2336504 w 3115338"/>
              <a:gd name="connsiteY2" fmla="*/ 1 h 3241002"/>
              <a:gd name="connsiteX3" fmla="*/ 3115338 w 3115338"/>
              <a:gd name="connsiteY3" fmla="*/ 1620501 h 3241002"/>
              <a:gd name="connsiteX4" fmla="*/ 2336504 w 3115338"/>
              <a:gd name="connsiteY4" fmla="*/ 3241001 h 3241002"/>
              <a:gd name="connsiteX5" fmla="*/ 778835 w 3115338"/>
              <a:gd name="connsiteY5" fmla="*/ 3241001 h 3241002"/>
              <a:gd name="connsiteX6" fmla="*/ 0 w 3115338"/>
              <a:gd name="connsiteY6" fmla="*/ 1620501 h 3241002"/>
              <a:gd name="connsiteX0" fmla="*/ 0 w 3093822"/>
              <a:gd name="connsiteY0" fmla="*/ 706100 h 3241000"/>
              <a:gd name="connsiteX1" fmla="*/ 757319 w 3093822"/>
              <a:gd name="connsiteY1" fmla="*/ 0 h 3241000"/>
              <a:gd name="connsiteX2" fmla="*/ 2314988 w 3093822"/>
              <a:gd name="connsiteY2" fmla="*/ 0 h 3241000"/>
              <a:gd name="connsiteX3" fmla="*/ 3093822 w 3093822"/>
              <a:gd name="connsiteY3" fmla="*/ 1620500 h 3241000"/>
              <a:gd name="connsiteX4" fmla="*/ 2314988 w 3093822"/>
              <a:gd name="connsiteY4" fmla="*/ 3241000 h 3241000"/>
              <a:gd name="connsiteX5" fmla="*/ 757319 w 3093822"/>
              <a:gd name="connsiteY5" fmla="*/ 3241000 h 3241000"/>
              <a:gd name="connsiteX6" fmla="*/ 0 w 3093822"/>
              <a:gd name="connsiteY6" fmla="*/ 706100 h 3241000"/>
              <a:gd name="connsiteX0" fmla="*/ 0 w 3093822"/>
              <a:gd name="connsiteY0" fmla="*/ 1157921 h 3692821"/>
              <a:gd name="connsiteX1" fmla="*/ 1542627 w 3093822"/>
              <a:gd name="connsiteY1" fmla="*/ 0 h 3692821"/>
              <a:gd name="connsiteX2" fmla="*/ 2314988 w 3093822"/>
              <a:gd name="connsiteY2" fmla="*/ 451821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093822"/>
              <a:gd name="connsiteY0" fmla="*/ 1157921 h 3692821"/>
              <a:gd name="connsiteX1" fmla="*/ 1542627 w 3093822"/>
              <a:gd name="connsiteY1" fmla="*/ 0 h 3692821"/>
              <a:gd name="connsiteX2" fmla="*/ 3089538 w 3093822"/>
              <a:gd name="connsiteY2" fmla="*/ 1151068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104579"/>
              <a:gd name="connsiteY0" fmla="*/ 1157921 h 3692821"/>
              <a:gd name="connsiteX1" fmla="*/ 1542627 w 3104579"/>
              <a:gd name="connsiteY1" fmla="*/ 0 h 3692821"/>
              <a:gd name="connsiteX2" fmla="*/ 3089538 w 3104579"/>
              <a:gd name="connsiteY2" fmla="*/ 1151068 h 3692821"/>
              <a:gd name="connsiteX3" fmla="*/ 3104579 w 3104579"/>
              <a:gd name="connsiteY3" fmla="*/ 2814598 h 3692821"/>
              <a:gd name="connsiteX4" fmla="*/ 2314988 w 3104579"/>
              <a:gd name="connsiteY4" fmla="*/ 3692821 h 3692821"/>
              <a:gd name="connsiteX5" fmla="*/ 757319 w 3104579"/>
              <a:gd name="connsiteY5" fmla="*/ 3692821 h 3692821"/>
              <a:gd name="connsiteX6" fmla="*/ 0 w 3104579"/>
              <a:gd name="connsiteY6" fmla="*/ 1157921 h 3692821"/>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757319 w 3104579"/>
              <a:gd name="connsiteY5" fmla="*/ 3692821 h 3994035"/>
              <a:gd name="connsiteX6" fmla="*/ 0 w 3104579"/>
              <a:gd name="connsiteY6" fmla="*/ 1157921 h 3994035"/>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57921 h 3994035"/>
              <a:gd name="connsiteX0" fmla="*/ 0 w 3104579"/>
              <a:gd name="connsiteY0" fmla="*/ 1168679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 name="connsiteX0" fmla="*/ 0 w 3104579"/>
              <a:gd name="connsiteY0" fmla="*/ 1168679 h 3994035"/>
              <a:gd name="connsiteX1" fmla="*/ 1542627 w 3104579"/>
              <a:gd name="connsiteY1" fmla="*/ 0 h 3994035"/>
              <a:gd name="connsiteX2" fmla="*/ 3100295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 name="connsiteX0" fmla="*/ 0 w 3104579"/>
              <a:gd name="connsiteY0" fmla="*/ 1168679 h 3994035"/>
              <a:gd name="connsiteX1" fmla="*/ 387310 w 3104579"/>
              <a:gd name="connsiteY1" fmla="*/ 881391 h 3994035"/>
              <a:gd name="connsiteX2" fmla="*/ 1542627 w 3104579"/>
              <a:gd name="connsiteY2" fmla="*/ 0 h 3994035"/>
              <a:gd name="connsiteX3" fmla="*/ 3100295 w 3104579"/>
              <a:gd name="connsiteY3" fmla="*/ 1151068 h 3994035"/>
              <a:gd name="connsiteX4" fmla="*/ 3104579 w 3104579"/>
              <a:gd name="connsiteY4" fmla="*/ 2814598 h 3994035"/>
              <a:gd name="connsiteX5" fmla="*/ 1540438 w 3104579"/>
              <a:gd name="connsiteY5" fmla="*/ 3994035 h 3994035"/>
              <a:gd name="connsiteX6" fmla="*/ 4284 w 3104579"/>
              <a:gd name="connsiteY6" fmla="*/ 2853725 h 3994035"/>
              <a:gd name="connsiteX7" fmla="*/ 0 w 3104579"/>
              <a:gd name="connsiteY7" fmla="*/ 1168679 h 3994035"/>
              <a:gd name="connsiteX0" fmla="*/ 0 w 3104579"/>
              <a:gd name="connsiteY0" fmla="*/ 1168679 h 3994035"/>
              <a:gd name="connsiteX1" fmla="*/ 387310 w 3104579"/>
              <a:gd name="connsiteY1" fmla="*/ 881391 h 3994035"/>
              <a:gd name="connsiteX2" fmla="*/ 1542627 w 3104579"/>
              <a:gd name="connsiteY2" fmla="*/ 0 h 3994035"/>
              <a:gd name="connsiteX3" fmla="*/ 2735415 w 3104579"/>
              <a:gd name="connsiteY3" fmla="*/ 888602 h 3994035"/>
              <a:gd name="connsiteX4" fmla="*/ 3100295 w 3104579"/>
              <a:gd name="connsiteY4" fmla="*/ 1151068 h 3994035"/>
              <a:gd name="connsiteX5" fmla="*/ 3104579 w 3104579"/>
              <a:gd name="connsiteY5" fmla="*/ 2814598 h 3994035"/>
              <a:gd name="connsiteX6" fmla="*/ 1540438 w 3104579"/>
              <a:gd name="connsiteY6" fmla="*/ 3994035 h 3994035"/>
              <a:gd name="connsiteX7" fmla="*/ 4284 w 3104579"/>
              <a:gd name="connsiteY7" fmla="*/ 2853725 h 3994035"/>
              <a:gd name="connsiteX8" fmla="*/ 0 w 3104579"/>
              <a:gd name="connsiteY8" fmla="*/ 1168679 h 3994035"/>
              <a:gd name="connsiteX0" fmla="*/ 0 w 3104579"/>
              <a:gd name="connsiteY0" fmla="*/ 959547 h 3784903"/>
              <a:gd name="connsiteX1" fmla="*/ 387310 w 3104579"/>
              <a:gd name="connsiteY1" fmla="*/ 672259 h 3784903"/>
              <a:gd name="connsiteX2" fmla="*/ 1592136 w 3104579"/>
              <a:gd name="connsiteY2" fmla="*/ 0 h 3784903"/>
              <a:gd name="connsiteX3" fmla="*/ 2735415 w 3104579"/>
              <a:gd name="connsiteY3" fmla="*/ 679470 h 3784903"/>
              <a:gd name="connsiteX4" fmla="*/ 3100295 w 3104579"/>
              <a:gd name="connsiteY4" fmla="*/ 941936 h 3784903"/>
              <a:gd name="connsiteX5" fmla="*/ 3104579 w 3104579"/>
              <a:gd name="connsiteY5" fmla="*/ 2605466 h 3784903"/>
              <a:gd name="connsiteX6" fmla="*/ 1540438 w 3104579"/>
              <a:gd name="connsiteY6" fmla="*/ 3784903 h 3784903"/>
              <a:gd name="connsiteX7" fmla="*/ 4284 w 3104579"/>
              <a:gd name="connsiteY7" fmla="*/ 2644593 h 3784903"/>
              <a:gd name="connsiteX8" fmla="*/ 0 w 3104579"/>
              <a:gd name="connsiteY8" fmla="*/ 959547 h 3784903"/>
              <a:gd name="connsiteX0" fmla="*/ 0 w 3104579"/>
              <a:gd name="connsiteY0" fmla="*/ 287288 h 3112644"/>
              <a:gd name="connsiteX1" fmla="*/ 387310 w 3104579"/>
              <a:gd name="connsiteY1" fmla="*/ 0 h 3112644"/>
              <a:gd name="connsiteX2" fmla="*/ 2735415 w 3104579"/>
              <a:gd name="connsiteY2" fmla="*/ 7211 h 3112644"/>
              <a:gd name="connsiteX3" fmla="*/ 3100295 w 3104579"/>
              <a:gd name="connsiteY3" fmla="*/ 269677 h 3112644"/>
              <a:gd name="connsiteX4" fmla="*/ 3104579 w 3104579"/>
              <a:gd name="connsiteY4" fmla="*/ 1933207 h 3112644"/>
              <a:gd name="connsiteX5" fmla="*/ 1540438 w 3104579"/>
              <a:gd name="connsiteY5" fmla="*/ 3112644 h 3112644"/>
              <a:gd name="connsiteX6" fmla="*/ 4284 w 3104579"/>
              <a:gd name="connsiteY6" fmla="*/ 1972334 h 3112644"/>
              <a:gd name="connsiteX7" fmla="*/ 0 w 3104579"/>
              <a:gd name="connsiteY7" fmla="*/ 287288 h 3112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4579" h="3112644">
                <a:moveTo>
                  <a:pt x="0" y="287288"/>
                </a:moveTo>
                <a:lnTo>
                  <a:pt x="387310" y="0"/>
                </a:lnTo>
                <a:lnTo>
                  <a:pt x="2735415" y="7211"/>
                </a:lnTo>
                <a:lnTo>
                  <a:pt x="3100295" y="269677"/>
                </a:lnTo>
                <a:lnTo>
                  <a:pt x="3104579" y="1933207"/>
                </a:lnTo>
                <a:lnTo>
                  <a:pt x="1540438" y="3112644"/>
                </a:lnTo>
                <a:lnTo>
                  <a:pt x="4284" y="1972334"/>
                </a:lnTo>
                <a:lnTo>
                  <a:pt x="0" y="287288"/>
                </a:lnTo>
                <a:close/>
              </a:path>
            </a:pathLst>
          </a:custGeom>
          <a:solidFill>
            <a:schemeClr val="bg1"/>
          </a:solidFill>
        </p:spPr>
        <p:txBody>
          <a:bodyPr>
            <a:normAutofit/>
          </a:bodyPr>
          <a:lstStyle>
            <a:lvl1pPr marL="0" indent="0">
              <a:buNone/>
              <a:defRPr/>
            </a:lvl1pPr>
          </a:lstStyle>
          <a:p>
            <a:r>
              <a:rPr lang="en-GB"/>
              <a:t> </a:t>
            </a:r>
            <a:r>
              <a:rPr lang="sv-SE"/>
              <a:t> </a:t>
            </a:r>
          </a:p>
        </p:txBody>
      </p:sp>
    </p:spTree>
    <p:extLst>
      <p:ext uri="{BB962C8B-B14F-4D97-AF65-F5344CB8AC3E}">
        <p14:creationId xmlns:p14="http://schemas.microsoft.com/office/powerpoint/2010/main" val="34950589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Text">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p:txBody>
          <a:bodyPr/>
          <a:lstStyle/>
          <a:p>
            <a:r>
              <a:rPr lang="sv-SE"/>
              <a:t>Klicka här för att ändra mall för rubrikformat</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13" name="Platshållare för text 12">
            <a:extLst>
              <a:ext uri="{FF2B5EF4-FFF2-40B4-BE49-F238E27FC236}">
                <a16:creationId xmlns:a16="http://schemas.microsoft.com/office/drawing/2014/main" id="{99E203B7-1F2D-438E-A81B-B2A4EE469972}"/>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6" name="Platshållare för sidfot 5">
            <a:extLst>
              <a:ext uri="{FF2B5EF4-FFF2-40B4-BE49-F238E27FC236}">
                <a16:creationId xmlns:a16="http://schemas.microsoft.com/office/drawing/2014/main" id="{46FA5834-D631-400E-8C48-EE96014429AD}"/>
              </a:ext>
            </a:extLst>
          </p:cNvPr>
          <p:cNvSpPr>
            <a:spLocks noGrp="1"/>
          </p:cNvSpPr>
          <p:nvPr>
            <p:ph type="ftr" sz="quarter" idx="20"/>
          </p:nvPr>
        </p:nvSpPr>
        <p:spPr/>
        <p:txBody>
          <a:bodyPr/>
          <a:lstStyle>
            <a:lvl1pPr algn="ctr">
              <a:defRPr/>
            </a:lvl1pPr>
          </a:lstStyle>
          <a:p>
            <a:pPr algn="r"/>
            <a:r>
              <a:rPr lang="en-US"/>
              <a:t>Stakeholder Forum Agenda - Classification: External</a:t>
            </a:r>
            <a:endParaRPr lang="sv-SE"/>
          </a:p>
        </p:txBody>
      </p:sp>
      <p:sp>
        <p:nvSpPr>
          <p:cNvPr id="7" name="Platshållare för text 6">
            <a:extLst>
              <a:ext uri="{FF2B5EF4-FFF2-40B4-BE49-F238E27FC236}">
                <a16:creationId xmlns:a16="http://schemas.microsoft.com/office/drawing/2014/main" id="{106C2E25-E8B9-45F7-9688-548A6BD4CAD8}"/>
              </a:ext>
            </a:extLst>
          </p:cNvPr>
          <p:cNvSpPr>
            <a:spLocks noGrp="1"/>
          </p:cNvSpPr>
          <p:nvPr>
            <p:ph type="body" sz="quarter" idx="21"/>
          </p:nvPr>
        </p:nvSpPr>
        <p:spPr>
          <a:xfrm>
            <a:off x="469900" y="1068388"/>
            <a:ext cx="6121400" cy="312261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10690418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2_Text">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p:txBody>
          <a:bodyPr/>
          <a:lstStyle/>
          <a:p>
            <a:r>
              <a:rPr lang="sv-SE"/>
              <a:t>Klicka här för att ändra mall för rubrikformat</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13" name="Platshållare för text 12">
            <a:extLst>
              <a:ext uri="{FF2B5EF4-FFF2-40B4-BE49-F238E27FC236}">
                <a16:creationId xmlns:a16="http://schemas.microsoft.com/office/drawing/2014/main" id="{99E203B7-1F2D-438E-A81B-B2A4EE469972}"/>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6" name="Platshållare för sidfot 5">
            <a:extLst>
              <a:ext uri="{FF2B5EF4-FFF2-40B4-BE49-F238E27FC236}">
                <a16:creationId xmlns:a16="http://schemas.microsoft.com/office/drawing/2014/main" id="{46FA5834-D631-400E-8C48-EE96014429AD}"/>
              </a:ext>
            </a:extLst>
          </p:cNvPr>
          <p:cNvSpPr>
            <a:spLocks noGrp="1"/>
          </p:cNvSpPr>
          <p:nvPr>
            <p:ph type="ftr" sz="quarter" idx="20"/>
          </p:nvPr>
        </p:nvSpPr>
        <p:spPr/>
        <p:txBody>
          <a:bodyPr/>
          <a:lstStyle>
            <a:lvl1pPr algn="ctr">
              <a:defRPr/>
            </a:lvl1pPr>
          </a:lstStyle>
          <a:p>
            <a:pPr algn="r"/>
            <a:r>
              <a:rPr lang="en-US"/>
              <a:t>Stakeholder Forum Agenda - Classification: External</a:t>
            </a:r>
            <a:endParaRPr lang="sv-SE"/>
          </a:p>
        </p:txBody>
      </p:sp>
      <p:sp>
        <p:nvSpPr>
          <p:cNvPr id="7" name="Platshållare för text 6">
            <a:extLst>
              <a:ext uri="{FF2B5EF4-FFF2-40B4-BE49-F238E27FC236}">
                <a16:creationId xmlns:a16="http://schemas.microsoft.com/office/drawing/2014/main" id="{106C2E25-E8B9-45F7-9688-548A6BD4CAD8}"/>
              </a:ext>
            </a:extLst>
          </p:cNvPr>
          <p:cNvSpPr>
            <a:spLocks noGrp="1"/>
          </p:cNvSpPr>
          <p:nvPr>
            <p:ph type="body" sz="quarter" idx="21"/>
          </p:nvPr>
        </p:nvSpPr>
        <p:spPr>
          <a:xfrm>
            <a:off x="469900" y="1068388"/>
            <a:ext cx="6121400" cy="312261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22170879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3 Text">
    <p:spTree>
      <p:nvGrpSpPr>
        <p:cNvPr id="1" name=""/>
        <p:cNvGrpSpPr/>
        <p:nvPr/>
      </p:nvGrpSpPr>
      <p:grpSpPr>
        <a:xfrm>
          <a:off x="0" y="0"/>
          <a:ext cx="0" cy="0"/>
          <a:chOff x="0" y="0"/>
          <a:chExt cx="0" cy="0"/>
        </a:xfrm>
      </p:grpSpPr>
      <p:sp>
        <p:nvSpPr>
          <p:cNvPr id="34" name="Rubrik 33"/>
          <p:cNvSpPr>
            <a:spLocks noGrp="1"/>
          </p:cNvSpPr>
          <p:nvPr>
            <p:ph type="title" hasCustomPrompt="1"/>
          </p:nvPr>
        </p:nvSpPr>
        <p:spPr>
          <a:xfrm>
            <a:off x="380999" y="231140"/>
            <a:ext cx="8370889" cy="793918"/>
          </a:xfrm>
          <a:prstGeom prst="rect">
            <a:avLst/>
          </a:prstGeom>
        </p:spPr>
        <p:txBody>
          <a:bodyPr lIns="0" tIns="0" rIns="0" bIns="0" anchor="t" anchorCtr="0">
            <a:normAutofit/>
          </a:bodyPr>
          <a:lstStyle>
            <a:lvl1pPr algn="l">
              <a:defRPr sz="3600">
                <a:solidFill>
                  <a:schemeClr val="tx1"/>
                </a:solidFill>
                <a:latin typeface="Calibri"/>
                <a:cs typeface="Calibri"/>
              </a:defRPr>
            </a:lvl1pPr>
          </a:lstStyle>
          <a:p>
            <a:r>
              <a:rPr lang="en-GB"/>
              <a:t>Heading</a:t>
            </a:r>
            <a:endParaRPr lang="sv-SE"/>
          </a:p>
        </p:txBody>
      </p:sp>
      <p:sp>
        <p:nvSpPr>
          <p:cNvPr id="21" name="Platshållare för text 2"/>
          <p:cNvSpPr>
            <a:spLocks noGrp="1"/>
          </p:cNvSpPr>
          <p:nvPr>
            <p:ph type="body" sz="quarter" idx="17" hasCustomPrompt="1"/>
          </p:nvPr>
        </p:nvSpPr>
        <p:spPr>
          <a:xfrm>
            <a:off x="380999" y="1238250"/>
            <a:ext cx="8160733" cy="3257612"/>
          </a:xfrm>
          <a:prstGeom prst="rect">
            <a:avLst/>
          </a:prstGeom>
        </p:spPr>
        <p:txBody>
          <a:bodyPr lIns="0" tIns="0" rIns="0" bIns="0"/>
          <a:lstStyle>
            <a:lvl1pPr marL="190500" indent="-190500">
              <a:spcBef>
                <a:spcPts val="50"/>
              </a:spcBef>
              <a:defRPr sz="2000"/>
            </a:lvl1pPr>
            <a:lvl2pPr marL="190500" indent="254000">
              <a:spcBef>
                <a:spcPts val="50"/>
              </a:spcBef>
              <a:buFont typeface="Lucida Grande"/>
              <a:buChar char="–"/>
              <a:defRPr sz="2000"/>
            </a:lvl2pPr>
            <a:lvl3pPr marL="571500" indent="-254000">
              <a:spcBef>
                <a:spcPts val="50"/>
              </a:spcBef>
              <a:buFont typeface="Lucida Grande"/>
              <a:buChar char="–"/>
              <a:defRPr sz="2000"/>
            </a:lvl3pPr>
            <a:lvl4pPr marL="698500" indent="-254000">
              <a:spcBef>
                <a:spcPts val="50"/>
              </a:spcBef>
              <a:buFont typeface="Lucida Grande"/>
              <a:buChar char="–"/>
              <a:defRPr sz="2000"/>
            </a:lvl4pPr>
            <a:lvl5pPr marL="825500" indent="-254000">
              <a:spcBef>
                <a:spcPts val="50"/>
              </a:spcBef>
              <a:buFont typeface="Lucida Grande"/>
              <a:buChar char="–"/>
              <a:defRPr/>
            </a:lvl5pPr>
          </a:lstStyle>
          <a:p>
            <a:pPr lvl="0"/>
            <a:r>
              <a:rPr lang="en-GB"/>
              <a:t>Level 1</a:t>
            </a:r>
          </a:p>
          <a:p>
            <a:pPr lvl="1"/>
            <a:r>
              <a:rPr lang="en-GB"/>
              <a:t>Level 2</a:t>
            </a:r>
          </a:p>
          <a:p>
            <a:pPr lvl="2"/>
            <a:r>
              <a:rPr lang="en-GB"/>
              <a:t>Level 3</a:t>
            </a:r>
          </a:p>
          <a:p>
            <a:pPr lvl="3"/>
            <a:r>
              <a:rPr lang="en-GB"/>
              <a:t>Level 4</a:t>
            </a:r>
          </a:p>
          <a:p>
            <a:pPr lvl="4"/>
            <a:r>
              <a:rPr lang="en-GB"/>
              <a:t>Level 5</a:t>
            </a:r>
            <a:endParaRPr lang="sv-SE"/>
          </a:p>
        </p:txBody>
      </p:sp>
      <p:pic>
        <p:nvPicPr>
          <p:cNvPr id="20" name="Bildobjekt 1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0201" y="4590290"/>
            <a:ext cx="850195" cy="307734"/>
          </a:xfrm>
          <a:prstGeom prst="rect">
            <a:avLst/>
          </a:prstGeom>
        </p:spPr>
      </p:pic>
      <p:sp>
        <p:nvSpPr>
          <p:cNvPr id="9" name="Platshållare för sidfot 4">
            <a:extLst>
              <a:ext uri="{FF2B5EF4-FFF2-40B4-BE49-F238E27FC236}">
                <a16:creationId xmlns:a16="http://schemas.microsoft.com/office/drawing/2014/main" id="{6755A3A2-FC6C-4B96-A75D-B83CB0968D1E}"/>
              </a:ext>
            </a:extLst>
          </p:cNvPr>
          <p:cNvSpPr>
            <a:spLocks noGrp="1"/>
          </p:cNvSpPr>
          <p:nvPr>
            <p:ph type="ftr" sz="quarter" idx="11"/>
          </p:nvPr>
        </p:nvSpPr>
        <p:spPr>
          <a:xfrm>
            <a:off x="5824413" y="4483997"/>
            <a:ext cx="2509889" cy="382813"/>
          </a:xfrm>
          <a:prstGeom prst="rect">
            <a:avLst/>
          </a:prstGeom>
        </p:spPr>
        <p:txBody>
          <a:bodyPr lIns="0" tIns="0" rIns="0" bIns="0" anchor="b" anchorCtr="0"/>
          <a:lstStyle>
            <a:lvl1pPr algn="r">
              <a:defRPr sz="900" b="0">
                <a:solidFill>
                  <a:schemeClr val="tx1"/>
                </a:solidFill>
              </a:defRPr>
            </a:lvl1pPr>
          </a:lstStyle>
          <a:p>
            <a:r>
              <a:rPr lang="en-US"/>
              <a:t>Stakeholder Forum Agenda - Classification: External</a:t>
            </a:r>
            <a:endParaRPr lang="sv-SE"/>
          </a:p>
        </p:txBody>
      </p:sp>
      <p:sp>
        <p:nvSpPr>
          <p:cNvPr id="14" name="Platshållare för datum 3">
            <a:extLst>
              <a:ext uri="{FF2B5EF4-FFF2-40B4-BE49-F238E27FC236}">
                <a16:creationId xmlns:a16="http://schemas.microsoft.com/office/drawing/2014/main" id="{73087D3C-A1BA-4049-99B3-902D9ACF6784}"/>
              </a:ext>
            </a:extLst>
          </p:cNvPr>
          <p:cNvSpPr>
            <a:spLocks noGrp="1"/>
          </p:cNvSpPr>
          <p:nvPr>
            <p:ph type="dt" sz="half" idx="10"/>
          </p:nvPr>
        </p:nvSpPr>
        <p:spPr>
          <a:xfrm>
            <a:off x="4734099" y="4495861"/>
            <a:ext cx="1018558" cy="370949"/>
          </a:xfrm>
          <a:prstGeom prst="rect">
            <a:avLst/>
          </a:prstGeom>
        </p:spPr>
        <p:txBody>
          <a:bodyPr lIns="0" tIns="0" rIns="0" bIns="0" anchor="b" anchorCtr="0"/>
          <a:lstStyle>
            <a:lvl1pPr algn="l">
              <a:defRPr sz="900" b="0" i="0" cap="all">
                <a:solidFill>
                  <a:schemeClr val="tx1"/>
                </a:solidFill>
              </a:defRPr>
            </a:lvl1pPr>
          </a:lstStyle>
          <a:p>
            <a:r>
              <a:rPr lang="sv-SE"/>
              <a:t>26/03/2026</a:t>
            </a:r>
          </a:p>
        </p:txBody>
      </p:sp>
      <p:sp>
        <p:nvSpPr>
          <p:cNvPr id="15" name="Platshållare för bildnummer 5">
            <a:extLst>
              <a:ext uri="{FF2B5EF4-FFF2-40B4-BE49-F238E27FC236}">
                <a16:creationId xmlns:a16="http://schemas.microsoft.com/office/drawing/2014/main" id="{7D1EE73A-3E7F-42B0-A767-DC52031AF23B}"/>
              </a:ext>
            </a:extLst>
          </p:cNvPr>
          <p:cNvSpPr>
            <a:spLocks noGrp="1"/>
          </p:cNvSpPr>
          <p:nvPr>
            <p:ph type="sldNum" sz="quarter" idx="12"/>
          </p:nvPr>
        </p:nvSpPr>
        <p:spPr>
          <a:xfrm>
            <a:off x="8383230" y="4469824"/>
            <a:ext cx="368658" cy="396987"/>
          </a:xfrm>
          <a:prstGeom prst="rect">
            <a:avLst/>
          </a:prstGeom>
          <a:noFill/>
        </p:spPr>
        <p:txBody>
          <a:bodyPr lIns="25400" tIns="0" rIns="0" bIns="0" anchor="b" anchorCtr="0"/>
          <a:lstStyle>
            <a:lvl1pPr algn="r">
              <a:defRPr sz="900">
                <a:solidFill>
                  <a:schemeClr val="tx1"/>
                </a:solidFill>
              </a:defRPr>
            </a:lvl1pPr>
          </a:lstStyle>
          <a:p>
            <a:fld id="{394EE31B-4DFC-CF4D-9A18-3F5D4D7C7302}" type="slidenum">
              <a:rPr lang="sv-SE" smtClean="0"/>
              <a:pPr/>
              <a:t>‹#›</a:t>
            </a:fld>
            <a:endParaRPr lang="sv-SE"/>
          </a:p>
        </p:txBody>
      </p:sp>
    </p:spTree>
    <p:extLst>
      <p:ext uri="{BB962C8B-B14F-4D97-AF65-F5344CB8AC3E}">
        <p14:creationId xmlns:p14="http://schemas.microsoft.com/office/powerpoint/2010/main" val="146034088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Text - Text">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p:txBody>
          <a:bodyPr/>
          <a:lstStyle/>
          <a:p>
            <a:r>
              <a:rPr lang="sv-SE"/>
              <a:t>Klicka här för att ändra mall för rubrikformat</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7" name="Platshållare för text 6">
            <a:extLst>
              <a:ext uri="{FF2B5EF4-FFF2-40B4-BE49-F238E27FC236}">
                <a16:creationId xmlns:a16="http://schemas.microsoft.com/office/drawing/2014/main" id="{106C2E25-E8B9-45F7-9688-548A6BD4CAD8}"/>
              </a:ext>
            </a:extLst>
          </p:cNvPr>
          <p:cNvSpPr>
            <a:spLocks noGrp="1"/>
          </p:cNvSpPr>
          <p:nvPr>
            <p:ph type="body" sz="quarter" idx="21"/>
          </p:nvPr>
        </p:nvSpPr>
        <p:spPr>
          <a:xfrm>
            <a:off x="469899" y="1068388"/>
            <a:ext cx="4038601" cy="312261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5" name="Platshållare för text 6">
            <a:extLst>
              <a:ext uri="{FF2B5EF4-FFF2-40B4-BE49-F238E27FC236}">
                <a16:creationId xmlns:a16="http://schemas.microsoft.com/office/drawing/2014/main" id="{40D4D013-10AE-42A7-AA48-E24CA88A7334}"/>
              </a:ext>
            </a:extLst>
          </p:cNvPr>
          <p:cNvSpPr>
            <a:spLocks noGrp="1"/>
          </p:cNvSpPr>
          <p:nvPr>
            <p:ph type="body" sz="quarter" idx="22"/>
          </p:nvPr>
        </p:nvSpPr>
        <p:spPr>
          <a:xfrm>
            <a:off x="4640265" y="1077913"/>
            <a:ext cx="4038601" cy="312261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21" name="Platshållare för text 12">
            <a:extLst>
              <a:ext uri="{FF2B5EF4-FFF2-40B4-BE49-F238E27FC236}">
                <a16:creationId xmlns:a16="http://schemas.microsoft.com/office/drawing/2014/main" id="{876E1B2F-94E2-43AD-A827-1EA62522F00A}"/>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22" name="Platshållare för sidfot 5">
            <a:extLst>
              <a:ext uri="{FF2B5EF4-FFF2-40B4-BE49-F238E27FC236}">
                <a16:creationId xmlns:a16="http://schemas.microsoft.com/office/drawing/2014/main" id="{B2C45E75-5DCA-40B3-A787-16B502A940A9}"/>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290834209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2_Text - Text">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p:txBody>
          <a:bodyPr/>
          <a:lstStyle/>
          <a:p>
            <a:r>
              <a:rPr lang="sv-SE"/>
              <a:t>Klicka här för att ändra mall för rubrikformat</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7" name="Platshållare för text 6">
            <a:extLst>
              <a:ext uri="{FF2B5EF4-FFF2-40B4-BE49-F238E27FC236}">
                <a16:creationId xmlns:a16="http://schemas.microsoft.com/office/drawing/2014/main" id="{106C2E25-E8B9-45F7-9688-548A6BD4CAD8}"/>
              </a:ext>
            </a:extLst>
          </p:cNvPr>
          <p:cNvSpPr>
            <a:spLocks noGrp="1"/>
          </p:cNvSpPr>
          <p:nvPr>
            <p:ph type="body" sz="quarter" idx="21"/>
          </p:nvPr>
        </p:nvSpPr>
        <p:spPr>
          <a:xfrm>
            <a:off x="469899" y="1068388"/>
            <a:ext cx="4038601" cy="312261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5" name="Platshållare för text 6">
            <a:extLst>
              <a:ext uri="{FF2B5EF4-FFF2-40B4-BE49-F238E27FC236}">
                <a16:creationId xmlns:a16="http://schemas.microsoft.com/office/drawing/2014/main" id="{40D4D013-10AE-42A7-AA48-E24CA88A7334}"/>
              </a:ext>
            </a:extLst>
          </p:cNvPr>
          <p:cNvSpPr>
            <a:spLocks noGrp="1"/>
          </p:cNvSpPr>
          <p:nvPr>
            <p:ph type="body" sz="quarter" idx="22"/>
          </p:nvPr>
        </p:nvSpPr>
        <p:spPr>
          <a:xfrm>
            <a:off x="4640265" y="1077913"/>
            <a:ext cx="4038601" cy="312261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21" name="Platshållare för text 12">
            <a:extLst>
              <a:ext uri="{FF2B5EF4-FFF2-40B4-BE49-F238E27FC236}">
                <a16:creationId xmlns:a16="http://schemas.microsoft.com/office/drawing/2014/main" id="{876E1B2F-94E2-43AD-A827-1EA62522F00A}"/>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22" name="Platshållare för sidfot 5">
            <a:extLst>
              <a:ext uri="{FF2B5EF4-FFF2-40B4-BE49-F238E27FC236}">
                <a16:creationId xmlns:a16="http://schemas.microsoft.com/office/drawing/2014/main" id="{B2C45E75-5DCA-40B3-A787-16B502A940A9}"/>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23698175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Text - Text - Text">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p:txBody>
          <a:bodyPr/>
          <a:lstStyle/>
          <a:p>
            <a:r>
              <a:rPr lang="sv-SE"/>
              <a:t>Klicka här för att ändra mall för rubrikformat</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7" name="Platshållare för text 6">
            <a:extLst>
              <a:ext uri="{FF2B5EF4-FFF2-40B4-BE49-F238E27FC236}">
                <a16:creationId xmlns:a16="http://schemas.microsoft.com/office/drawing/2014/main" id="{106C2E25-E8B9-45F7-9688-548A6BD4CAD8}"/>
              </a:ext>
            </a:extLst>
          </p:cNvPr>
          <p:cNvSpPr>
            <a:spLocks noGrp="1"/>
          </p:cNvSpPr>
          <p:nvPr>
            <p:ph type="body" sz="quarter" idx="21"/>
          </p:nvPr>
        </p:nvSpPr>
        <p:spPr>
          <a:xfrm>
            <a:off x="469899" y="1068388"/>
            <a:ext cx="2649539" cy="312261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5" name="Platshållare för text 6">
            <a:extLst>
              <a:ext uri="{FF2B5EF4-FFF2-40B4-BE49-F238E27FC236}">
                <a16:creationId xmlns:a16="http://schemas.microsoft.com/office/drawing/2014/main" id="{40D4D013-10AE-42A7-AA48-E24CA88A7334}"/>
              </a:ext>
            </a:extLst>
          </p:cNvPr>
          <p:cNvSpPr>
            <a:spLocks noGrp="1"/>
          </p:cNvSpPr>
          <p:nvPr>
            <p:ph type="body" sz="quarter" idx="22"/>
          </p:nvPr>
        </p:nvSpPr>
        <p:spPr>
          <a:xfrm>
            <a:off x="3246436" y="1077913"/>
            <a:ext cx="2649539" cy="312261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6" name="Platshållare för text 6">
            <a:extLst>
              <a:ext uri="{FF2B5EF4-FFF2-40B4-BE49-F238E27FC236}">
                <a16:creationId xmlns:a16="http://schemas.microsoft.com/office/drawing/2014/main" id="{B0C6B780-A5EB-47E0-A227-F00D81FABC3C}"/>
              </a:ext>
            </a:extLst>
          </p:cNvPr>
          <p:cNvSpPr>
            <a:spLocks noGrp="1"/>
          </p:cNvSpPr>
          <p:nvPr>
            <p:ph type="body" sz="quarter" idx="23"/>
          </p:nvPr>
        </p:nvSpPr>
        <p:spPr>
          <a:xfrm>
            <a:off x="6024561" y="1079501"/>
            <a:ext cx="2649539" cy="312261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20" name="Platshållare för text 12">
            <a:extLst>
              <a:ext uri="{FF2B5EF4-FFF2-40B4-BE49-F238E27FC236}">
                <a16:creationId xmlns:a16="http://schemas.microsoft.com/office/drawing/2014/main" id="{2A38FEF7-C809-4595-B4E5-A6F04D58B19E}"/>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21" name="Platshållare för sidfot 5">
            <a:extLst>
              <a:ext uri="{FF2B5EF4-FFF2-40B4-BE49-F238E27FC236}">
                <a16:creationId xmlns:a16="http://schemas.microsoft.com/office/drawing/2014/main" id="{9E91C5C2-3470-4ACB-B73D-A92CD84F26D7}"/>
              </a:ext>
            </a:extLst>
          </p:cNvPr>
          <p:cNvSpPr>
            <a:spLocks noGrp="1"/>
          </p:cNvSpPr>
          <p:nvPr>
            <p:ph type="ftr" sz="quarter" idx="20"/>
          </p:nvPr>
        </p:nvSpPr>
        <p:spPr>
          <a:xfrm>
            <a:off x="2552700" y="4615656"/>
            <a:ext cx="5426075" cy="273844"/>
          </a:xfrm>
        </p:spPr>
        <p:txBody>
          <a:bodyPr/>
          <a:lstStyle>
            <a:lvl1pPr algn="r">
              <a:defRPr/>
            </a:lvl1pPr>
          </a:lstStyle>
          <a:p>
            <a:r>
              <a:rPr lang="en-US"/>
              <a:t>Stakeholder Forum Agenda - Classification: External</a:t>
            </a:r>
            <a:endParaRPr lang="sv-SE"/>
          </a:p>
        </p:txBody>
      </p:sp>
    </p:spTree>
    <p:extLst>
      <p:ext uri="{BB962C8B-B14F-4D97-AF65-F5344CB8AC3E}">
        <p14:creationId xmlns:p14="http://schemas.microsoft.com/office/powerpoint/2010/main" val="12118900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_Text - Text - Text">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p:txBody>
          <a:bodyPr/>
          <a:lstStyle/>
          <a:p>
            <a:r>
              <a:rPr lang="sv-SE"/>
              <a:t>Klicka här för att ändra mall för rubrikformat</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7" name="Platshållare för text 6">
            <a:extLst>
              <a:ext uri="{FF2B5EF4-FFF2-40B4-BE49-F238E27FC236}">
                <a16:creationId xmlns:a16="http://schemas.microsoft.com/office/drawing/2014/main" id="{106C2E25-E8B9-45F7-9688-548A6BD4CAD8}"/>
              </a:ext>
            </a:extLst>
          </p:cNvPr>
          <p:cNvSpPr>
            <a:spLocks noGrp="1"/>
          </p:cNvSpPr>
          <p:nvPr>
            <p:ph type="body" sz="quarter" idx="21"/>
          </p:nvPr>
        </p:nvSpPr>
        <p:spPr>
          <a:xfrm>
            <a:off x="469899" y="1068388"/>
            <a:ext cx="2649539" cy="312261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5" name="Platshållare för text 6">
            <a:extLst>
              <a:ext uri="{FF2B5EF4-FFF2-40B4-BE49-F238E27FC236}">
                <a16:creationId xmlns:a16="http://schemas.microsoft.com/office/drawing/2014/main" id="{40D4D013-10AE-42A7-AA48-E24CA88A7334}"/>
              </a:ext>
            </a:extLst>
          </p:cNvPr>
          <p:cNvSpPr>
            <a:spLocks noGrp="1"/>
          </p:cNvSpPr>
          <p:nvPr>
            <p:ph type="body" sz="quarter" idx="22"/>
          </p:nvPr>
        </p:nvSpPr>
        <p:spPr>
          <a:xfrm>
            <a:off x="3246436" y="1077913"/>
            <a:ext cx="2649539" cy="312261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6" name="Platshållare för text 6">
            <a:extLst>
              <a:ext uri="{FF2B5EF4-FFF2-40B4-BE49-F238E27FC236}">
                <a16:creationId xmlns:a16="http://schemas.microsoft.com/office/drawing/2014/main" id="{B0C6B780-A5EB-47E0-A227-F00D81FABC3C}"/>
              </a:ext>
            </a:extLst>
          </p:cNvPr>
          <p:cNvSpPr>
            <a:spLocks noGrp="1"/>
          </p:cNvSpPr>
          <p:nvPr>
            <p:ph type="body" sz="quarter" idx="23"/>
          </p:nvPr>
        </p:nvSpPr>
        <p:spPr>
          <a:xfrm>
            <a:off x="6024561" y="1079501"/>
            <a:ext cx="2649539" cy="312261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20" name="Platshållare för text 12">
            <a:extLst>
              <a:ext uri="{FF2B5EF4-FFF2-40B4-BE49-F238E27FC236}">
                <a16:creationId xmlns:a16="http://schemas.microsoft.com/office/drawing/2014/main" id="{2A38FEF7-C809-4595-B4E5-A6F04D58B19E}"/>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21" name="Platshållare för sidfot 5">
            <a:extLst>
              <a:ext uri="{FF2B5EF4-FFF2-40B4-BE49-F238E27FC236}">
                <a16:creationId xmlns:a16="http://schemas.microsoft.com/office/drawing/2014/main" id="{9E91C5C2-3470-4ACB-B73D-A92CD84F26D7}"/>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37259793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Text - Bild">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a:xfrm>
            <a:off x="469900" y="254000"/>
            <a:ext cx="6121400" cy="687388"/>
          </a:xfrm>
        </p:spPr>
        <p:txBody>
          <a:bodyPr/>
          <a:lstStyle/>
          <a:p>
            <a:r>
              <a:rPr lang="sv-SE"/>
              <a:t>Klicka här för att ändra mall för rubrikformat</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12" name="Platshållare för text 6">
            <a:extLst>
              <a:ext uri="{FF2B5EF4-FFF2-40B4-BE49-F238E27FC236}">
                <a16:creationId xmlns:a16="http://schemas.microsoft.com/office/drawing/2014/main" id="{4A8D53C4-8A67-4681-8824-CEBD558DD74C}"/>
              </a:ext>
            </a:extLst>
          </p:cNvPr>
          <p:cNvSpPr>
            <a:spLocks noGrp="1"/>
          </p:cNvSpPr>
          <p:nvPr>
            <p:ph type="body" sz="quarter" idx="21"/>
          </p:nvPr>
        </p:nvSpPr>
        <p:spPr>
          <a:xfrm>
            <a:off x="469898" y="1068388"/>
            <a:ext cx="4038599" cy="312261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5" name="Platshållare för bild 12">
            <a:extLst>
              <a:ext uri="{FF2B5EF4-FFF2-40B4-BE49-F238E27FC236}">
                <a16:creationId xmlns:a16="http://schemas.microsoft.com/office/drawing/2014/main" id="{B3B2ABBB-4053-4E91-8EB2-5975FE899DE7}"/>
              </a:ext>
            </a:extLst>
          </p:cNvPr>
          <p:cNvSpPr>
            <a:spLocks noGrp="1"/>
          </p:cNvSpPr>
          <p:nvPr>
            <p:ph type="pic" sz="quarter" idx="10"/>
          </p:nvPr>
        </p:nvSpPr>
        <p:spPr>
          <a:xfrm>
            <a:off x="5321871" y="254000"/>
            <a:ext cx="3320479" cy="3946526"/>
          </a:xfrm>
          <a:custGeom>
            <a:avLst/>
            <a:gdLst>
              <a:gd name="connsiteX0" fmla="*/ 0 w 3115338"/>
              <a:gd name="connsiteY0" fmla="*/ 1620501 h 3241002"/>
              <a:gd name="connsiteX1" fmla="*/ 778835 w 3115338"/>
              <a:gd name="connsiteY1" fmla="*/ 1 h 3241002"/>
              <a:gd name="connsiteX2" fmla="*/ 2336504 w 3115338"/>
              <a:gd name="connsiteY2" fmla="*/ 1 h 3241002"/>
              <a:gd name="connsiteX3" fmla="*/ 3115338 w 3115338"/>
              <a:gd name="connsiteY3" fmla="*/ 1620501 h 3241002"/>
              <a:gd name="connsiteX4" fmla="*/ 2336504 w 3115338"/>
              <a:gd name="connsiteY4" fmla="*/ 3241001 h 3241002"/>
              <a:gd name="connsiteX5" fmla="*/ 778835 w 3115338"/>
              <a:gd name="connsiteY5" fmla="*/ 3241001 h 3241002"/>
              <a:gd name="connsiteX6" fmla="*/ 0 w 3115338"/>
              <a:gd name="connsiteY6" fmla="*/ 1620501 h 3241002"/>
              <a:gd name="connsiteX0" fmla="*/ 0 w 3093822"/>
              <a:gd name="connsiteY0" fmla="*/ 706100 h 3241000"/>
              <a:gd name="connsiteX1" fmla="*/ 757319 w 3093822"/>
              <a:gd name="connsiteY1" fmla="*/ 0 h 3241000"/>
              <a:gd name="connsiteX2" fmla="*/ 2314988 w 3093822"/>
              <a:gd name="connsiteY2" fmla="*/ 0 h 3241000"/>
              <a:gd name="connsiteX3" fmla="*/ 3093822 w 3093822"/>
              <a:gd name="connsiteY3" fmla="*/ 1620500 h 3241000"/>
              <a:gd name="connsiteX4" fmla="*/ 2314988 w 3093822"/>
              <a:gd name="connsiteY4" fmla="*/ 3241000 h 3241000"/>
              <a:gd name="connsiteX5" fmla="*/ 757319 w 3093822"/>
              <a:gd name="connsiteY5" fmla="*/ 3241000 h 3241000"/>
              <a:gd name="connsiteX6" fmla="*/ 0 w 3093822"/>
              <a:gd name="connsiteY6" fmla="*/ 706100 h 3241000"/>
              <a:gd name="connsiteX0" fmla="*/ 0 w 3093822"/>
              <a:gd name="connsiteY0" fmla="*/ 1157921 h 3692821"/>
              <a:gd name="connsiteX1" fmla="*/ 1542627 w 3093822"/>
              <a:gd name="connsiteY1" fmla="*/ 0 h 3692821"/>
              <a:gd name="connsiteX2" fmla="*/ 2314988 w 3093822"/>
              <a:gd name="connsiteY2" fmla="*/ 451821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093822"/>
              <a:gd name="connsiteY0" fmla="*/ 1157921 h 3692821"/>
              <a:gd name="connsiteX1" fmla="*/ 1542627 w 3093822"/>
              <a:gd name="connsiteY1" fmla="*/ 0 h 3692821"/>
              <a:gd name="connsiteX2" fmla="*/ 3089538 w 3093822"/>
              <a:gd name="connsiteY2" fmla="*/ 1151068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104579"/>
              <a:gd name="connsiteY0" fmla="*/ 1157921 h 3692821"/>
              <a:gd name="connsiteX1" fmla="*/ 1542627 w 3104579"/>
              <a:gd name="connsiteY1" fmla="*/ 0 h 3692821"/>
              <a:gd name="connsiteX2" fmla="*/ 3089538 w 3104579"/>
              <a:gd name="connsiteY2" fmla="*/ 1151068 h 3692821"/>
              <a:gd name="connsiteX3" fmla="*/ 3104579 w 3104579"/>
              <a:gd name="connsiteY3" fmla="*/ 2814598 h 3692821"/>
              <a:gd name="connsiteX4" fmla="*/ 2314988 w 3104579"/>
              <a:gd name="connsiteY4" fmla="*/ 3692821 h 3692821"/>
              <a:gd name="connsiteX5" fmla="*/ 757319 w 3104579"/>
              <a:gd name="connsiteY5" fmla="*/ 3692821 h 3692821"/>
              <a:gd name="connsiteX6" fmla="*/ 0 w 3104579"/>
              <a:gd name="connsiteY6" fmla="*/ 1157921 h 3692821"/>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757319 w 3104579"/>
              <a:gd name="connsiteY5" fmla="*/ 3692821 h 3994035"/>
              <a:gd name="connsiteX6" fmla="*/ 0 w 3104579"/>
              <a:gd name="connsiteY6" fmla="*/ 1157921 h 3994035"/>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57921 h 3994035"/>
              <a:gd name="connsiteX0" fmla="*/ 0 w 3104579"/>
              <a:gd name="connsiteY0" fmla="*/ 1168679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 name="connsiteX0" fmla="*/ 0 w 3104579"/>
              <a:gd name="connsiteY0" fmla="*/ 1168679 h 3994035"/>
              <a:gd name="connsiteX1" fmla="*/ 1542627 w 3104579"/>
              <a:gd name="connsiteY1" fmla="*/ 0 h 3994035"/>
              <a:gd name="connsiteX2" fmla="*/ 3100295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04579" h="3994035">
                <a:moveTo>
                  <a:pt x="0" y="1168679"/>
                </a:moveTo>
                <a:lnTo>
                  <a:pt x="1542627" y="0"/>
                </a:lnTo>
                <a:lnTo>
                  <a:pt x="3100295" y="1151068"/>
                </a:lnTo>
                <a:lnTo>
                  <a:pt x="3104579" y="2814598"/>
                </a:lnTo>
                <a:lnTo>
                  <a:pt x="1540438" y="3994035"/>
                </a:lnTo>
                <a:lnTo>
                  <a:pt x="4284" y="2853725"/>
                </a:lnTo>
                <a:lnTo>
                  <a:pt x="0" y="1168679"/>
                </a:lnTo>
                <a:close/>
              </a:path>
            </a:pathLst>
          </a:custGeom>
          <a:solidFill>
            <a:schemeClr val="bg1"/>
          </a:solidFill>
        </p:spPr>
        <p:txBody>
          <a:bodyPr/>
          <a:lstStyle/>
          <a:p>
            <a:endParaRPr lang="sv-SE"/>
          </a:p>
        </p:txBody>
      </p:sp>
      <p:sp>
        <p:nvSpPr>
          <p:cNvPr id="16" name="Platshållare för text 12">
            <a:extLst>
              <a:ext uri="{FF2B5EF4-FFF2-40B4-BE49-F238E27FC236}">
                <a16:creationId xmlns:a16="http://schemas.microsoft.com/office/drawing/2014/main" id="{4C16B975-8481-49EF-85B2-019EF1DB9189}"/>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17" name="Platshållare för sidfot 5">
            <a:extLst>
              <a:ext uri="{FF2B5EF4-FFF2-40B4-BE49-F238E27FC236}">
                <a16:creationId xmlns:a16="http://schemas.microsoft.com/office/drawing/2014/main" id="{2D0B0CAB-9EFB-495C-BF3F-C2A542EAECCE}"/>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2397620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2_Text - Bild">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a:xfrm>
            <a:off x="469900" y="254000"/>
            <a:ext cx="6121400" cy="687388"/>
          </a:xfrm>
        </p:spPr>
        <p:txBody>
          <a:bodyPr/>
          <a:lstStyle/>
          <a:p>
            <a:r>
              <a:rPr lang="sv-SE"/>
              <a:t>Klicka här för att ändra mall för rubrikformat</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12" name="Platshållare för text 6">
            <a:extLst>
              <a:ext uri="{FF2B5EF4-FFF2-40B4-BE49-F238E27FC236}">
                <a16:creationId xmlns:a16="http://schemas.microsoft.com/office/drawing/2014/main" id="{4A8D53C4-8A67-4681-8824-CEBD558DD74C}"/>
              </a:ext>
            </a:extLst>
          </p:cNvPr>
          <p:cNvSpPr>
            <a:spLocks noGrp="1"/>
          </p:cNvSpPr>
          <p:nvPr>
            <p:ph type="body" sz="quarter" idx="21"/>
          </p:nvPr>
        </p:nvSpPr>
        <p:spPr>
          <a:xfrm>
            <a:off x="469898" y="1068388"/>
            <a:ext cx="4038599" cy="312261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5" name="Platshållare för bild 12">
            <a:extLst>
              <a:ext uri="{FF2B5EF4-FFF2-40B4-BE49-F238E27FC236}">
                <a16:creationId xmlns:a16="http://schemas.microsoft.com/office/drawing/2014/main" id="{B3B2ABBB-4053-4E91-8EB2-5975FE899DE7}"/>
              </a:ext>
            </a:extLst>
          </p:cNvPr>
          <p:cNvSpPr>
            <a:spLocks noGrp="1"/>
          </p:cNvSpPr>
          <p:nvPr>
            <p:ph type="pic" sz="quarter" idx="10"/>
          </p:nvPr>
        </p:nvSpPr>
        <p:spPr>
          <a:xfrm>
            <a:off x="5321871" y="254000"/>
            <a:ext cx="3320479" cy="3946526"/>
          </a:xfrm>
          <a:custGeom>
            <a:avLst/>
            <a:gdLst>
              <a:gd name="connsiteX0" fmla="*/ 0 w 3115338"/>
              <a:gd name="connsiteY0" fmla="*/ 1620501 h 3241002"/>
              <a:gd name="connsiteX1" fmla="*/ 778835 w 3115338"/>
              <a:gd name="connsiteY1" fmla="*/ 1 h 3241002"/>
              <a:gd name="connsiteX2" fmla="*/ 2336504 w 3115338"/>
              <a:gd name="connsiteY2" fmla="*/ 1 h 3241002"/>
              <a:gd name="connsiteX3" fmla="*/ 3115338 w 3115338"/>
              <a:gd name="connsiteY3" fmla="*/ 1620501 h 3241002"/>
              <a:gd name="connsiteX4" fmla="*/ 2336504 w 3115338"/>
              <a:gd name="connsiteY4" fmla="*/ 3241001 h 3241002"/>
              <a:gd name="connsiteX5" fmla="*/ 778835 w 3115338"/>
              <a:gd name="connsiteY5" fmla="*/ 3241001 h 3241002"/>
              <a:gd name="connsiteX6" fmla="*/ 0 w 3115338"/>
              <a:gd name="connsiteY6" fmla="*/ 1620501 h 3241002"/>
              <a:gd name="connsiteX0" fmla="*/ 0 w 3093822"/>
              <a:gd name="connsiteY0" fmla="*/ 706100 h 3241000"/>
              <a:gd name="connsiteX1" fmla="*/ 757319 w 3093822"/>
              <a:gd name="connsiteY1" fmla="*/ 0 h 3241000"/>
              <a:gd name="connsiteX2" fmla="*/ 2314988 w 3093822"/>
              <a:gd name="connsiteY2" fmla="*/ 0 h 3241000"/>
              <a:gd name="connsiteX3" fmla="*/ 3093822 w 3093822"/>
              <a:gd name="connsiteY3" fmla="*/ 1620500 h 3241000"/>
              <a:gd name="connsiteX4" fmla="*/ 2314988 w 3093822"/>
              <a:gd name="connsiteY4" fmla="*/ 3241000 h 3241000"/>
              <a:gd name="connsiteX5" fmla="*/ 757319 w 3093822"/>
              <a:gd name="connsiteY5" fmla="*/ 3241000 h 3241000"/>
              <a:gd name="connsiteX6" fmla="*/ 0 w 3093822"/>
              <a:gd name="connsiteY6" fmla="*/ 706100 h 3241000"/>
              <a:gd name="connsiteX0" fmla="*/ 0 w 3093822"/>
              <a:gd name="connsiteY0" fmla="*/ 1157921 h 3692821"/>
              <a:gd name="connsiteX1" fmla="*/ 1542627 w 3093822"/>
              <a:gd name="connsiteY1" fmla="*/ 0 h 3692821"/>
              <a:gd name="connsiteX2" fmla="*/ 2314988 w 3093822"/>
              <a:gd name="connsiteY2" fmla="*/ 451821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093822"/>
              <a:gd name="connsiteY0" fmla="*/ 1157921 h 3692821"/>
              <a:gd name="connsiteX1" fmla="*/ 1542627 w 3093822"/>
              <a:gd name="connsiteY1" fmla="*/ 0 h 3692821"/>
              <a:gd name="connsiteX2" fmla="*/ 3089538 w 3093822"/>
              <a:gd name="connsiteY2" fmla="*/ 1151068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104579"/>
              <a:gd name="connsiteY0" fmla="*/ 1157921 h 3692821"/>
              <a:gd name="connsiteX1" fmla="*/ 1542627 w 3104579"/>
              <a:gd name="connsiteY1" fmla="*/ 0 h 3692821"/>
              <a:gd name="connsiteX2" fmla="*/ 3089538 w 3104579"/>
              <a:gd name="connsiteY2" fmla="*/ 1151068 h 3692821"/>
              <a:gd name="connsiteX3" fmla="*/ 3104579 w 3104579"/>
              <a:gd name="connsiteY3" fmla="*/ 2814598 h 3692821"/>
              <a:gd name="connsiteX4" fmla="*/ 2314988 w 3104579"/>
              <a:gd name="connsiteY4" fmla="*/ 3692821 h 3692821"/>
              <a:gd name="connsiteX5" fmla="*/ 757319 w 3104579"/>
              <a:gd name="connsiteY5" fmla="*/ 3692821 h 3692821"/>
              <a:gd name="connsiteX6" fmla="*/ 0 w 3104579"/>
              <a:gd name="connsiteY6" fmla="*/ 1157921 h 3692821"/>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757319 w 3104579"/>
              <a:gd name="connsiteY5" fmla="*/ 3692821 h 3994035"/>
              <a:gd name="connsiteX6" fmla="*/ 0 w 3104579"/>
              <a:gd name="connsiteY6" fmla="*/ 1157921 h 3994035"/>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57921 h 3994035"/>
              <a:gd name="connsiteX0" fmla="*/ 0 w 3104579"/>
              <a:gd name="connsiteY0" fmla="*/ 1168679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 name="connsiteX0" fmla="*/ 0 w 3104579"/>
              <a:gd name="connsiteY0" fmla="*/ 1168679 h 3994035"/>
              <a:gd name="connsiteX1" fmla="*/ 1542627 w 3104579"/>
              <a:gd name="connsiteY1" fmla="*/ 0 h 3994035"/>
              <a:gd name="connsiteX2" fmla="*/ 3100295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04579" h="3994035">
                <a:moveTo>
                  <a:pt x="0" y="1168679"/>
                </a:moveTo>
                <a:lnTo>
                  <a:pt x="1542627" y="0"/>
                </a:lnTo>
                <a:lnTo>
                  <a:pt x="3100295" y="1151068"/>
                </a:lnTo>
                <a:lnTo>
                  <a:pt x="3104579" y="2814598"/>
                </a:lnTo>
                <a:lnTo>
                  <a:pt x="1540438" y="3994035"/>
                </a:lnTo>
                <a:lnTo>
                  <a:pt x="4284" y="2853725"/>
                </a:lnTo>
                <a:lnTo>
                  <a:pt x="0" y="1168679"/>
                </a:lnTo>
                <a:close/>
              </a:path>
            </a:pathLst>
          </a:custGeom>
          <a:solidFill>
            <a:schemeClr val="bg1"/>
          </a:solidFill>
        </p:spPr>
        <p:txBody>
          <a:bodyPr/>
          <a:lstStyle/>
          <a:p>
            <a:endParaRPr lang="sv-SE"/>
          </a:p>
        </p:txBody>
      </p:sp>
      <p:sp>
        <p:nvSpPr>
          <p:cNvPr id="16" name="Platshållare för text 12">
            <a:extLst>
              <a:ext uri="{FF2B5EF4-FFF2-40B4-BE49-F238E27FC236}">
                <a16:creationId xmlns:a16="http://schemas.microsoft.com/office/drawing/2014/main" id="{4C16B975-8481-49EF-85B2-019EF1DB9189}"/>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17" name="Platshållare för sidfot 5">
            <a:extLst>
              <a:ext uri="{FF2B5EF4-FFF2-40B4-BE49-F238E27FC236}">
                <a16:creationId xmlns:a16="http://schemas.microsoft.com/office/drawing/2014/main" id="{2D0B0CAB-9EFB-495C-BF3F-C2A542EAECCE}"/>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31221815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Text - Obj">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p:txBody>
          <a:bodyPr/>
          <a:lstStyle/>
          <a:p>
            <a:r>
              <a:rPr lang="sv-SE"/>
              <a:t>Klicka här för att ändra mall för rubrikformat</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12" name="Platshållare för text 6">
            <a:extLst>
              <a:ext uri="{FF2B5EF4-FFF2-40B4-BE49-F238E27FC236}">
                <a16:creationId xmlns:a16="http://schemas.microsoft.com/office/drawing/2014/main" id="{4A8D53C4-8A67-4681-8824-CEBD558DD74C}"/>
              </a:ext>
            </a:extLst>
          </p:cNvPr>
          <p:cNvSpPr>
            <a:spLocks noGrp="1"/>
          </p:cNvSpPr>
          <p:nvPr>
            <p:ph type="body" sz="quarter" idx="21"/>
          </p:nvPr>
        </p:nvSpPr>
        <p:spPr>
          <a:xfrm>
            <a:off x="469899" y="1068388"/>
            <a:ext cx="3843918" cy="312261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innehåll 4">
            <a:extLst>
              <a:ext uri="{FF2B5EF4-FFF2-40B4-BE49-F238E27FC236}">
                <a16:creationId xmlns:a16="http://schemas.microsoft.com/office/drawing/2014/main" id="{B6E2CE16-DC15-43CB-AD80-085D5F8F24DA}"/>
              </a:ext>
            </a:extLst>
          </p:cNvPr>
          <p:cNvSpPr>
            <a:spLocks noGrp="1"/>
          </p:cNvSpPr>
          <p:nvPr>
            <p:ph sz="quarter" idx="19"/>
          </p:nvPr>
        </p:nvSpPr>
        <p:spPr>
          <a:xfrm>
            <a:off x="4635500" y="1068388"/>
            <a:ext cx="4038599" cy="2998003"/>
          </a:xfrm>
          <a:solidFill>
            <a:schemeClr val="bg1"/>
          </a:solidFill>
        </p:spPr>
        <p:txBody>
          <a:bodyPr lIns="72000" tIns="72000" rIns="72000" bIns="7200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5" name="Platshållare för text 12">
            <a:extLst>
              <a:ext uri="{FF2B5EF4-FFF2-40B4-BE49-F238E27FC236}">
                <a16:creationId xmlns:a16="http://schemas.microsoft.com/office/drawing/2014/main" id="{722B9103-6880-4AD6-AADD-F5C6E2B6206B}"/>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16" name="Platshållare för sidfot 5">
            <a:extLst>
              <a:ext uri="{FF2B5EF4-FFF2-40B4-BE49-F238E27FC236}">
                <a16:creationId xmlns:a16="http://schemas.microsoft.com/office/drawing/2014/main" id="{88C7F0BB-5FD6-44AE-B605-2277AF2951EE}"/>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41699342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_Text - Obj">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p:txBody>
          <a:bodyPr/>
          <a:lstStyle/>
          <a:p>
            <a:r>
              <a:rPr lang="sv-SE"/>
              <a:t>Klicka här för att ändra mall för rubrikformat</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12" name="Platshållare för text 6">
            <a:extLst>
              <a:ext uri="{FF2B5EF4-FFF2-40B4-BE49-F238E27FC236}">
                <a16:creationId xmlns:a16="http://schemas.microsoft.com/office/drawing/2014/main" id="{4A8D53C4-8A67-4681-8824-CEBD558DD74C}"/>
              </a:ext>
            </a:extLst>
          </p:cNvPr>
          <p:cNvSpPr>
            <a:spLocks noGrp="1"/>
          </p:cNvSpPr>
          <p:nvPr>
            <p:ph type="body" sz="quarter" idx="21"/>
          </p:nvPr>
        </p:nvSpPr>
        <p:spPr>
          <a:xfrm>
            <a:off x="469899" y="1068388"/>
            <a:ext cx="3843918" cy="312261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innehåll 4">
            <a:extLst>
              <a:ext uri="{FF2B5EF4-FFF2-40B4-BE49-F238E27FC236}">
                <a16:creationId xmlns:a16="http://schemas.microsoft.com/office/drawing/2014/main" id="{B6E2CE16-DC15-43CB-AD80-085D5F8F24DA}"/>
              </a:ext>
            </a:extLst>
          </p:cNvPr>
          <p:cNvSpPr>
            <a:spLocks noGrp="1"/>
          </p:cNvSpPr>
          <p:nvPr>
            <p:ph sz="quarter" idx="19"/>
          </p:nvPr>
        </p:nvSpPr>
        <p:spPr>
          <a:xfrm>
            <a:off x="4635500" y="1068388"/>
            <a:ext cx="4038599" cy="2998003"/>
          </a:xfrm>
          <a:solidFill>
            <a:schemeClr val="bg1"/>
          </a:solidFill>
        </p:spPr>
        <p:txBody>
          <a:bodyPr lIns="72000" tIns="72000" rIns="72000" bIns="7200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5" name="Platshållare för text 12">
            <a:extLst>
              <a:ext uri="{FF2B5EF4-FFF2-40B4-BE49-F238E27FC236}">
                <a16:creationId xmlns:a16="http://schemas.microsoft.com/office/drawing/2014/main" id="{722B9103-6880-4AD6-AADD-F5C6E2B6206B}"/>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16" name="Platshållare för sidfot 5">
            <a:extLst>
              <a:ext uri="{FF2B5EF4-FFF2-40B4-BE49-F238E27FC236}">
                <a16:creationId xmlns:a16="http://schemas.microsoft.com/office/drawing/2014/main" id="{88C7F0BB-5FD6-44AE-B605-2277AF2951EE}"/>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25303924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Text - Obj 2">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p:txBody>
          <a:bodyPr/>
          <a:lstStyle/>
          <a:p>
            <a:r>
              <a:rPr lang="sv-SE"/>
              <a:t>Klicka här för att ändra mall för rubrikformat</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5" name="Platshållare för innehåll 4">
            <a:extLst>
              <a:ext uri="{FF2B5EF4-FFF2-40B4-BE49-F238E27FC236}">
                <a16:creationId xmlns:a16="http://schemas.microsoft.com/office/drawing/2014/main" id="{B6E2CE16-DC15-43CB-AD80-085D5F8F24DA}"/>
              </a:ext>
            </a:extLst>
          </p:cNvPr>
          <p:cNvSpPr>
            <a:spLocks noGrp="1"/>
          </p:cNvSpPr>
          <p:nvPr>
            <p:ph sz="quarter" idx="19"/>
          </p:nvPr>
        </p:nvSpPr>
        <p:spPr>
          <a:xfrm>
            <a:off x="3940174" y="1068388"/>
            <a:ext cx="4733925" cy="3122612"/>
          </a:xfrm>
          <a:solidFill>
            <a:schemeClr val="bg1"/>
          </a:solidFill>
        </p:spPr>
        <p:txBody>
          <a:bodyPr lIns="72000" tIns="72000" rIns="72000" bIns="7200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2" name="Platshållare för text 6">
            <a:extLst>
              <a:ext uri="{FF2B5EF4-FFF2-40B4-BE49-F238E27FC236}">
                <a16:creationId xmlns:a16="http://schemas.microsoft.com/office/drawing/2014/main" id="{4A8D53C4-8A67-4681-8824-CEBD558DD74C}"/>
              </a:ext>
            </a:extLst>
          </p:cNvPr>
          <p:cNvSpPr>
            <a:spLocks noGrp="1"/>
          </p:cNvSpPr>
          <p:nvPr>
            <p:ph type="body" sz="quarter" idx="21"/>
          </p:nvPr>
        </p:nvSpPr>
        <p:spPr>
          <a:xfrm>
            <a:off x="469899" y="1068388"/>
            <a:ext cx="3343276" cy="3122612"/>
          </a:xfrm>
        </p:spPr>
        <p:txBody>
          <a:bodyPr lIns="72000" tIns="72000" rIns="72000" bIns="7200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5" name="Platshållare för text 12">
            <a:extLst>
              <a:ext uri="{FF2B5EF4-FFF2-40B4-BE49-F238E27FC236}">
                <a16:creationId xmlns:a16="http://schemas.microsoft.com/office/drawing/2014/main" id="{B6912E89-65D4-4A76-9DBE-58FABDAB9570}"/>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16" name="Platshållare för sidfot 5">
            <a:extLst>
              <a:ext uri="{FF2B5EF4-FFF2-40B4-BE49-F238E27FC236}">
                <a16:creationId xmlns:a16="http://schemas.microsoft.com/office/drawing/2014/main" id="{E8E0C49F-724B-4E59-9992-5BC15D687403}"/>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19883165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_Text - Obj 2">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p:txBody>
          <a:bodyPr/>
          <a:lstStyle/>
          <a:p>
            <a:r>
              <a:rPr lang="sv-SE"/>
              <a:t>Klicka här för att ändra mall för rubrikformat</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5" name="Platshållare för innehåll 4">
            <a:extLst>
              <a:ext uri="{FF2B5EF4-FFF2-40B4-BE49-F238E27FC236}">
                <a16:creationId xmlns:a16="http://schemas.microsoft.com/office/drawing/2014/main" id="{B6E2CE16-DC15-43CB-AD80-085D5F8F24DA}"/>
              </a:ext>
            </a:extLst>
          </p:cNvPr>
          <p:cNvSpPr>
            <a:spLocks noGrp="1"/>
          </p:cNvSpPr>
          <p:nvPr>
            <p:ph sz="quarter" idx="19"/>
          </p:nvPr>
        </p:nvSpPr>
        <p:spPr>
          <a:xfrm>
            <a:off x="3940174" y="1068388"/>
            <a:ext cx="4733925" cy="3122612"/>
          </a:xfrm>
          <a:solidFill>
            <a:schemeClr val="bg1"/>
          </a:solidFill>
        </p:spPr>
        <p:txBody>
          <a:bodyPr lIns="72000" tIns="72000" rIns="72000" bIns="7200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2" name="Platshållare för text 6">
            <a:extLst>
              <a:ext uri="{FF2B5EF4-FFF2-40B4-BE49-F238E27FC236}">
                <a16:creationId xmlns:a16="http://schemas.microsoft.com/office/drawing/2014/main" id="{4A8D53C4-8A67-4681-8824-CEBD558DD74C}"/>
              </a:ext>
            </a:extLst>
          </p:cNvPr>
          <p:cNvSpPr>
            <a:spLocks noGrp="1"/>
          </p:cNvSpPr>
          <p:nvPr>
            <p:ph type="body" sz="quarter" idx="21"/>
          </p:nvPr>
        </p:nvSpPr>
        <p:spPr>
          <a:xfrm>
            <a:off x="469899" y="1068388"/>
            <a:ext cx="3343276" cy="3122612"/>
          </a:xfrm>
        </p:spPr>
        <p:txBody>
          <a:bodyPr lIns="72000" tIns="72000" rIns="72000" bIns="7200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5" name="Platshållare för text 12">
            <a:extLst>
              <a:ext uri="{FF2B5EF4-FFF2-40B4-BE49-F238E27FC236}">
                <a16:creationId xmlns:a16="http://schemas.microsoft.com/office/drawing/2014/main" id="{B6912E89-65D4-4A76-9DBE-58FABDAB9570}"/>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16" name="Platshållare för sidfot 5">
            <a:extLst>
              <a:ext uri="{FF2B5EF4-FFF2-40B4-BE49-F238E27FC236}">
                <a16:creationId xmlns:a16="http://schemas.microsoft.com/office/drawing/2014/main" id="{E8E0C49F-724B-4E59-9992-5BC15D687403}"/>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330695275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3 Diagram/Image">
    <p:spTree>
      <p:nvGrpSpPr>
        <p:cNvPr id="1" name=""/>
        <p:cNvGrpSpPr/>
        <p:nvPr/>
      </p:nvGrpSpPr>
      <p:grpSpPr>
        <a:xfrm>
          <a:off x="0" y="0"/>
          <a:ext cx="0" cy="0"/>
          <a:chOff x="0" y="0"/>
          <a:chExt cx="0" cy="0"/>
        </a:xfrm>
      </p:grpSpPr>
      <p:sp>
        <p:nvSpPr>
          <p:cNvPr id="8" name="Platshållare för bild 7"/>
          <p:cNvSpPr>
            <a:spLocks noGrp="1"/>
          </p:cNvSpPr>
          <p:nvPr>
            <p:ph type="pic" sz="quarter" idx="15" hasCustomPrompt="1"/>
          </p:nvPr>
        </p:nvSpPr>
        <p:spPr>
          <a:xfrm>
            <a:off x="1292204" y="1347699"/>
            <a:ext cx="6559591" cy="2894111"/>
          </a:xfrm>
          <a:prstGeom prst="rect">
            <a:avLst/>
          </a:prstGeom>
        </p:spPr>
        <p:txBody>
          <a:bodyPr/>
          <a:lstStyle>
            <a:lvl1pPr marL="0" indent="0">
              <a:buNone/>
              <a:defRPr/>
            </a:lvl1pPr>
          </a:lstStyle>
          <a:p>
            <a:r>
              <a:rPr lang="sv-SE"/>
              <a:t> </a:t>
            </a:r>
          </a:p>
        </p:txBody>
      </p:sp>
      <p:sp>
        <p:nvSpPr>
          <p:cNvPr id="34" name="Rubrik 33"/>
          <p:cNvSpPr>
            <a:spLocks noGrp="1"/>
          </p:cNvSpPr>
          <p:nvPr>
            <p:ph type="title" hasCustomPrompt="1"/>
          </p:nvPr>
        </p:nvSpPr>
        <p:spPr>
          <a:xfrm>
            <a:off x="380999" y="231140"/>
            <a:ext cx="8370889" cy="793918"/>
          </a:xfrm>
          <a:prstGeom prst="rect">
            <a:avLst/>
          </a:prstGeom>
        </p:spPr>
        <p:txBody>
          <a:bodyPr lIns="0" tIns="0" rIns="0" bIns="0" anchor="t" anchorCtr="0">
            <a:normAutofit/>
          </a:bodyPr>
          <a:lstStyle>
            <a:lvl1pPr algn="l">
              <a:defRPr sz="3600">
                <a:solidFill>
                  <a:schemeClr val="tx1"/>
                </a:solidFill>
                <a:latin typeface="Calibri"/>
                <a:cs typeface="Calibri"/>
              </a:defRPr>
            </a:lvl1pPr>
          </a:lstStyle>
          <a:p>
            <a:r>
              <a:rPr lang="en-GB"/>
              <a:t>Heading</a:t>
            </a:r>
            <a:endParaRPr lang="sv-SE"/>
          </a:p>
        </p:txBody>
      </p:sp>
      <p:pic>
        <p:nvPicPr>
          <p:cNvPr id="19" name="Bildobjekt 1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0201" y="4590290"/>
            <a:ext cx="850195" cy="307734"/>
          </a:xfrm>
          <a:prstGeom prst="rect">
            <a:avLst/>
          </a:prstGeom>
        </p:spPr>
      </p:pic>
      <p:sp>
        <p:nvSpPr>
          <p:cNvPr id="9" name="Platshållare för sidfot 4">
            <a:extLst>
              <a:ext uri="{FF2B5EF4-FFF2-40B4-BE49-F238E27FC236}">
                <a16:creationId xmlns:a16="http://schemas.microsoft.com/office/drawing/2014/main" id="{5FA87018-B57D-4DC8-B9FF-FC2B032EF63C}"/>
              </a:ext>
            </a:extLst>
          </p:cNvPr>
          <p:cNvSpPr>
            <a:spLocks noGrp="1"/>
          </p:cNvSpPr>
          <p:nvPr>
            <p:ph type="ftr" sz="quarter" idx="11"/>
          </p:nvPr>
        </p:nvSpPr>
        <p:spPr>
          <a:xfrm>
            <a:off x="5824413" y="4483997"/>
            <a:ext cx="2509889" cy="382813"/>
          </a:xfrm>
          <a:prstGeom prst="rect">
            <a:avLst/>
          </a:prstGeom>
        </p:spPr>
        <p:txBody>
          <a:bodyPr lIns="0" tIns="0" rIns="0" bIns="0" anchor="b" anchorCtr="0"/>
          <a:lstStyle>
            <a:lvl1pPr algn="r">
              <a:defRPr sz="900" b="0">
                <a:solidFill>
                  <a:schemeClr val="tx1"/>
                </a:solidFill>
              </a:defRPr>
            </a:lvl1pPr>
          </a:lstStyle>
          <a:p>
            <a:r>
              <a:rPr lang="en-US"/>
              <a:t>Stakeholder Forum Agenda - Classification: External</a:t>
            </a:r>
            <a:endParaRPr lang="sv-SE"/>
          </a:p>
        </p:txBody>
      </p:sp>
      <p:sp>
        <p:nvSpPr>
          <p:cNvPr id="14" name="Platshållare för datum 3">
            <a:extLst>
              <a:ext uri="{FF2B5EF4-FFF2-40B4-BE49-F238E27FC236}">
                <a16:creationId xmlns:a16="http://schemas.microsoft.com/office/drawing/2014/main" id="{F58FA855-0670-44F4-A463-E8B2765FA282}"/>
              </a:ext>
            </a:extLst>
          </p:cNvPr>
          <p:cNvSpPr>
            <a:spLocks noGrp="1"/>
          </p:cNvSpPr>
          <p:nvPr>
            <p:ph type="dt" sz="half" idx="10"/>
          </p:nvPr>
        </p:nvSpPr>
        <p:spPr>
          <a:xfrm>
            <a:off x="4734099" y="4495861"/>
            <a:ext cx="1018558" cy="370949"/>
          </a:xfrm>
          <a:prstGeom prst="rect">
            <a:avLst/>
          </a:prstGeom>
        </p:spPr>
        <p:txBody>
          <a:bodyPr lIns="0" tIns="0" rIns="0" bIns="0" anchor="b" anchorCtr="0"/>
          <a:lstStyle>
            <a:lvl1pPr algn="l">
              <a:defRPr sz="900" b="0" i="0" cap="all">
                <a:solidFill>
                  <a:schemeClr val="tx1"/>
                </a:solidFill>
              </a:defRPr>
            </a:lvl1pPr>
          </a:lstStyle>
          <a:p>
            <a:r>
              <a:rPr lang="sv-SE"/>
              <a:t>26/03/2026</a:t>
            </a:r>
          </a:p>
        </p:txBody>
      </p:sp>
      <p:sp>
        <p:nvSpPr>
          <p:cNvPr id="15" name="Platshållare för bildnummer 5">
            <a:extLst>
              <a:ext uri="{FF2B5EF4-FFF2-40B4-BE49-F238E27FC236}">
                <a16:creationId xmlns:a16="http://schemas.microsoft.com/office/drawing/2014/main" id="{CADD5FB8-277F-4700-A72E-6AE7EDB5474A}"/>
              </a:ext>
            </a:extLst>
          </p:cNvPr>
          <p:cNvSpPr>
            <a:spLocks noGrp="1"/>
          </p:cNvSpPr>
          <p:nvPr>
            <p:ph type="sldNum" sz="quarter" idx="12"/>
          </p:nvPr>
        </p:nvSpPr>
        <p:spPr>
          <a:xfrm>
            <a:off x="8383230" y="4469824"/>
            <a:ext cx="368658" cy="396987"/>
          </a:xfrm>
          <a:prstGeom prst="rect">
            <a:avLst/>
          </a:prstGeom>
          <a:noFill/>
        </p:spPr>
        <p:txBody>
          <a:bodyPr lIns="25400" tIns="0" rIns="0" bIns="0" anchor="b" anchorCtr="0"/>
          <a:lstStyle>
            <a:lvl1pPr algn="r">
              <a:defRPr sz="900">
                <a:solidFill>
                  <a:schemeClr val="tx1"/>
                </a:solidFill>
              </a:defRPr>
            </a:lvl1pPr>
          </a:lstStyle>
          <a:p>
            <a:fld id="{394EE31B-4DFC-CF4D-9A18-3F5D4D7C7302}" type="slidenum">
              <a:rPr lang="sv-SE" smtClean="0"/>
              <a:pPr/>
              <a:t>‹#›</a:t>
            </a:fld>
            <a:endParaRPr lang="sv-SE"/>
          </a:p>
        </p:txBody>
      </p:sp>
    </p:spTree>
    <p:extLst>
      <p:ext uri="{BB962C8B-B14F-4D97-AF65-F5344CB8AC3E}">
        <p14:creationId xmlns:p14="http://schemas.microsoft.com/office/powerpoint/2010/main" val="4121220705"/>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ext - Obj 3">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p:txBody>
          <a:bodyPr/>
          <a:lstStyle/>
          <a:p>
            <a:r>
              <a:rPr lang="sv-SE"/>
              <a:t>Klicka här för att ändra mall för rubrikformat</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5" name="Platshållare för innehåll 4">
            <a:extLst>
              <a:ext uri="{FF2B5EF4-FFF2-40B4-BE49-F238E27FC236}">
                <a16:creationId xmlns:a16="http://schemas.microsoft.com/office/drawing/2014/main" id="{B6E2CE16-DC15-43CB-AD80-085D5F8F24DA}"/>
              </a:ext>
            </a:extLst>
          </p:cNvPr>
          <p:cNvSpPr>
            <a:spLocks noGrp="1"/>
          </p:cNvSpPr>
          <p:nvPr>
            <p:ph sz="quarter" idx="19"/>
          </p:nvPr>
        </p:nvSpPr>
        <p:spPr>
          <a:xfrm>
            <a:off x="3246438" y="1068388"/>
            <a:ext cx="5427662" cy="312261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5" name="Platshållare för text 6">
            <a:extLst>
              <a:ext uri="{FF2B5EF4-FFF2-40B4-BE49-F238E27FC236}">
                <a16:creationId xmlns:a16="http://schemas.microsoft.com/office/drawing/2014/main" id="{73C6CAF7-2D9F-4774-8FE3-974539BD9E03}"/>
              </a:ext>
            </a:extLst>
          </p:cNvPr>
          <p:cNvSpPr>
            <a:spLocks noGrp="1"/>
          </p:cNvSpPr>
          <p:nvPr>
            <p:ph type="body" sz="quarter" idx="21"/>
          </p:nvPr>
        </p:nvSpPr>
        <p:spPr>
          <a:xfrm>
            <a:off x="469899" y="1068388"/>
            <a:ext cx="2649539" cy="312261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7" name="Platshållare för text 12">
            <a:extLst>
              <a:ext uri="{FF2B5EF4-FFF2-40B4-BE49-F238E27FC236}">
                <a16:creationId xmlns:a16="http://schemas.microsoft.com/office/drawing/2014/main" id="{E7027509-D80B-4E14-8DE1-8DC45900E0D8}"/>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18" name="Platshållare för sidfot 5">
            <a:extLst>
              <a:ext uri="{FF2B5EF4-FFF2-40B4-BE49-F238E27FC236}">
                <a16:creationId xmlns:a16="http://schemas.microsoft.com/office/drawing/2014/main" id="{9D263817-CB99-4506-8714-C702B936481C}"/>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36562687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Diagram 1">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p:txBody>
          <a:bodyPr/>
          <a:lstStyle/>
          <a:p>
            <a:r>
              <a:rPr lang="sv-SE"/>
              <a:t>Klicka här för att ändra mall för rubrikformat</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3" name="Rektangel 2">
            <a:extLst>
              <a:ext uri="{FF2B5EF4-FFF2-40B4-BE49-F238E27FC236}">
                <a16:creationId xmlns:a16="http://schemas.microsoft.com/office/drawing/2014/main" id="{683A0C5C-FBDD-4289-A44F-424053102D4E}"/>
              </a:ext>
            </a:extLst>
          </p:cNvPr>
          <p:cNvSpPr/>
          <p:nvPr userDrawn="1"/>
        </p:nvSpPr>
        <p:spPr>
          <a:xfrm>
            <a:off x="469900" y="1068389"/>
            <a:ext cx="8204200" cy="29011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Platshållare för diagram 6">
            <a:extLst>
              <a:ext uri="{FF2B5EF4-FFF2-40B4-BE49-F238E27FC236}">
                <a16:creationId xmlns:a16="http://schemas.microsoft.com/office/drawing/2014/main" id="{14E8041F-7658-4EBB-A861-5ED949156C8C}"/>
              </a:ext>
            </a:extLst>
          </p:cNvPr>
          <p:cNvSpPr>
            <a:spLocks noGrp="1"/>
          </p:cNvSpPr>
          <p:nvPr>
            <p:ph type="chart" sz="quarter" idx="21"/>
          </p:nvPr>
        </p:nvSpPr>
        <p:spPr>
          <a:xfrm>
            <a:off x="656216" y="1229519"/>
            <a:ext cx="7810053" cy="2621720"/>
          </a:xfrm>
        </p:spPr>
        <p:txBody>
          <a:bodyPr/>
          <a:lstStyle/>
          <a:p>
            <a:endParaRPr lang="sv-SE"/>
          </a:p>
        </p:txBody>
      </p:sp>
      <p:sp>
        <p:nvSpPr>
          <p:cNvPr id="15" name="Platshållare för text 12">
            <a:extLst>
              <a:ext uri="{FF2B5EF4-FFF2-40B4-BE49-F238E27FC236}">
                <a16:creationId xmlns:a16="http://schemas.microsoft.com/office/drawing/2014/main" id="{B9D17925-2275-42DB-85F5-E12C8BFE6F41}"/>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16" name="Platshållare för sidfot 5">
            <a:extLst>
              <a:ext uri="{FF2B5EF4-FFF2-40B4-BE49-F238E27FC236}">
                <a16:creationId xmlns:a16="http://schemas.microsoft.com/office/drawing/2014/main" id="{3333AD41-D074-45C5-A796-5E5C80AEE0D9}"/>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9361861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2_Diagram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p:txBody>
          <a:bodyPr/>
          <a:lstStyle/>
          <a:p>
            <a:r>
              <a:rPr lang="sv-SE"/>
              <a:t>Klicka här för att ändra mall för rubrikformat</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3" name="Rektangel 2">
            <a:extLst>
              <a:ext uri="{FF2B5EF4-FFF2-40B4-BE49-F238E27FC236}">
                <a16:creationId xmlns:a16="http://schemas.microsoft.com/office/drawing/2014/main" id="{683A0C5C-FBDD-4289-A44F-424053102D4E}"/>
              </a:ext>
            </a:extLst>
          </p:cNvPr>
          <p:cNvSpPr/>
          <p:nvPr userDrawn="1"/>
        </p:nvSpPr>
        <p:spPr>
          <a:xfrm>
            <a:off x="469900" y="1068389"/>
            <a:ext cx="8204200" cy="29011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Platshållare för diagram 6">
            <a:extLst>
              <a:ext uri="{FF2B5EF4-FFF2-40B4-BE49-F238E27FC236}">
                <a16:creationId xmlns:a16="http://schemas.microsoft.com/office/drawing/2014/main" id="{14E8041F-7658-4EBB-A861-5ED949156C8C}"/>
              </a:ext>
            </a:extLst>
          </p:cNvPr>
          <p:cNvSpPr>
            <a:spLocks noGrp="1"/>
          </p:cNvSpPr>
          <p:nvPr>
            <p:ph type="chart" sz="quarter" idx="21"/>
          </p:nvPr>
        </p:nvSpPr>
        <p:spPr>
          <a:xfrm>
            <a:off x="656216" y="1229519"/>
            <a:ext cx="7810053" cy="2621720"/>
          </a:xfrm>
        </p:spPr>
        <p:txBody>
          <a:bodyPr/>
          <a:lstStyle/>
          <a:p>
            <a:endParaRPr lang="sv-SE"/>
          </a:p>
        </p:txBody>
      </p:sp>
      <p:sp>
        <p:nvSpPr>
          <p:cNvPr id="15" name="Platshållare för text 12">
            <a:extLst>
              <a:ext uri="{FF2B5EF4-FFF2-40B4-BE49-F238E27FC236}">
                <a16:creationId xmlns:a16="http://schemas.microsoft.com/office/drawing/2014/main" id="{B9D17925-2275-42DB-85F5-E12C8BFE6F41}"/>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16" name="Platshållare för sidfot 5">
            <a:extLst>
              <a:ext uri="{FF2B5EF4-FFF2-40B4-BE49-F238E27FC236}">
                <a16:creationId xmlns:a16="http://schemas.microsoft.com/office/drawing/2014/main" id="{3333AD41-D074-45C5-A796-5E5C80AEE0D9}"/>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1019018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Rubrik">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p:txBody>
          <a:bodyPr/>
          <a:lstStyle/>
          <a:p>
            <a:r>
              <a:rPr lang="sv-SE"/>
              <a:t>Klicka här för att ändra mall för rubrikformat</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16" name="Platshållare för text 12">
            <a:extLst>
              <a:ext uri="{FF2B5EF4-FFF2-40B4-BE49-F238E27FC236}">
                <a16:creationId xmlns:a16="http://schemas.microsoft.com/office/drawing/2014/main" id="{4ECCBD35-0464-43E8-8B33-E54DDBB55051}"/>
              </a:ext>
            </a:extLst>
          </p:cNvPr>
          <p:cNvSpPr>
            <a:spLocks noGrp="1"/>
          </p:cNvSpPr>
          <p:nvPr>
            <p:ph type="body" sz="quarter" idx="18"/>
          </p:nvPr>
        </p:nvSpPr>
        <p:spPr>
          <a:xfrm>
            <a:off x="2552701" y="4334668"/>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17" name="Platshållare för sidfot 5">
            <a:extLst>
              <a:ext uri="{FF2B5EF4-FFF2-40B4-BE49-F238E27FC236}">
                <a16:creationId xmlns:a16="http://schemas.microsoft.com/office/drawing/2014/main" id="{4AF07BF4-797E-4790-8727-806E7072FC83}"/>
              </a:ext>
            </a:extLst>
          </p:cNvPr>
          <p:cNvSpPr txBox="1">
            <a:spLocks/>
          </p:cNvSpPr>
          <p:nvPr userDrawn="1"/>
        </p:nvSpPr>
        <p:spPr>
          <a:xfrm>
            <a:off x="2552700" y="4622799"/>
            <a:ext cx="5426075" cy="273844"/>
          </a:xfrm>
          <a:prstGeom prst="rect">
            <a:avLst/>
          </a:prstGeom>
        </p:spPr>
        <p:txBody>
          <a:bodyPr vert="horz" lIns="0" tIns="0" rIns="0" bIns="0" rtlCol="0" anchor="b" anchorCtr="0"/>
          <a:lstStyle>
            <a:defPPr>
              <a:defRPr lang="sv-SE"/>
            </a:defPPr>
            <a:lvl1pPr marL="0" algn="ctr" defTabSz="685800" rtl="0" eaLnBrk="1" latinLnBrk="0" hangingPunct="1">
              <a:defRPr sz="900" b="1"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r>
              <a:rPr lang="sv-SE"/>
              <a:t>Presentation</a:t>
            </a:r>
          </a:p>
        </p:txBody>
      </p:sp>
    </p:spTree>
    <p:extLst>
      <p:ext uri="{BB962C8B-B14F-4D97-AF65-F5344CB8AC3E}">
        <p14:creationId xmlns:p14="http://schemas.microsoft.com/office/powerpoint/2010/main" val="17285327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_Rubrik 1">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p:txBody>
          <a:bodyPr/>
          <a:lstStyle/>
          <a:p>
            <a:r>
              <a:rPr lang="sv-SE"/>
              <a:t>Klicka här för att ändra mall för rubrikformat</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16" name="Platshållare för text 12">
            <a:extLst>
              <a:ext uri="{FF2B5EF4-FFF2-40B4-BE49-F238E27FC236}">
                <a16:creationId xmlns:a16="http://schemas.microsoft.com/office/drawing/2014/main" id="{4ECCBD35-0464-43E8-8B33-E54DDBB55051}"/>
              </a:ext>
            </a:extLst>
          </p:cNvPr>
          <p:cNvSpPr>
            <a:spLocks noGrp="1"/>
          </p:cNvSpPr>
          <p:nvPr>
            <p:ph type="body" sz="quarter" idx="18"/>
          </p:nvPr>
        </p:nvSpPr>
        <p:spPr>
          <a:xfrm>
            <a:off x="2552701" y="4334668"/>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17" name="Platshållare för sidfot 5">
            <a:extLst>
              <a:ext uri="{FF2B5EF4-FFF2-40B4-BE49-F238E27FC236}">
                <a16:creationId xmlns:a16="http://schemas.microsoft.com/office/drawing/2014/main" id="{4AF07BF4-797E-4790-8727-806E7072FC83}"/>
              </a:ext>
            </a:extLst>
          </p:cNvPr>
          <p:cNvSpPr txBox="1">
            <a:spLocks/>
          </p:cNvSpPr>
          <p:nvPr userDrawn="1"/>
        </p:nvSpPr>
        <p:spPr>
          <a:xfrm>
            <a:off x="2552700" y="4622799"/>
            <a:ext cx="5426075" cy="273844"/>
          </a:xfrm>
          <a:prstGeom prst="rect">
            <a:avLst/>
          </a:prstGeom>
        </p:spPr>
        <p:txBody>
          <a:bodyPr vert="horz" lIns="0" tIns="0" rIns="0" bIns="0" rtlCol="0" anchor="b" anchorCtr="0"/>
          <a:lstStyle>
            <a:defPPr>
              <a:defRPr lang="sv-SE"/>
            </a:defPPr>
            <a:lvl1pPr marL="0" algn="ctr" defTabSz="685800" rtl="0" eaLnBrk="1" latinLnBrk="0" hangingPunct="1">
              <a:defRPr sz="900" b="1"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r>
              <a:rPr lang="sv-SE"/>
              <a:t>Presentation</a:t>
            </a:r>
          </a:p>
        </p:txBody>
      </p:sp>
    </p:spTree>
    <p:extLst>
      <p:ext uri="{BB962C8B-B14F-4D97-AF65-F5344CB8AC3E}">
        <p14:creationId xmlns:p14="http://schemas.microsoft.com/office/powerpoint/2010/main" val="37317026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Utan Rubrik">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14" name="Platshållare för text 12">
            <a:extLst>
              <a:ext uri="{FF2B5EF4-FFF2-40B4-BE49-F238E27FC236}">
                <a16:creationId xmlns:a16="http://schemas.microsoft.com/office/drawing/2014/main" id="{7C9CE109-EB29-4182-805B-53BFD8851111}"/>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15" name="Platshållare för sidfot 5">
            <a:extLst>
              <a:ext uri="{FF2B5EF4-FFF2-40B4-BE49-F238E27FC236}">
                <a16:creationId xmlns:a16="http://schemas.microsoft.com/office/drawing/2014/main" id="{04018826-FBEC-4F76-AD4D-29EB919E870F}"/>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6550094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2_Utan Rubrik">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14" name="Platshållare för text 12">
            <a:extLst>
              <a:ext uri="{FF2B5EF4-FFF2-40B4-BE49-F238E27FC236}">
                <a16:creationId xmlns:a16="http://schemas.microsoft.com/office/drawing/2014/main" id="{7C9CE109-EB29-4182-805B-53BFD8851111}"/>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15" name="Platshållare för sidfot 5">
            <a:extLst>
              <a:ext uri="{FF2B5EF4-FFF2-40B4-BE49-F238E27FC236}">
                <a16:creationId xmlns:a16="http://schemas.microsoft.com/office/drawing/2014/main" id="{04018826-FBEC-4F76-AD4D-29EB919E870F}"/>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17719337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Text - Bild - x3">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p:txBody>
          <a:bodyPr/>
          <a:lstStyle/>
          <a:p>
            <a:r>
              <a:rPr lang="sv-SE"/>
              <a:t>Klicka här för att ändra mall för rubrikformat</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7" name="Platshållare för bild 6">
            <a:extLst>
              <a:ext uri="{FF2B5EF4-FFF2-40B4-BE49-F238E27FC236}">
                <a16:creationId xmlns:a16="http://schemas.microsoft.com/office/drawing/2014/main" id="{91471F07-A012-4494-9FBA-A436638F21DB}"/>
              </a:ext>
            </a:extLst>
          </p:cNvPr>
          <p:cNvSpPr>
            <a:spLocks noGrp="1"/>
          </p:cNvSpPr>
          <p:nvPr>
            <p:ph type="pic" sz="quarter" idx="21"/>
          </p:nvPr>
        </p:nvSpPr>
        <p:spPr>
          <a:xfrm>
            <a:off x="469899" y="1882777"/>
            <a:ext cx="2649537" cy="2317747"/>
          </a:xfrm>
          <a:solidFill>
            <a:schemeClr val="bg1"/>
          </a:solidFill>
        </p:spPr>
        <p:txBody>
          <a:bodyPr/>
          <a:lstStyle/>
          <a:p>
            <a:endParaRPr lang="sv-SE"/>
          </a:p>
        </p:txBody>
      </p:sp>
      <p:sp>
        <p:nvSpPr>
          <p:cNvPr id="12" name="Platshållare för bild 6">
            <a:extLst>
              <a:ext uri="{FF2B5EF4-FFF2-40B4-BE49-F238E27FC236}">
                <a16:creationId xmlns:a16="http://schemas.microsoft.com/office/drawing/2014/main" id="{C61F2317-CAC9-44D0-B224-9CEFA6C80E72}"/>
              </a:ext>
            </a:extLst>
          </p:cNvPr>
          <p:cNvSpPr>
            <a:spLocks noGrp="1"/>
          </p:cNvSpPr>
          <p:nvPr>
            <p:ph type="pic" sz="quarter" idx="23"/>
          </p:nvPr>
        </p:nvSpPr>
        <p:spPr>
          <a:xfrm>
            <a:off x="3247232" y="1882778"/>
            <a:ext cx="2649538" cy="2317747"/>
          </a:xfrm>
          <a:solidFill>
            <a:schemeClr val="bg1"/>
          </a:solidFill>
        </p:spPr>
        <p:txBody>
          <a:bodyPr/>
          <a:lstStyle/>
          <a:p>
            <a:endParaRPr lang="sv-SE"/>
          </a:p>
        </p:txBody>
      </p:sp>
      <p:sp>
        <p:nvSpPr>
          <p:cNvPr id="15" name="Platshållare för bild 6">
            <a:extLst>
              <a:ext uri="{FF2B5EF4-FFF2-40B4-BE49-F238E27FC236}">
                <a16:creationId xmlns:a16="http://schemas.microsoft.com/office/drawing/2014/main" id="{5E2A79FE-BE6F-45F0-8992-3D8953EF7B3F}"/>
              </a:ext>
            </a:extLst>
          </p:cNvPr>
          <p:cNvSpPr>
            <a:spLocks noGrp="1"/>
          </p:cNvSpPr>
          <p:nvPr>
            <p:ph type="pic" sz="quarter" idx="25"/>
          </p:nvPr>
        </p:nvSpPr>
        <p:spPr>
          <a:xfrm>
            <a:off x="6024565" y="1882778"/>
            <a:ext cx="2649538" cy="2317747"/>
          </a:xfrm>
          <a:solidFill>
            <a:schemeClr val="bg1"/>
          </a:solidFill>
        </p:spPr>
        <p:txBody>
          <a:bodyPr/>
          <a:lstStyle/>
          <a:p>
            <a:endParaRPr lang="sv-SE"/>
          </a:p>
        </p:txBody>
      </p:sp>
      <p:sp>
        <p:nvSpPr>
          <p:cNvPr id="6" name="Platshållare för text 5">
            <a:extLst>
              <a:ext uri="{FF2B5EF4-FFF2-40B4-BE49-F238E27FC236}">
                <a16:creationId xmlns:a16="http://schemas.microsoft.com/office/drawing/2014/main" id="{66174F02-3D0F-40FC-901E-690F9494E01F}"/>
              </a:ext>
            </a:extLst>
          </p:cNvPr>
          <p:cNvSpPr>
            <a:spLocks noGrp="1"/>
          </p:cNvSpPr>
          <p:nvPr>
            <p:ph type="body" sz="quarter" idx="26"/>
          </p:nvPr>
        </p:nvSpPr>
        <p:spPr>
          <a:xfrm>
            <a:off x="469900" y="1068388"/>
            <a:ext cx="2649538" cy="687387"/>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9" name="Platshållare för text 8">
            <a:extLst>
              <a:ext uri="{FF2B5EF4-FFF2-40B4-BE49-F238E27FC236}">
                <a16:creationId xmlns:a16="http://schemas.microsoft.com/office/drawing/2014/main" id="{EDF58044-3470-4571-8B6B-D89CDCCCD1E4}"/>
              </a:ext>
            </a:extLst>
          </p:cNvPr>
          <p:cNvSpPr>
            <a:spLocks noGrp="1"/>
          </p:cNvSpPr>
          <p:nvPr>
            <p:ph type="body" sz="quarter" idx="27"/>
          </p:nvPr>
        </p:nvSpPr>
        <p:spPr>
          <a:xfrm>
            <a:off x="3248025" y="1068388"/>
            <a:ext cx="2649538" cy="687387"/>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9" name="Platshållare för text 8">
            <a:extLst>
              <a:ext uri="{FF2B5EF4-FFF2-40B4-BE49-F238E27FC236}">
                <a16:creationId xmlns:a16="http://schemas.microsoft.com/office/drawing/2014/main" id="{9BD71A1E-C633-4C34-976D-629993993EAF}"/>
              </a:ext>
            </a:extLst>
          </p:cNvPr>
          <p:cNvSpPr>
            <a:spLocks noGrp="1"/>
          </p:cNvSpPr>
          <p:nvPr>
            <p:ph type="body" sz="quarter" idx="28"/>
          </p:nvPr>
        </p:nvSpPr>
        <p:spPr>
          <a:xfrm>
            <a:off x="6022975" y="1068388"/>
            <a:ext cx="2649538" cy="687387"/>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21" name="Platshållare för text 12">
            <a:extLst>
              <a:ext uri="{FF2B5EF4-FFF2-40B4-BE49-F238E27FC236}">
                <a16:creationId xmlns:a16="http://schemas.microsoft.com/office/drawing/2014/main" id="{734ABB8C-17B1-4BA7-BF38-92CBF976F97B}"/>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22" name="Platshållare för sidfot 5">
            <a:extLst>
              <a:ext uri="{FF2B5EF4-FFF2-40B4-BE49-F238E27FC236}">
                <a16:creationId xmlns:a16="http://schemas.microsoft.com/office/drawing/2014/main" id="{AD4E3B89-8B6B-4242-ADBF-1D198CAC1217}"/>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62181893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Bild - text - x 3">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p:txBody>
          <a:bodyPr/>
          <a:lstStyle/>
          <a:p>
            <a:r>
              <a:rPr lang="sv-SE"/>
              <a:t>Klicka här för att ändra mall för rubrikformat</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7" name="Platshållare för bild 6">
            <a:extLst>
              <a:ext uri="{FF2B5EF4-FFF2-40B4-BE49-F238E27FC236}">
                <a16:creationId xmlns:a16="http://schemas.microsoft.com/office/drawing/2014/main" id="{91471F07-A012-4494-9FBA-A436638F21DB}"/>
              </a:ext>
            </a:extLst>
          </p:cNvPr>
          <p:cNvSpPr>
            <a:spLocks noGrp="1"/>
          </p:cNvSpPr>
          <p:nvPr>
            <p:ph type="pic" sz="quarter" idx="21"/>
          </p:nvPr>
        </p:nvSpPr>
        <p:spPr>
          <a:xfrm>
            <a:off x="469901" y="1084493"/>
            <a:ext cx="2649537" cy="798281"/>
          </a:xfrm>
          <a:solidFill>
            <a:schemeClr val="bg2"/>
          </a:solidFill>
        </p:spPr>
        <p:txBody>
          <a:bodyPr/>
          <a:lstStyle/>
          <a:p>
            <a:endParaRPr lang="sv-SE"/>
          </a:p>
        </p:txBody>
      </p:sp>
      <p:sp>
        <p:nvSpPr>
          <p:cNvPr id="17" name="Platshållare för bild 6">
            <a:extLst>
              <a:ext uri="{FF2B5EF4-FFF2-40B4-BE49-F238E27FC236}">
                <a16:creationId xmlns:a16="http://schemas.microsoft.com/office/drawing/2014/main" id="{52FBB32F-EEC4-49D4-A2F4-66D4E84CFE09}"/>
              </a:ext>
            </a:extLst>
          </p:cNvPr>
          <p:cNvSpPr>
            <a:spLocks noGrp="1"/>
          </p:cNvSpPr>
          <p:nvPr>
            <p:ph type="pic" sz="quarter" idx="23"/>
          </p:nvPr>
        </p:nvSpPr>
        <p:spPr>
          <a:xfrm>
            <a:off x="3247231" y="1068388"/>
            <a:ext cx="2649537" cy="830262"/>
          </a:xfrm>
          <a:solidFill>
            <a:schemeClr val="bg2"/>
          </a:solidFill>
        </p:spPr>
        <p:txBody>
          <a:bodyPr/>
          <a:lstStyle/>
          <a:p>
            <a:endParaRPr lang="sv-SE"/>
          </a:p>
        </p:txBody>
      </p:sp>
      <p:sp>
        <p:nvSpPr>
          <p:cNvPr id="19" name="Platshållare för bild 6">
            <a:extLst>
              <a:ext uri="{FF2B5EF4-FFF2-40B4-BE49-F238E27FC236}">
                <a16:creationId xmlns:a16="http://schemas.microsoft.com/office/drawing/2014/main" id="{D423BCBB-304C-4A66-9FDC-ADB347C765E2}"/>
              </a:ext>
            </a:extLst>
          </p:cNvPr>
          <p:cNvSpPr>
            <a:spLocks noGrp="1"/>
          </p:cNvSpPr>
          <p:nvPr>
            <p:ph type="pic" sz="quarter" idx="25"/>
          </p:nvPr>
        </p:nvSpPr>
        <p:spPr>
          <a:xfrm>
            <a:off x="6024563" y="1068388"/>
            <a:ext cx="2649537" cy="830262"/>
          </a:xfrm>
          <a:solidFill>
            <a:schemeClr val="bg2"/>
          </a:solidFill>
        </p:spPr>
        <p:txBody>
          <a:bodyPr/>
          <a:lstStyle/>
          <a:p>
            <a:endParaRPr lang="sv-SE"/>
          </a:p>
        </p:txBody>
      </p:sp>
      <p:sp>
        <p:nvSpPr>
          <p:cNvPr id="6" name="Platshållare för text 5">
            <a:extLst>
              <a:ext uri="{FF2B5EF4-FFF2-40B4-BE49-F238E27FC236}">
                <a16:creationId xmlns:a16="http://schemas.microsoft.com/office/drawing/2014/main" id="{A4061435-5D1A-4338-89B7-26DFC81BD5AB}"/>
              </a:ext>
            </a:extLst>
          </p:cNvPr>
          <p:cNvSpPr>
            <a:spLocks noGrp="1"/>
          </p:cNvSpPr>
          <p:nvPr>
            <p:ph type="body" sz="quarter" idx="26"/>
          </p:nvPr>
        </p:nvSpPr>
        <p:spPr>
          <a:xfrm>
            <a:off x="469900" y="1882775"/>
            <a:ext cx="2649538" cy="2301875"/>
          </a:xfrm>
        </p:spPr>
        <p:txBody>
          <a:bodyPr lIns="126000" tIns="126000" rIns="126000" bIns="12600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22" name="Platshållare för text 5">
            <a:extLst>
              <a:ext uri="{FF2B5EF4-FFF2-40B4-BE49-F238E27FC236}">
                <a16:creationId xmlns:a16="http://schemas.microsoft.com/office/drawing/2014/main" id="{BAEFD451-4481-40DD-8FF6-2B8890CE51BD}"/>
              </a:ext>
            </a:extLst>
          </p:cNvPr>
          <p:cNvSpPr>
            <a:spLocks noGrp="1"/>
          </p:cNvSpPr>
          <p:nvPr>
            <p:ph type="body" sz="quarter" idx="27"/>
          </p:nvPr>
        </p:nvSpPr>
        <p:spPr>
          <a:xfrm>
            <a:off x="3246437" y="1898650"/>
            <a:ext cx="2649538" cy="2301875"/>
          </a:xfrm>
        </p:spPr>
        <p:txBody>
          <a:bodyPr lIns="126000" tIns="126000" rIns="126000" bIns="12600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23" name="Platshållare för text 5">
            <a:extLst>
              <a:ext uri="{FF2B5EF4-FFF2-40B4-BE49-F238E27FC236}">
                <a16:creationId xmlns:a16="http://schemas.microsoft.com/office/drawing/2014/main" id="{AA53869B-B93C-417E-A242-6E46EA517492}"/>
              </a:ext>
            </a:extLst>
          </p:cNvPr>
          <p:cNvSpPr>
            <a:spLocks noGrp="1"/>
          </p:cNvSpPr>
          <p:nvPr>
            <p:ph type="body" sz="quarter" idx="28"/>
          </p:nvPr>
        </p:nvSpPr>
        <p:spPr>
          <a:xfrm>
            <a:off x="6022974" y="1898650"/>
            <a:ext cx="2649538" cy="2301875"/>
          </a:xfrm>
        </p:spPr>
        <p:txBody>
          <a:bodyPr lIns="126000" tIns="126000" rIns="126000" bIns="12600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6" name="Platshållare för text 12">
            <a:extLst>
              <a:ext uri="{FF2B5EF4-FFF2-40B4-BE49-F238E27FC236}">
                <a16:creationId xmlns:a16="http://schemas.microsoft.com/office/drawing/2014/main" id="{C95A4CC1-A75E-4651-A1D0-38B7433EF39D}"/>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18" name="Platshållare för sidfot 5">
            <a:extLst>
              <a:ext uri="{FF2B5EF4-FFF2-40B4-BE49-F238E27FC236}">
                <a16:creationId xmlns:a16="http://schemas.microsoft.com/office/drawing/2014/main" id="{C5CEC43F-1299-4534-85D4-36194336B0C0}"/>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66393721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Text - Text - Rut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p:txBody>
          <a:bodyPr/>
          <a:lstStyle/>
          <a:p>
            <a:r>
              <a:rPr lang="sv-SE"/>
              <a:t>Klicka här för att ändra mall för rubrikformat</a:t>
            </a:r>
          </a:p>
        </p:txBody>
      </p:sp>
      <p:sp>
        <p:nvSpPr>
          <p:cNvPr id="8" name="Platshållare för innehåll 2">
            <a:extLst>
              <a:ext uri="{FF2B5EF4-FFF2-40B4-BE49-F238E27FC236}">
                <a16:creationId xmlns:a16="http://schemas.microsoft.com/office/drawing/2014/main" id="{4BEEC24F-2690-432A-92D2-A22987A0D71E}"/>
              </a:ext>
            </a:extLst>
          </p:cNvPr>
          <p:cNvSpPr>
            <a:spLocks noGrp="1"/>
          </p:cNvSpPr>
          <p:nvPr>
            <p:ph idx="14"/>
          </p:nvPr>
        </p:nvSpPr>
        <p:spPr>
          <a:xfrm>
            <a:off x="6024562" y="1079898"/>
            <a:ext cx="2649538" cy="3122215"/>
          </a:xfrm>
          <a:solidFill>
            <a:schemeClr val="accent2"/>
          </a:solidFill>
        </p:spPr>
        <p:txBody>
          <a:bodyPr lIns="127000" tIns="127000" rIns="127000" bIns="127000"/>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16" name="Platshållare för text 6">
            <a:extLst>
              <a:ext uri="{FF2B5EF4-FFF2-40B4-BE49-F238E27FC236}">
                <a16:creationId xmlns:a16="http://schemas.microsoft.com/office/drawing/2014/main" id="{9E60562C-9D36-4412-9152-53D7125F7E89}"/>
              </a:ext>
            </a:extLst>
          </p:cNvPr>
          <p:cNvSpPr>
            <a:spLocks noGrp="1"/>
          </p:cNvSpPr>
          <p:nvPr>
            <p:ph type="body" sz="quarter" idx="21"/>
          </p:nvPr>
        </p:nvSpPr>
        <p:spPr>
          <a:xfrm>
            <a:off x="469899" y="1068388"/>
            <a:ext cx="2649538" cy="312261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8" name="Platshållare för text 6">
            <a:extLst>
              <a:ext uri="{FF2B5EF4-FFF2-40B4-BE49-F238E27FC236}">
                <a16:creationId xmlns:a16="http://schemas.microsoft.com/office/drawing/2014/main" id="{3D6E2069-EB39-46A7-BD8D-947D9F93C8D2}"/>
              </a:ext>
            </a:extLst>
          </p:cNvPr>
          <p:cNvSpPr>
            <a:spLocks noGrp="1"/>
          </p:cNvSpPr>
          <p:nvPr>
            <p:ph type="body" sz="quarter" idx="22"/>
          </p:nvPr>
        </p:nvSpPr>
        <p:spPr>
          <a:xfrm>
            <a:off x="3247231" y="1068388"/>
            <a:ext cx="2649538" cy="312261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20" name="Platshållare för text 12">
            <a:extLst>
              <a:ext uri="{FF2B5EF4-FFF2-40B4-BE49-F238E27FC236}">
                <a16:creationId xmlns:a16="http://schemas.microsoft.com/office/drawing/2014/main" id="{1E412DD4-DDDE-43C8-B2B3-3C09F2A8E2CE}"/>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21" name="Platshållare för sidfot 5">
            <a:extLst>
              <a:ext uri="{FF2B5EF4-FFF2-40B4-BE49-F238E27FC236}">
                <a16:creationId xmlns:a16="http://schemas.microsoft.com/office/drawing/2014/main" id="{38F9A146-FD87-4C1E-A2C0-7F9A3D7AB28F}"/>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7526137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Content 1 Purple">
    <p:spTree>
      <p:nvGrpSpPr>
        <p:cNvPr id="1" name=""/>
        <p:cNvGrpSpPr/>
        <p:nvPr/>
      </p:nvGrpSpPr>
      <p:grpSpPr>
        <a:xfrm>
          <a:off x="0" y="0"/>
          <a:ext cx="0" cy="0"/>
          <a:chOff x="0" y="0"/>
          <a:chExt cx="0" cy="0"/>
        </a:xfrm>
      </p:grpSpPr>
      <p:sp>
        <p:nvSpPr>
          <p:cNvPr id="20" name="Rektangel 19"/>
          <p:cNvSpPr/>
          <p:nvPr userDrawn="1"/>
        </p:nvSpPr>
        <p:spPr>
          <a:xfrm>
            <a:off x="4572000" y="0"/>
            <a:ext cx="4572000" cy="5143500"/>
          </a:xfrm>
          <a:prstGeom prst="rect">
            <a:avLst/>
          </a:prstGeom>
          <a:solidFill>
            <a:schemeClr val="accent4"/>
          </a:solidFill>
          <a:ln>
            <a:noFill/>
          </a:ln>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sv-SE" sz="1800"/>
          </a:p>
        </p:txBody>
      </p:sp>
      <p:grpSp>
        <p:nvGrpSpPr>
          <p:cNvPr id="22" name="Grupp 21">
            <a:extLst>
              <a:ext uri="{FF2B5EF4-FFF2-40B4-BE49-F238E27FC236}">
                <a16:creationId xmlns:a16="http://schemas.microsoft.com/office/drawing/2014/main" id="{58A4F037-5372-4F50-AB2C-80E4F015FDE0}"/>
              </a:ext>
            </a:extLst>
          </p:cNvPr>
          <p:cNvGrpSpPr/>
          <p:nvPr userDrawn="1"/>
        </p:nvGrpSpPr>
        <p:grpSpPr>
          <a:xfrm>
            <a:off x="4099912" y="-1785593"/>
            <a:ext cx="8908892" cy="8714685"/>
            <a:chOff x="3589405" y="387640"/>
            <a:chExt cx="5873827" cy="5872463"/>
          </a:xfrm>
          <a:solidFill>
            <a:schemeClr val="bg1">
              <a:alpha val="10000"/>
            </a:schemeClr>
          </a:solidFill>
        </p:grpSpPr>
        <p:sp>
          <p:nvSpPr>
            <p:cNvPr id="23" name="Freeform 5">
              <a:extLst>
                <a:ext uri="{FF2B5EF4-FFF2-40B4-BE49-F238E27FC236}">
                  <a16:creationId xmlns:a16="http://schemas.microsoft.com/office/drawing/2014/main" id="{7C1D4E85-F2CE-4336-8CC8-25E235311297}"/>
                </a:ext>
              </a:extLst>
            </p:cNvPr>
            <p:cNvSpPr>
              <a:spLocks/>
            </p:cNvSpPr>
            <p:nvPr/>
          </p:nvSpPr>
          <p:spPr bwMode="auto">
            <a:xfrm>
              <a:off x="3871774" y="678194"/>
              <a:ext cx="1392749" cy="1400934"/>
            </a:xfrm>
            <a:custGeom>
              <a:avLst/>
              <a:gdLst>
                <a:gd name="T0" fmla="*/ 2096 w 2096"/>
                <a:gd name="T1" fmla="*/ 0 h 2108"/>
                <a:gd name="T2" fmla="*/ 877 w 2096"/>
                <a:gd name="T3" fmla="*/ 863 h 2108"/>
                <a:gd name="T4" fmla="*/ 0 w 2096"/>
                <a:gd name="T5" fmla="*/ 2108 h 2108"/>
                <a:gd name="T6" fmla="*/ 981 w 2096"/>
                <a:gd name="T7" fmla="*/ 948 h 2108"/>
                <a:gd name="T8" fmla="*/ 2096 w 2096"/>
                <a:gd name="T9" fmla="*/ 0 h 2108"/>
              </a:gdLst>
              <a:ahLst/>
              <a:cxnLst>
                <a:cxn ang="0">
                  <a:pos x="T0" y="T1"/>
                </a:cxn>
                <a:cxn ang="0">
                  <a:pos x="T2" y="T3"/>
                </a:cxn>
                <a:cxn ang="0">
                  <a:pos x="T4" y="T5"/>
                </a:cxn>
                <a:cxn ang="0">
                  <a:pos x="T6" y="T7"/>
                </a:cxn>
                <a:cxn ang="0">
                  <a:pos x="T8" y="T9"/>
                </a:cxn>
              </a:cxnLst>
              <a:rect l="0" t="0" r="r" b="b"/>
              <a:pathLst>
                <a:path w="2096" h="2108">
                  <a:moveTo>
                    <a:pt x="2096" y="0"/>
                  </a:moveTo>
                  <a:cubicBezTo>
                    <a:pt x="1655" y="211"/>
                    <a:pt x="1242" y="498"/>
                    <a:pt x="877" y="863"/>
                  </a:cubicBezTo>
                  <a:cubicBezTo>
                    <a:pt x="504" y="1235"/>
                    <a:pt x="213" y="1658"/>
                    <a:pt x="0" y="2108"/>
                  </a:cubicBezTo>
                  <a:cubicBezTo>
                    <a:pt x="254" y="1741"/>
                    <a:pt x="588" y="1343"/>
                    <a:pt x="981" y="948"/>
                  </a:cubicBezTo>
                  <a:cubicBezTo>
                    <a:pt x="1360" y="571"/>
                    <a:pt x="1741" y="249"/>
                    <a:pt x="209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1800"/>
            </a:p>
          </p:txBody>
        </p:sp>
        <p:sp>
          <p:nvSpPr>
            <p:cNvPr id="24" name="Freeform 6">
              <a:extLst>
                <a:ext uri="{FF2B5EF4-FFF2-40B4-BE49-F238E27FC236}">
                  <a16:creationId xmlns:a16="http://schemas.microsoft.com/office/drawing/2014/main" id="{AAC8634F-3E34-4168-8D60-19B3A00C0D81}"/>
                </a:ext>
              </a:extLst>
            </p:cNvPr>
            <p:cNvSpPr>
              <a:spLocks/>
            </p:cNvSpPr>
            <p:nvPr/>
          </p:nvSpPr>
          <p:spPr bwMode="auto">
            <a:xfrm>
              <a:off x="3635784" y="435383"/>
              <a:ext cx="2381724" cy="2399457"/>
            </a:xfrm>
            <a:custGeom>
              <a:avLst/>
              <a:gdLst>
                <a:gd name="T0" fmla="*/ 446 w 3585"/>
                <a:gd name="T1" fmla="*/ 2866 h 3609"/>
                <a:gd name="T2" fmla="*/ 484 w 3585"/>
                <a:gd name="T3" fmla="*/ 2811 h 3609"/>
                <a:gd name="T4" fmla="*/ 1565 w 3585"/>
                <a:gd name="T5" fmla="*/ 1541 h 3609"/>
                <a:gd name="T6" fmla="*/ 2835 w 3585"/>
                <a:gd name="T7" fmla="*/ 460 h 3609"/>
                <a:gd name="T8" fmla="*/ 2891 w 3585"/>
                <a:gd name="T9" fmla="*/ 422 h 3609"/>
                <a:gd name="T10" fmla="*/ 2945 w 3585"/>
                <a:gd name="T11" fmla="*/ 385 h 3609"/>
                <a:gd name="T12" fmla="*/ 3585 w 3585"/>
                <a:gd name="T13" fmla="*/ 0 h 3609"/>
                <a:gd name="T14" fmla="*/ 3071 w 3585"/>
                <a:gd name="T15" fmla="*/ 123 h 3609"/>
                <a:gd name="T16" fmla="*/ 2863 w 3585"/>
                <a:gd name="T17" fmla="*/ 239 h 3609"/>
                <a:gd name="T18" fmla="*/ 2809 w 3585"/>
                <a:gd name="T19" fmla="*/ 272 h 3609"/>
                <a:gd name="T20" fmla="*/ 2752 w 3585"/>
                <a:gd name="T21" fmla="*/ 307 h 3609"/>
                <a:gd name="T22" fmla="*/ 1420 w 3585"/>
                <a:gd name="T23" fmla="*/ 1396 h 3609"/>
                <a:gd name="T24" fmla="*/ 331 w 3585"/>
                <a:gd name="T25" fmla="*/ 2728 h 3609"/>
                <a:gd name="T26" fmla="*/ 296 w 3585"/>
                <a:gd name="T27" fmla="*/ 2785 h 3609"/>
                <a:gd name="T28" fmla="*/ 263 w 3585"/>
                <a:gd name="T29" fmla="*/ 2839 h 3609"/>
                <a:gd name="T30" fmla="*/ 113 w 3585"/>
                <a:gd name="T31" fmla="*/ 3114 h 3609"/>
                <a:gd name="T32" fmla="*/ 0 w 3585"/>
                <a:gd name="T33" fmla="*/ 3609 h 3609"/>
                <a:gd name="T34" fmla="*/ 408 w 3585"/>
                <a:gd name="T35" fmla="*/ 2921 h 3609"/>
                <a:gd name="T36" fmla="*/ 446 w 3585"/>
                <a:gd name="T37" fmla="*/ 2866 h 3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85" h="3609">
                  <a:moveTo>
                    <a:pt x="446" y="2866"/>
                  </a:moveTo>
                  <a:cubicBezTo>
                    <a:pt x="459" y="2848"/>
                    <a:pt x="471" y="2830"/>
                    <a:pt x="484" y="2811"/>
                  </a:cubicBezTo>
                  <a:cubicBezTo>
                    <a:pt x="775" y="2399"/>
                    <a:pt x="1141" y="1966"/>
                    <a:pt x="1565" y="1541"/>
                  </a:cubicBezTo>
                  <a:cubicBezTo>
                    <a:pt x="1990" y="1117"/>
                    <a:pt x="2423" y="751"/>
                    <a:pt x="2835" y="460"/>
                  </a:cubicBezTo>
                  <a:cubicBezTo>
                    <a:pt x="2854" y="447"/>
                    <a:pt x="2872" y="435"/>
                    <a:pt x="2891" y="422"/>
                  </a:cubicBezTo>
                  <a:cubicBezTo>
                    <a:pt x="2909" y="409"/>
                    <a:pt x="2927" y="397"/>
                    <a:pt x="2945" y="385"/>
                  </a:cubicBezTo>
                  <a:cubicBezTo>
                    <a:pt x="3167" y="233"/>
                    <a:pt x="3382" y="104"/>
                    <a:pt x="3585" y="0"/>
                  </a:cubicBezTo>
                  <a:cubicBezTo>
                    <a:pt x="3412" y="31"/>
                    <a:pt x="3240" y="72"/>
                    <a:pt x="3071" y="123"/>
                  </a:cubicBezTo>
                  <a:cubicBezTo>
                    <a:pt x="3004" y="158"/>
                    <a:pt x="2935" y="196"/>
                    <a:pt x="2863" y="239"/>
                  </a:cubicBezTo>
                  <a:cubicBezTo>
                    <a:pt x="2845" y="249"/>
                    <a:pt x="2827" y="261"/>
                    <a:pt x="2809" y="272"/>
                  </a:cubicBezTo>
                  <a:cubicBezTo>
                    <a:pt x="2790" y="284"/>
                    <a:pt x="2771" y="294"/>
                    <a:pt x="2752" y="307"/>
                  </a:cubicBezTo>
                  <a:cubicBezTo>
                    <a:pt x="2343" y="565"/>
                    <a:pt x="1875" y="939"/>
                    <a:pt x="1420" y="1396"/>
                  </a:cubicBezTo>
                  <a:cubicBezTo>
                    <a:pt x="963" y="1851"/>
                    <a:pt x="589" y="2319"/>
                    <a:pt x="331" y="2728"/>
                  </a:cubicBezTo>
                  <a:cubicBezTo>
                    <a:pt x="318" y="2747"/>
                    <a:pt x="308" y="2766"/>
                    <a:pt x="296" y="2785"/>
                  </a:cubicBezTo>
                  <a:cubicBezTo>
                    <a:pt x="285" y="2803"/>
                    <a:pt x="273" y="2821"/>
                    <a:pt x="263" y="2839"/>
                  </a:cubicBezTo>
                  <a:cubicBezTo>
                    <a:pt x="205" y="2935"/>
                    <a:pt x="156" y="3027"/>
                    <a:pt x="113" y="3114"/>
                  </a:cubicBezTo>
                  <a:cubicBezTo>
                    <a:pt x="65" y="3277"/>
                    <a:pt x="28" y="3443"/>
                    <a:pt x="0" y="3609"/>
                  </a:cubicBezTo>
                  <a:cubicBezTo>
                    <a:pt x="107" y="3392"/>
                    <a:pt x="245" y="3161"/>
                    <a:pt x="408" y="2921"/>
                  </a:cubicBezTo>
                  <a:cubicBezTo>
                    <a:pt x="421" y="2903"/>
                    <a:pt x="433" y="2885"/>
                    <a:pt x="446" y="28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1800"/>
            </a:p>
          </p:txBody>
        </p:sp>
        <p:sp>
          <p:nvSpPr>
            <p:cNvPr id="25" name="Freeform 7">
              <a:extLst>
                <a:ext uri="{FF2B5EF4-FFF2-40B4-BE49-F238E27FC236}">
                  <a16:creationId xmlns:a16="http://schemas.microsoft.com/office/drawing/2014/main" id="{1044E1AF-5D57-4C57-A718-661729CA160C}"/>
                </a:ext>
              </a:extLst>
            </p:cNvPr>
            <p:cNvSpPr>
              <a:spLocks/>
            </p:cNvSpPr>
            <p:nvPr/>
          </p:nvSpPr>
          <p:spPr bwMode="auto">
            <a:xfrm>
              <a:off x="3589405" y="387640"/>
              <a:ext cx="3051498" cy="3077416"/>
            </a:xfrm>
            <a:custGeom>
              <a:avLst/>
              <a:gdLst>
                <a:gd name="T0" fmla="*/ 267 w 4592"/>
                <a:gd name="T1" fmla="*/ 4024 h 4629"/>
                <a:gd name="T2" fmla="*/ 1026 w 4592"/>
                <a:gd name="T3" fmla="*/ 2858 h 4629"/>
                <a:gd name="T4" fmla="*/ 1121 w 4592"/>
                <a:gd name="T5" fmla="*/ 2738 h 4629"/>
                <a:gd name="T6" fmla="*/ 1236 w 4592"/>
                <a:gd name="T7" fmla="*/ 2597 h 4629"/>
                <a:gd name="T8" fmla="*/ 1896 w 4592"/>
                <a:gd name="T9" fmla="*/ 1875 h 4629"/>
                <a:gd name="T10" fmla="*/ 2618 w 4592"/>
                <a:gd name="T11" fmla="*/ 1215 h 4629"/>
                <a:gd name="T12" fmla="*/ 2759 w 4592"/>
                <a:gd name="T13" fmla="*/ 1101 h 4629"/>
                <a:gd name="T14" fmla="*/ 2878 w 4592"/>
                <a:gd name="T15" fmla="*/ 1006 h 4629"/>
                <a:gd name="T16" fmla="*/ 4045 w 4592"/>
                <a:gd name="T17" fmla="*/ 246 h 4629"/>
                <a:gd name="T18" fmla="*/ 4104 w 4592"/>
                <a:gd name="T19" fmla="*/ 217 h 4629"/>
                <a:gd name="T20" fmla="*/ 4159 w 4592"/>
                <a:gd name="T21" fmla="*/ 189 h 4629"/>
                <a:gd name="T22" fmla="*/ 4592 w 4592"/>
                <a:gd name="T23" fmla="*/ 6 h 4629"/>
                <a:gd name="T24" fmla="*/ 4098 w 4592"/>
                <a:gd name="T25" fmla="*/ 16 h 4629"/>
                <a:gd name="T26" fmla="*/ 4059 w 4592"/>
                <a:gd name="T27" fmla="*/ 19 h 4629"/>
                <a:gd name="T28" fmla="*/ 4034 w 4592"/>
                <a:gd name="T29" fmla="*/ 29 h 4629"/>
                <a:gd name="T30" fmla="*/ 3987 w 4592"/>
                <a:gd name="T31" fmla="*/ 49 h 4629"/>
                <a:gd name="T32" fmla="*/ 3976 w 4592"/>
                <a:gd name="T33" fmla="*/ 53 h 4629"/>
                <a:gd name="T34" fmla="*/ 3018 w 4592"/>
                <a:gd name="T35" fmla="*/ 598 h 4629"/>
                <a:gd name="T36" fmla="*/ 2950 w 4592"/>
                <a:gd name="T37" fmla="*/ 644 h 4629"/>
                <a:gd name="T38" fmla="*/ 2877 w 4592"/>
                <a:gd name="T39" fmla="*/ 698 h 4629"/>
                <a:gd name="T40" fmla="*/ 1717 w 4592"/>
                <a:gd name="T41" fmla="*/ 1696 h 4629"/>
                <a:gd name="T42" fmla="*/ 718 w 4592"/>
                <a:gd name="T43" fmla="*/ 2856 h 4629"/>
                <a:gd name="T44" fmla="*/ 665 w 4592"/>
                <a:gd name="T45" fmla="*/ 2929 h 4629"/>
                <a:gd name="T46" fmla="*/ 618 w 4592"/>
                <a:gd name="T47" fmla="*/ 2997 h 4629"/>
                <a:gd name="T48" fmla="*/ 74 w 4592"/>
                <a:gd name="T49" fmla="*/ 3955 h 4629"/>
                <a:gd name="T50" fmla="*/ 50 w 4592"/>
                <a:gd name="T51" fmla="*/ 4013 h 4629"/>
                <a:gd name="T52" fmla="*/ 28 w 4592"/>
                <a:gd name="T53" fmla="*/ 4070 h 4629"/>
                <a:gd name="T54" fmla="*/ 17 w 4592"/>
                <a:gd name="T55" fmla="*/ 4101 h 4629"/>
                <a:gd name="T56" fmla="*/ 8 w 4592"/>
                <a:gd name="T57" fmla="*/ 4629 h 4629"/>
                <a:gd name="T58" fmla="*/ 210 w 4592"/>
                <a:gd name="T59" fmla="*/ 4138 h 4629"/>
                <a:gd name="T60" fmla="*/ 238 w 4592"/>
                <a:gd name="T61" fmla="*/ 4083 h 4629"/>
                <a:gd name="T62" fmla="*/ 267 w 4592"/>
                <a:gd name="T63" fmla="*/ 4024 h 4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92" h="4629">
                  <a:moveTo>
                    <a:pt x="267" y="4024"/>
                  </a:moveTo>
                  <a:cubicBezTo>
                    <a:pt x="457" y="3655"/>
                    <a:pt x="713" y="3259"/>
                    <a:pt x="1026" y="2858"/>
                  </a:cubicBezTo>
                  <a:cubicBezTo>
                    <a:pt x="1057" y="2818"/>
                    <a:pt x="1089" y="2778"/>
                    <a:pt x="1121" y="2738"/>
                  </a:cubicBezTo>
                  <a:cubicBezTo>
                    <a:pt x="1159" y="2691"/>
                    <a:pt x="1197" y="2644"/>
                    <a:pt x="1236" y="2597"/>
                  </a:cubicBezTo>
                  <a:cubicBezTo>
                    <a:pt x="1437" y="2356"/>
                    <a:pt x="1658" y="2114"/>
                    <a:pt x="1896" y="1875"/>
                  </a:cubicBezTo>
                  <a:cubicBezTo>
                    <a:pt x="2134" y="1637"/>
                    <a:pt x="2376" y="1417"/>
                    <a:pt x="2618" y="1215"/>
                  </a:cubicBezTo>
                  <a:cubicBezTo>
                    <a:pt x="2665" y="1176"/>
                    <a:pt x="2712" y="1138"/>
                    <a:pt x="2759" y="1101"/>
                  </a:cubicBezTo>
                  <a:cubicBezTo>
                    <a:pt x="2799" y="1068"/>
                    <a:pt x="2839" y="1037"/>
                    <a:pt x="2878" y="1006"/>
                  </a:cubicBezTo>
                  <a:cubicBezTo>
                    <a:pt x="3280" y="693"/>
                    <a:pt x="3675" y="437"/>
                    <a:pt x="4045" y="246"/>
                  </a:cubicBezTo>
                  <a:cubicBezTo>
                    <a:pt x="4065" y="236"/>
                    <a:pt x="4084" y="226"/>
                    <a:pt x="4104" y="217"/>
                  </a:cubicBezTo>
                  <a:cubicBezTo>
                    <a:pt x="4122" y="208"/>
                    <a:pt x="4141" y="198"/>
                    <a:pt x="4159" y="189"/>
                  </a:cubicBezTo>
                  <a:cubicBezTo>
                    <a:pt x="4309" y="116"/>
                    <a:pt x="4453" y="55"/>
                    <a:pt x="4592" y="6"/>
                  </a:cubicBezTo>
                  <a:cubicBezTo>
                    <a:pt x="4427" y="0"/>
                    <a:pt x="4262" y="3"/>
                    <a:pt x="4098" y="16"/>
                  </a:cubicBezTo>
                  <a:cubicBezTo>
                    <a:pt x="4085" y="17"/>
                    <a:pt x="4072" y="18"/>
                    <a:pt x="4059" y="19"/>
                  </a:cubicBezTo>
                  <a:cubicBezTo>
                    <a:pt x="4051" y="22"/>
                    <a:pt x="4043" y="26"/>
                    <a:pt x="4034" y="29"/>
                  </a:cubicBezTo>
                  <a:cubicBezTo>
                    <a:pt x="4019" y="35"/>
                    <a:pt x="4003" y="42"/>
                    <a:pt x="3987" y="49"/>
                  </a:cubicBezTo>
                  <a:cubicBezTo>
                    <a:pt x="3983" y="50"/>
                    <a:pt x="3980" y="51"/>
                    <a:pt x="3976" y="53"/>
                  </a:cubicBezTo>
                  <a:cubicBezTo>
                    <a:pt x="3689" y="174"/>
                    <a:pt x="3362" y="358"/>
                    <a:pt x="3018" y="598"/>
                  </a:cubicBezTo>
                  <a:cubicBezTo>
                    <a:pt x="2995" y="613"/>
                    <a:pt x="2973" y="628"/>
                    <a:pt x="2950" y="644"/>
                  </a:cubicBezTo>
                  <a:cubicBezTo>
                    <a:pt x="2926" y="661"/>
                    <a:pt x="2902" y="680"/>
                    <a:pt x="2877" y="698"/>
                  </a:cubicBezTo>
                  <a:cubicBezTo>
                    <a:pt x="2499" y="973"/>
                    <a:pt x="2103" y="1309"/>
                    <a:pt x="1717" y="1696"/>
                  </a:cubicBezTo>
                  <a:cubicBezTo>
                    <a:pt x="1330" y="2082"/>
                    <a:pt x="994" y="2478"/>
                    <a:pt x="718" y="2856"/>
                  </a:cubicBezTo>
                  <a:cubicBezTo>
                    <a:pt x="701" y="2881"/>
                    <a:pt x="682" y="2905"/>
                    <a:pt x="665" y="2929"/>
                  </a:cubicBezTo>
                  <a:cubicBezTo>
                    <a:pt x="649" y="2952"/>
                    <a:pt x="634" y="2974"/>
                    <a:pt x="618" y="2997"/>
                  </a:cubicBezTo>
                  <a:cubicBezTo>
                    <a:pt x="379" y="3341"/>
                    <a:pt x="195" y="3668"/>
                    <a:pt x="74" y="3955"/>
                  </a:cubicBezTo>
                  <a:cubicBezTo>
                    <a:pt x="66" y="3975"/>
                    <a:pt x="57" y="3994"/>
                    <a:pt x="50" y="4013"/>
                  </a:cubicBezTo>
                  <a:cubicBezTo>
                    <a:pt x="42" y="4032"/>
                    <a:pt x="35" y="4051"/>
                    <a:pt x="28" y="4070"/>
                  </a:cubicBezTo>
                  <a:cubicBezTo>
                    <a:pt x="24" y="4080"/>
                    <a:pt x="21" y="4090"/>
                    <a:pt x="17" y="4101"/>
                  </a:cubicBezTo>
                  <a:cubicBezTo>
                    <a:pt x="4" y="4276"/>
                    <a:pt x="0" y="4452"/>
                    <a:pt x="8" y="4629"/>
                  </a:cubicBezTo>
                  <a:cubicBezTo>
                    <a:pt x="60" y="4472"/>
                    <a:pt x="127" y="4309"/>
                    <a:pt x="210" y="4138"/>
                  </a:cubicBezTo>
                  <a:cubicBezTo>
                    <a:pt x="219" y="4120"/>
                    <a:pt x="228" y="4101"/>
                    <a:pt x="238" y="4083"/>
                  </a:cubicBezTo>
                  <a:cubicBezTo>
                    <a:pt x="247" y="4063"/>
                    <a:pt x="257" y="4044"/>
                    <a:pt x="267" y="40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1800"/>
            </a:p>
          </p:txBody>
        </p:sp>
        <p:sp>
          <p:nvSpPr>
            <p:cNvPr id="26" name="Freeform 8">
              <a:extLst>
                <a:ext uri="{FF2B5EF4-FFF2-40B4-BE49-F238E27FC236}">
                  <a16:creationId xmlns:a16="http://schemas.microsoft.com/office/drawing/2014/main" id="{3377C1A4-0564-4448-BF92-C18ABDBCE824}"/>
                </a:ext>
              </a:extLst>
            </p:cNvPr>
            <p:cNvSpPr>
              <a:spLocks/>
            </p:cNvSpPr>
            <p:nvPr/>
          </p:nvSpPr>
          <p:spPr bwMode="auto">
            <a:xfrm>
              <a:off x="3736728" y="524050"/>
              <a:ext cx="4067755" cy="4096401"/>
            </a:xfrm>
            <a:custGeom>
              <a:avLst/>
              <a:gdLst>
                <a:gd name="T0" fmla="*/ 711 w 6120"/>
                <a:gd name="T1" fmla="*/ 4802 h 6162"/>
                <a:gd name="T2" fmla="*/ 755 w 6120"/>
                <a:gd name="T3" fmla="*/ 4721 h 6162"/>
                <a:gd name="T4" fmla="*/ 2492 w 6120"/>
                <a:gd name="T5" fmla="*/ 2487 h 6162"/>
                <a:gd name="T6" fmla="*/ 4726 w 6120"/>
                <a:gd name="T7" fmla="*/ 750 h 6162"/>
                <a:gd name="T8" fmla="*/ 4807 w 6120"/>
                <a:gd name="T9" fmla="*/ 706 h 6162"/>
                <a:gd name="T10" fmla="*/ 4883 w 6120"/>
                <a:gd name="T11" fmla="*/ 666 h 6162"/>
                <a:gd name="T12" fmla="*/ 5747 w 6120"/>
                <a:gd name="T13" fmla="*/ 308 h 6162"/>
                <a:gd name="T14" fmla="*/ 5804 w 6120"/>
                <a:gd name="T15" fmla="*/ 292 h 6162"/>
                <a:gd name="T16" fmla="*/ 5862 w 6120"/>
                <a:gd name="T17" fmla="*/ 276 h 6162"/>
                <a:gd name="T18" fmla="*/ 6120 w 6120"/>
                <a:gd name="T19" fmla="*/ 226 h 6162"/>
                <a:gd name="T20" fmla="*/ 5817 w 6120"/>
                <a:gd name="T21" fmla="*/ 96 h 6162"/>
                <a:gd name="T22" fmla="*/ 5740 w 6120"/>
                <a:gd name="T23" fmla="*/ 67 h 6162"/>
                <a:gd name="T24" fmla="*/ 5659 w 6120"/>
                <a:gd name="T25" fmla="*/ 37 h 6162"/>
                <a:gd name="T26" fmla="*/ 5541 w 6120"/>
                <a:gd name="T27" fmla="*/ 0 h 6162"/>
                <a:gd name="T28" fmla="*/ 4988 w 6120"/>
                <a:gd name="T29" fmla="*/ 131 h 6162"/>
                <a:gd name="T30" fmla="*/ 4928 w 6120"/>
                <a:gd name="T31" fmla="*/ 153 h 6162"/>
                <a:gd name="T32" fmla="*/ 4868 w 6120"/>
                <a:gd name="T33" fmla="*/ 175 h 6162"/>
                <a:gd name="T34" fmla="*/ 3700 w 6120"/>
                <a:gd name="T35" fmla="*/ 791 h 6162"/>
                <a:gd name="T36" fmla="*/ 3593 w 6120"/>
                <a:gd name="T37" fmla="*/ 862 h 6162"/>
                <a:gd name="T38" fmla="*/ 3473 w 6120"/>
                <a:gd name="T39" fmla="*/ 946 h 6162"/>
                <a:gd name="T40" fmla="*/ 2108 w 6120"/>
                <a:gd name="T41" fmla="*/ 2103 h 6162"/>
                <a:gd name="T42" fmla="*/ 951 w 6120"/>
                <a:gd name="T43" fmla="*/ 3469 h 6162"/>
                <a:gd name="T44" fmla="*/ 866 w 6120"/>
                <a:gd name="T45" fmla="*/ 3588 h 6162"/>
                <a:gd name="T46" fmla="*/ 796 w 6120"/>
                <a:gd name="T47" fmla="*/ 3695 h 6162"/>
                <a:gd name="T48" fmla="*/ 180 w 6120"/>
                <a:gd name="T49" fmla="*/ 4863 h 6162"/>
                <a:gd name="T50" fmla="*/ 157 w 6120"/>
                <a:gd name="T51" fmla="*/ 4924 h 6162"/>
                <a:gd name="T52" fmla="*/ 136 w 6120"/>
                <a:gd name="T53" fmla="*/ 4983 h 6162"/>
                <a:gd name="T54" fmla="*/ 0 w 6120"/>
                <a:gd name="T55" fmla="*/ 5601 h 6162"/>
                <a:gd name="T56" fmla="*/ 9 w 6120"/>
                <a:gd name="T57" fmla="*/ 5631 h 6162"/>
                <a:gd name="T58" fmla="*/ 39 w 6120"/>
                <a:gd name="T59" fmla="*/ 5719 h 6162"/>
                <a:gd name="T60" fmla="*/ 69 w 6120"/>
                <a:gd name="T61" fmla="*/ 5799 h 6162"/>
                <a:gd name="T62" fmla="*/ 225 w 6120"/>
                <a:gd name="T63" fmla="*/ 6162 h 6162"/>
                <a:gd name="T64" fmla="*/ 282 w 6120"/>
                <a:gd name="T65" fmla="*/ 5857 h 6162"/>
                <a:gd name="T66" fmla="*/ 297 w 6120"/>
                <a:gd name="T67" fmla="*/ 5799 h 6162"/>
                <a:gd name="T68" fmla="*/ 313 w 6120"/>
                <a:gd name="T69" fmla="*/ 5742 h 6162"/>
                <a:gd name="T70" fmla="*/ 671 w 6120"/>
                <a:gd name="T71" fmla="*/ 4877 h 6162"/>
                <a:gd name="T72" fmla="*/ 711 w 6120"/>
                <a:gd name="T73" fmla="*/ 4802 h 6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20" h="6162">
                  <a:moveTo>
                    <a:pt x="711" y="4802"/>
                  </a:moveTo>
                  <a:cubicBezTo>
                    <a:pt x="726" y="4775"/>
                    <a:pt x="740" y="4748"/>
                    <a:pt x="755" y="4721"/>
                  </a:cubicBezTo>
                  <a:cubicBezTo>
                    <a:pt x="1151" y="4012"/>
                    <a:pt x="1746" y="3234"/>
                    <a:pt x="2492" y="2487"/>
                  </a:cubicBezTo>
                  <a:cubicBezTo>
                    <a:pt x="3239" y="1741"/>
                    <a:pt x="4017" y="1146"/>
                    <a:pt x="4726" y="750"/>
                  </a:cubicBezTo>
                  <a:cubicBezTo>
                    <a:pt x="4753" y="735"/>
                    <a:pt x="4780" y="721"/>
                    <a:pt x="4807" y="706"/>
                  </a:cubicBezTo>
                  <a:cubicBezTo>
                    <a:pt x="4832" y="693"/>
                    <a:pt x="4857" y="679"/>
                    <a:pt x="4883" y="666"/>
                  </a:cubicBezTo>
                  <a:cubicBezTo>
                    <a:pt x="5189" y="506"/>
                    <a:pt x="5480" y="385"/>
                    <a:pt x="5747" y="308"/>
                  </a:cubicBezTo>
                  <a:cubicBezTo>
                    <a:pt x="5766" y="302"/>
                    <a:pt x="5785" y="297"/>
                    <a:pt x="5804" y="292"/>
                  </a:cubicBezTo>
                  <a:cubicBezTo>
                    <a:pt x="5824" y="286"/>
                    <a:pt x="5843" y="281"/>
                    <a:pt x="5862" y="276"/>
                  </a:cubicBezTo>
                  <a:cubicBezTo>
                    <a:pt x="5951" y="254"/>
                    <a:pt x="6037" y="238"/>
                    <a:pt x="6120" y="226"/>
                  </a:cubicBezTo>
                  <a:cubicBezTo>
                    <a:pt x="6020" y="179"/>
                    <a:pt x="5919" y="136"/>
                    <a:pt x="5817" y="96"/>
                  </a:cubicBezTo>
                  <a:cubicBezTo>
                    <a:pt x="5791" y="86"/>
                    <a:pt x="5766" y="76"/>
                    <a:pt x="5740" y="67"/>
                  </a:cubicBezTo>
                  <a:cubicBezTo>
                    <a:pt x="5713" y="57"/>
                    <a:pt x="5686" y="47"/>
                    <a:pt x="5659" y="37"/>
                  </a:cubicBezTo>
                  <a:cubicBezTo>
                    <a:pt x="5620" y="24"/>
                    <a:pt x="5580" y="12"/>
                    <a:pt x="5541" y="0"/>
                  </a:cubicBezTo>
                  <a:cubicBezTo>
                    <a:pt x="5373" y="19"/>
                    <a:pt x="5187" y="62"/>
                    <a:pt x="4988" y="131"/>
                  </a:cubicBezTo>
                  <a:cubicBezTo>
                    <a:pt x="4969" y="137"/>
                    <a:pt x="4948" y="145"/>
                    <a:pt x="4928" y="153"/>
                  </a:cubicBezTo>
                  <a:cubicBezTo>
                    <a:pt x="4909" y="160"/>
                    <a:pt x="4888" y="168"/>
                    <a:pt x="4868" y="175"/>
                  </a:cubicBezTo>
                  <a:cubicBezTo>
                    <a:pt x="4509" y="311"/>
                    <a:pt x="4113" y="520"/>
                    <a:pt x="3700" y="791"/>
                  </a:cubicBezTo>
                  <a:cubicBezTo>
                    <a:pt x="3665" y="815"/>
                    <a:pt x="3629" y="837"/>
                    <a:pt x="3593" y="862"/>
                  </a:cubicBezTo>
                  <a:cubicBezTo>
                    <a:pt x="3554" y="889"/>
                    <a:pt x="3513" y="918"/>
                    <a:pt x="3473" y="946"/>
                  </a:cubicBezTo>
                  <a:cubicBezTo>
                    <a:pt x="3022" y="1264"/>
                    <a:pt x="2557" y="1653"/>
                    <a:pt x="2108" y="2103"/>
                  </a:cubicBezTo>
                  <a:cubicBezTo>
                    <a:pt x="1657" y="2553"/>
                    <a:pt x="1269" y="3017"/>
                    <a:pt x="951" y="3469"/>
                  </a:cubicBezTo>
                  <a:cubicBezTo>
                    <a:pt x="922" y="3509"/>
                    <a:pt x="893" y="3549"/>
                    <a:pt x="866" y="3588"/>
                  </a:cubicBezTo>
                  <a:cubicBezTo>
                    <a:pt x="842" y="3624"/>
                    <a:pt x="819" y="3660"/>
                    <a:pt x="796" y="3695"/>
                  </a:cubicBezTo>
                  <a:cubicBezTo>
                    <a:pt x="525" y="4108"/>
                    <a:pt x="316" y="4504"/>
                    <a:pt x="180" y="4863"/>
                  </a:cubicBezTo>
                  <a:cubicBezTo>
                    <a:pt x="173" y="4883"/>
                    <a:pt x="165" y="4904"/>
                    <a:pt x="157" y="4924"/>
                  </a:cubicBezTo>
                  <a:cubicBezTo>
                    <a:pt x="150" y="4943"/>
                    <a:pt x="142" y="4964"/>
                    <a:pt x="136" y="4983"/>
                  </a:cubicBezTo>
                  <a:cubicBezTo>
                    <a:pt x="58" y="5209"/>
                    <a:pt x="13" y="5416"/>
                    <a:pt x="0" y="5601"/>
                  </a:cubicBezTo>
                  <a:cubicBezTo>
                    <a:pt x="3" y="5611"/>
                    <a:pt x="6" y="5621"/>
                    <a:pt x="9" y="5631"/>
                  </a:cubicBezTo>
                  <a:cubicBezTo>
                    <a:pt x="19" y="5660"/>
                    <a:pt x="29" y="5690"/>
                    <a:pt x="39" y="5719"/>
                  </a:cubicBezTo>
                  <a:cubicBezTo>
                    <a:pt x="49" y="5746"/>
                    <a:pt x="59" y="5772"/>
                    <a:pt x="69" y="5799"/>
                  </a:cubicBezTo>
                  <a:cubicBezTo>
                    <a:pt x="116" y="5922"/>
                    <a:pt x="168" y="6043"/>
                    <a:pt x="225" y="6162"/>
                  </a:cubicBezTo>
                  <a:cubicBezTo>
                    <a:pt x="236" y="6065"/>
                    <a:pt x="255" y="5963"/>
                    <a:pt x="282" y="5857"/>
                  </a:cubicBezTo>
                  <a:cubicBezTo>
                    <a:pt x="286" y="5838"/>
                    <a:pt x="291" y="5819"/>
                    <a:pt x="297" y="5799"/>
                  </a:cubicBezTo>
                  <a:cubicBezTo>
                    <a:pt x="302" y="5780"/>
                    <a:pt x="307" y="5761"/>
                    <a:pt x="313" y="5742"/>
                  </a:cubicBezTo>
                  <a:cubicBezTo>
                    <a:pt x="390" y="5475"/>
                    <a:pt x="511" y="5184"/>
                    <a:pt x="671" y="4877"/>
                  </a:cubicBezTo>
                  <a:cubicBezTo>
                    <a:pt x="684" y="4852"/>
                    <a:pt x="698" y="4827"/>
                    <a:pt x="711" y="48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1800"/>
            </a:p>
          </p:txBody>
        </p:sp>
        <p:sp>
          <p:nvSpPr>
            <p:cNvPr id="27" name="Freeform 9">
              <a:extLst>
                <a:ext uri="{FF2B5EF4-FFF2-40B4-BE49-F238E27FC236}">
                  <a16:creationId xmlns:a16="http://schemas.microsoft.com/office/drawing/2014/main" id="{6EC9FAE3-1492-416A-BCFC-66F77187622F}"/>
                </a:ext>
              </a:extLst>
            </p:cNvPr>
            <p:cNvSpPr>
              <a:spLocks/>
            </p:cNvSpPr>
            <p:nvPr/>
          </p:nvSpPr>
          <p:spPr bwMode="auto">
            <a:xfrm>
              <a:off x="4160964" y="945558"/>
              <a:ext cx="4516544" cy="4545190"/>
            </a:xfrm>
            <a:custGeom>
              <a:avLst/>
              <a:gdLst>
                <a:gd name="T0" fmla="*/ 6710 w 6796"/>
                <a:gd name="T1" fmla="*/ 461 h 6838"/>
                <a:gd name="T2" fmla="*/ 6619 w 6796"/>
                <a:gd name="T3" fmla="*/ 375 h 6838"/>
                <a:gd name="T4" fmla="*/ 6553 w 6796"/>
                <a:gd name="T5" fmla="*/ 312 h 6838"/>
                <a:gd name="T6" fmla="*/ 6484 w 6796"/>
                <a:gd name="T7" fmla="*/ 252 h 6838"/>
                <a:gd name="T8" fmla="*/ 6170 w 6796"/>
                <a:gd name="T9" fmla="*/ 1 h 6838"/>
                <a:gd name="T10" fmla="*/ 6125 w 6796"/>
                <a:gd name="T11" fmla="*/ 0 h 6838"/>
                <a:gd name="T12" fmla="*/ 5991 w 6796"/>
                <a:gd name="T13" fmla="*/ 6 h 6838"/>
                <a:gd name="T14" fmla="*/ 5933 w 6796"/>
                <a:gd name="T15" fmla="*/ 11 h 6838"/>
                <a:gd name="T16" fmla="*/ 5874 w 6796"/>
                <a:gd name="T17" fmla="*/ 18 h 6838"/>
                <a:gd name="T18" fmla="*/ 5184 w 6796"/>
                <a:gd name="T19" fmla="*/ 205 h 6838"/>
                <a:gd name="T20" fmla="*/ 5119 w 6796"/>
                <a:gd name="T21" fmla="*/ 231 h 6838"/>
                <a:gd name="T22" fmla="*/ 5050 w 6796"/>
                <a:gd name="T23" fmla="*/ 259 h 6838"/>
                <a:gd name="T24" fmla="*/ 3758 w 6796"/>
                <a:gd name="T25" fmla="*/ 987 h 6838"/>
                <a:gd name="T26" fmla="*/ 3625 w 6796"/>
                <a:gd name="T27" fmla="*/ 1081 h 6838"/>
                <a:gd name="T28" fmla="*/ 3479 w 6796"/>
                <a:gd name="T29" fmla="*/ 1189 h 6838"/>
                <a:gd name="T30" fmla="*/ 2254 w 6796"/>
                <a:gd name="T31" fmla="*/ 2254 h 6838"/>
                <a:gd name="T32" fmla="*/ 1188 w 6796"/>
                <a:gd name="T33" fmla="*/ 3479 h 6838"/>
                <a:gd name="T34" fmla="*/ 1081 w 6796"/>
                <a:gd name="T35" fmla="*/ 3626 h 6838"/>
                <a:gd name="T36" fmla="*/ 987 w 6796"/>
                <a:gd name="T37" fmla="*/ 3758 h 6838"/>
                <a:gd name="T38" fmla="*/ 259 w 6796"/>
                <a:gd name="T39" fmla="*/ 5050 h 6838"/>
                <a:gd name="T40" fmla="*/ 231 w 6796"/>
                <a:gd name="T41" fmla="*/ 5119 h 6838"/>
                <a:gd name="T42" fmla="*/ 205 w 6796"/>
                <a:gd name="T43" fmla="*/ 5184 h 6838"/>
                <a:gd name="T44" fmla="*/ 18 w 6796"/>
                <a:gd name="T45" fmla="*/ 5874 h 6838"/>
                <a:gd name="T46" fmla="*/ 11 w 6796"/>
                <a:gd name="T47" fmla="*/ 5933 h 6838"/>
                <a:gd name="T48" fmla="*/ 6 w 6796"/>
                <a:gd name="T49" fmla="*/ 5991 h 6838"/>
                <a:gd name="T50" fmla="*/ 0 w 6796"/>
                <a:gd name="T51" fmla="*/ 6125 h 6838"/>
                <a:gd name="T52" fmla="*/ 3 w 6796"/>
                <a:gd name="T53" fmla="*/ 6220 h 6838"/>
                <a:gd name="T54" fmla="*/ 208 w 6796"/>
                <a:gd name="T55" fmla="*/ 6475 h 6838"/>
                <a:gd name="T56" fmla="*/ 270 w 6796"/>
                <a:gd name="T57" fmla="*/ 6547 h 6838"/>
                <a:gd name="T58" fmla="*/ 332 w 6796"/>
                <a:gd name="T59" fmla="*/ 6615 h 6838"/>
                <a:gd name="T60" fmla="*/ 442 w 6796"/>
                <a:gd name="T61" fmla="*/ 6729 h 6838"/>
                <a:gd name="T62" fmla="*/ 556 w 6796"/>
                <a:gd name="T63" fmla="*/ 6838 h 6838"/>
                <a:gd name="T64" fmla="*/ 548 w 6796"/>
                <a:gd name="T65" fmla="*/ 6702 h 6838"/>
                <a:gd name="T66" fmla="*/ 551 w 6796"/>
                <a:gd name="T67" fmla="*/ 6619 h 6838"/>
                <a:gd name="T68" fmla="*/ 556 w 6796"/>
                <a:gd name="T69" fmla="*/ 6560 h 6838"/>
                <a:gd name="T70" fmla="*/ 561 w 6796"/>
                <a:gd name="T71" fmla="*/ 6501 h 6838"/>
                <a:gd name="T72" fmla="*/ 700 w 6796"/>
                <a:gd name="T73" fmla="*/ 5918 h 6838"/>
                <a:gd name="T74" fmla="*/ 724 w 6796"/>
                <a:gd name="T75" fmla="*/ 5852 h 6838"/>
                <a:gd name="T76" fmla="*/ 750 w 6796"/>
                <a:gd name="T77" fmla="*/ 5782 h 6838"/>
                <a:gd name="T78" fmla="*/ 1285 w 6796"/>
                <a:gd name="T79" fmla="*/ 4735 h 6838"/>
                <a:gd name="T80" fmla="*/ 1353 w 6796"/>
                <a:gd name="T81" fmla="*/ 4628 h 6838"/>
                <a:gd name="T82" fmla="*/ 1430 w 6796"/>
                <a:gd name="T83" fmla="*/ 4511 h 6838"/>
                <a:gd name="T84" fmla="*/ 2828 w 6796"/>
                <a:gd name="T85" fmla="*/ 2828 h 6838"/>
                <a:gd name="T86" fmla="*/ 4511 w 6796"/>
                <a:gd name="T87" fmla="*/ 1430 h 6838"/>
                <a:gd name="T88" fmla="*/ 4627 w 6796"/>
                <a:gd name="T89" fmla="*/ 1354 h 6838"/>
                <a:gd name="T90" fmla="*/ 4735 w 6796"/>
                <a:gd name="T91" fmla="*/ 1285 h 6838"/>
                <a:gd name="T92" fmla="*/ 5781 w 6796"/>
                <a:gd name="T93" fmla="*/ 750 h 6838"/>
                <a:gd name="T94" fmla="*/ 5851 w 6796"/>
                <a:gd name="T95" fmla="*/ 724 h 6838"/>
                <a:gd name="T96" fmla="*/ 5918 w 6796"/>
                <a:gd name="T97" fmla="*/ 700 h 6838"/>
                <a:gd name="T98" fmla="*/ 6501 w 6796"/>
                <a:gd name="T99" fmla="*/ 561 h 6838"/>
                <a:gd name="T100" fmla="*/ 6560 w 6796"/>
                <a:gd name="T101" fmla="*/ 556 h 6838"/>
                <a:gd name="T102" fmla="*/ 6620 w 6796"/>
                <a:gd name="T103" fmla="*/ 551 h 6838"/>
                <a:gd name="T104" fmla="*/ 6702 w 6796"/>
                <a:gd name="T105" fmla="*/ 548 h 6838"/>
                <a:gd name="T106" fmla="*/ 6796 w 6796"/>
                <a:gd name="T107" fmla="*/ 552 h 6838"/>
                <a:gd name="T108" fmla="*/ 6710 w 6796"/>
                <a:gd name="T109" fmla="*/ 461 h 6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796" h="6838">
                  <a:moveTo>
                    <a:pt x="6710" y="461"/>
                  </a:moveTo>
                  <a:cubicBezTo>
                    <a:pt x="6680" y="431"/>
                    <a:pt x="6649" y="403"/>
                    <a:pt x="6619" y="375"/>
                  </a:cubicBezTo>
                  <a:cubicBezTo>
                    <a:pt x="6597" y="354"/>
                    <a:pt x="6575" y="332"/>
                    <a:pt x="6553" y="312"/>
                  </a:cubicBezTo>
                  <a:cubicBezTo>
                    <a:pt x="6530" y="291"/>
                    <a:pt x="6507" y="272"/>
                    <a:pt x="6484" y="252"/>
                  </a:cubicBezTo>
                  <a:cubicBezTo>
                    <a:pt x="6382" y="163"/>
                    <a:pt x="6278" y="79"/>
                    <a:pt x="6170" y="1"/>
                  </a:cubicBezTo>
                  <a:cubicBezTo>
                    <a:pt x="6155" y="1"/>
                    <a:pt x="6140" y="0"/>
                    <a:pt x="6125" y="0"/>
                  </a:cubicBezTo>
                  <a:cubicBezTo>
                    <a:pt x="6082" y="0"/>
                    <a:pt x="6037" y="2"/>
                    <a:pt x="5991" y="6"/>
                  </a:cubicBezTo>
                  <a:cubicBezTo>
                    <a:pt x="5972" y="7"/>
                    <a:pt x="5953" y="9"/>
                    <a:pt x="5933" y="11"/>
                  </a:cubicBezTo>
                  <a:cubicBezTo>
                    <a:pt x="5914" y="13"/>
                    <a:pt x="5894" y="15"/>
                    <a:pt x="5874" y="18"/>
                  </a:cubicBezTo>
                  <a:cubicBezTo>
                    <a:pt x="5664" y="47"/>
                    <a:pt x="5432" y="110"/>
                    <a:pt x="5184" y="205"/>
                  </a:cubicBezTo>
                  <a:cubicBezTo>
                    <a:pt x="5162" y="214"/>
                    <a:pt x="5141" y="222"/>
                    <a:pt x="5119" y="231"/>
                  </a:cubicBezTo>
                  <a:cubicBezTo>
                    <a:pt x="5096" y="240"/>
                    <a:pt x="5073" y="249"/>
                    <a:pt x="5050" y="259"/>
                  </a:cubicBezTo>
                  <a:cubicBezTo>
                    <a:pt x="4649" y="427"/>
                    <a:pt x="4210" y="673"/>
                    <a:pt x="3758" y="987"/>
                  </a:cubicBezTo>
                  <a:cubicBezTo>
                    <a:pt x="3714" y="1018"/>
                    <a:pt x="3670" y="1049"/>
                    <a:pt x="3625" y="1081"/>
                  </a:cubicBezTo>
                  <a:cubicBezTo>
                    <a:pt x="3576" y="1116"/>
                    <a:pt x="3528" y="1152"/>
                    <a:pt x="3479" y="1189"/>
                  </a:cubicBezTo>
                  <a:cubicBezTo>
                    <a:pt x="3071" y="1494"/>
                    <a:pt x="2657" y="1851"/>
                    <a:pt x="2254" y="2254"/>
                  </a:cubicBezTo>
                  <a:cubicBezTo>
                    <a:pt x="1851" y="2657"/>
                    <a:pt x="1494" y="3071"/>
                    <a:pt x="1188" y="3479"/>
                  </a:cubicBezTo>
                  <a:cubicBezTo>
                    <a:pt x="1151" y="3528"/>
                    <a:pt x="1116" y="3577"/>
                    <a:pt x="1081" y="3626"/>
                  </a:cubicBezTo>
                  <a:cubicBezTo>
                    <a:pt x="1049" y="3670"/>
                    <a:pt x="1017" y="3714"/>
                    <a:pt x="987" y="3758"/>
                  </a:cubicBezTo>
                  <a:cubicBezTo>
                    <a:pt x="673" y="4210"/>
                    <a:pt x="427" y="4649"/>
                    <a:pt x="259" y="5050"/>
                  </a:cubicBezTo>
                  <a:cubicBezTo>
                    <a:pt x="249" y="5073"/>
                    <a:pt x="240" y="5096"/>
                    <a:pt x="231" y="5119"/>
                  </a:cubicBezTo>
                  <a:cubicBezTo>
                    <a:pt x="222" y="5141"/>
                    <a:pt x="214" y="5162"/>
                    <a:pt x="205" y="5184"/>
                  </a:cubicBezTo>
                  <a:cubicBezTo>
                    <a:pt x="110" y="5432"/>
                    <a:pt x="47" y="5665"/>
                    <a:pt x="18" y="5874"/>
                  </a:cubicBezTo>
                  <a:cubicBezTo>
                    <a:pt x="15" y="5894"/>
                    <a:pt x="13" y="5914"/>
                    <a:pt x="11" y="5933"/>
                  </a:cubicBezTo>
                  <a:cubicBezTo>
                    <a:pt x="8" y="5953"/>
                    <a:pt x="7" y="5972"/>
                    <a:pt x="6" y="5991"/>
                  </a:cubicBezTo>
                  <a:cubicBezTo>
                    <a:pt x="2" y="6037"/>
                    <a:pt x="0" y="6082"/>
                    <a:pt x="0" y="6125"/>
                  </a:cubicBezTo>
                  <a:cubicBezTo>
                    <a:pt x="0" y="6157"/>
                    <a:pt x="1" y="6189"/>
                    <a:pt x="3" y="6220"/>
                  </a:cubicBezTo>
                  <a:cubicBezTo>
                    <a:pt x="67" y="6307"/>
                    <a:pt x="136" y="6392"/>
                    <a:pt x="208" y="6475"/>
                  </a:cubicBezTo>
                  <a:cubicBezTo>
                    <a:pt x="228" y="6499"/>
                    <a:pt x="249" y="6524"/>
                    <a:pt x="270" y="6547"/>
                  </a:cubicBezTo>
                  <a:cubicBezTo>
                    <a:pt x="290" y="6570"/>
                    <a:pt x="312" y="6592"/>
                    <a:pt x="332" y="6615"/>
                  </a:cubicBezTo>
                  <a:cubicBezTo>
                    <a:pt x="368" y="6653"/>
                    <a:pt x="404" y="6692"/>
                    <a:pt x="442" y="6729"/>
                  </a:cubicBezTo>
                  <a:cubicBezTo>
                    <a:pt x="479" y="6767"/>
                    <a:pt x="517" y="6802"/>
                    <a:pt x="556" y="6838"/>
                  </a:cubicBezTo>
                  <a:cubicBezTo>
                    <a:pt x="551" y="6794"/>
                    <a:pt x="548" y="6749"/>
                    <a:pt x="548" y="6702"/>
                  </a:cubicBezTo>
                  <a:cubicBezTo>
                    <a:pt x="548" y="6675"/>
                    <a:pt x="550" y="6647"/>
                    <a:pt x="551" y="6619"/>
                  </a:cubicBezTo>
                  <a:cubicBezTo>
                    <a:pt x="552" y="6600"/>
                    <a:pt x="554" y="6580"/>
                    <a:pt x="556" y="6560"/>
                  </a:cubicBezTo>
                  <a:cubicBezTo>
                    <a:pt x="557" y="6541"/>
                    <a:pt x="559" y="6521"/>
                    <a:pt x="561" y="6501"/>
                  </a:cubicBezTo>
                  <a:cubicBezTo>
                    <a:pt x="582" y="6322"/>
                    <a:pt x="629" y="6126"/>
                    <a:pt x="700" y="5918"/>
                  </a:cubicBezTo>
                  <a:cubicBezTo>
                    <a:pt x="708" y="5896"/>
                    <a:pt x="716" y="5874"/>
                    <a:pt x="724" y="5852"/>
                  </a:cubicBezTo>
                  <a:cubicBezTo>
                    <a:pt x="733" y="5828"/>
                    <a:pt x="741" y="5805"/>
                    <a:pt x="750" y="5782"/>
                  </a:cubicBezTo>
                  <a:cubicBezTo>
                    <a:pt x="875" y="5455"/>
                    <a:pt x="1056" y="5102"/>
                    <a:pt x="1285" y="4735"/>
                  </a:cubicBezTo>
                  <a:cubicBezTo>
                    <a:pt x="1308" y="4699"/>
                    <a:pt x="1330" y="4664"/>
                    <a:pt x="1353" y="4628"/>
                  </a:cubicBezTo>
                  <a:cubicBezTo>
                    <a:pt x="1378" y="4589"/>
                    <a:pt x="1404" y="4550"/>
                    <a:pt x="1430" y="4511"/>
                  </a:cubicBezTo>
                  <a:cubicBezTo>
                    <a:pt x="1799" y="3961"/>
                    <a:pt x="2271" y="3385"/>
                    <a:pt x="2828" y="2828"/>
                  </a:cubicBezTo>
                  <a:cubicBezTo>
                    <a:pt x="3385" y="2271"/>
                    <a:pt x="3960" y="1799"/>
                    <a:pt x="4511" y="1430"/>
                  </a:cubicBezTo>
                  <a:cubicBezTo>
                    <a:pt x="4550" y="1404"/>
                    <a:pt x="4589" y="1379"/>
                    <a:pt x="4627" y="1354"/>
                  </a:cubicBezTo>
                  <a:cubicBezTo>
                    <a:pt x="4663" y="1330"/>
                    <a:pt x="4699" y="1308"/>
                    <a:pt x="4735" y="1285"/>
                  </a:cubicBezTo>
                  <a:cubicBezTo>
                    <a:pt x="5102" y="1056"/>
                    <a:pt x="5455" y="875"/>
                    <a:pt x="5781" y="750"/>
                  </a:cubicBezTo>
                  <a:cubicBezTo>
                    <a:pt x="5805" y="741"/>
                    <a:pt x="5828" y="733"/>
                    <a:pt x="5851" y="724"/>
                  </a:cubicBezTo>
                  <a:cubicBezTo>
                    <a:pt x="5874" y="716"/>
                    <a:pt x="5896" y="708"/>
                    <a:pt x="5918" y="700"/>
                  </a:cubicBezTo>
                  <a:cubicBezTo>
                    <a:pt x="6126" y="629"/>
                    <a:pt x="6322" y="582"/>
                    <a:pt x="6501" y="561"/>
                  </a:cubicBezTo>
                  <a:cubicBezTo>
                    <a:pt x="6521" y="559"/>
                    <a:pt x="6541" y="557"/>
                    <a:pt x="6560" y="556"/>
                  </a:cubicBezTo>
                  <a:cubicBezTo>
                    <a:pt x="6580" y="554"/>
                    <a:pt x="6600" y="552"/>
                    <a:pt x="6620" y="551"/>
                  </a:cubicBezTo>
                  <a:cubicBezTo>
                    <a:pt x="6647" y="550"/>
                    <a:pt x="6675" y="549"/>
                    <a:pt x="6702" y="548"/>
                  </a:cubicBezTo>
                  <a:cubicBezTo>
                    <a:pt x="6734" y="548"/>
                    <a:pt x="6765" y="550"/>
                    <a:pt x="6796" y="552"/>
                  </a:cubicBezTo>
                  <a:cubicBezTo>
                    <a:pt x="6767" y="521"/>
                    <a:pt x="6739" y="491"/>
                    <a:pt x="6710" y="4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1800"/>
            </a:p>
          </p:txBody>
        </p:sp>
        <p:sp>
          <p:nvSpPr>
            <p:cNvPr id="28" name="Freeform 10">
              <a:extLst>
                <a:ext uri="{FF2B5EF4-FFF2-40B4-BE49-F238E27FC236}">
                  <a16:creationId xmlns:a16="http://schemas.microsoft.com/office/drawing/2014/main" id="{54CE5925-9480-4C02-A7F9-3B31E37C904C}"/>
                </a:ext>
              </a:extLst>
            </p:cNvPr>
            <p:cNvSpPr>
              <a:spLocks/>
            </p:cNvSpPr>
            <p:nvPr/>
          </p:nvSpPr>
          <p:spPr bwMode="auto">
            <a:xfrm>
              <a:off x="3956348" y="740943"/>
              <a:ext cx="4194616" cy="4225990"/>
            </a:xfrm>
            <a:custGeom>
              <a:avLst/>
              <a:gdLst>
                <a:gd name="T0" fmla="*/ 1126 w 6312"/>
                <a:gd name="T1" fmla="*/ 4101 h 6355"/>
                <a:gd name="T2" fmla="*/ 1212 w 6312"/>
                <a:gd name="T3" fmla="*/ 3976 h 6355"/>
                <a:gd name="T4" fmla="*/ 2479 w 6312"/>
                <a:gd name="T5" fmla="*/ 2477 h 6355"/>
                <a:gd name="T6" fmla="*/ 3978 w 6312"/>
                <a:gd name="T7" fmla="*/ 1210 h 6355"/>
                <a:gd name="T8" fmla="*/ 4103 w 6312"/>
                <a:gd name="T9" fmla="*/ 1124 h 6355"/>
                <a:gd name="T10" fmla="*/ 4216 w 6312"/>
                <a:gd name="T11" fmla="*/ 1049 h 6355"/>
                <a:gd name="T12" fmla="*/ 5392 w 6312"/>
                <a:gd name="T13" fmla="*/ 423 h 6355"/>
                <a:gd name="T14" fmla="*/ 5456 w 6312"/>
                <a:gd name="T15" fmla="*/ 399 h 6355"/>
                <a:gd name="T16" fmla="*/ 5518 w 6312"/>
                <a:gd name="T17" fmla="*/ 376 h 6355"/>
                <a:gd name="T18" fmla="*/ 6164 w 6312"/>
                <a:gd name="T19" fmla="*/ 208 h 6355"/>
                <a:gd name="T20" fmla="*/ 6222 w 6312"/>
                <a:gd name="T21" fmla="*/ 201 h 6355"/>
                <a:gd name="T22" fmla="*/ 6281 w 6312"/>
                <a:gd name="T23" fmla="*/ 195 h 6355"/>
                <a:gd name="T24" fmla="*/ 6312 w 6312"/>
                <a:gd name="T25" fmla="*/ 193 h 6355"/>
                <a:gd name="T26" fmla="*/ 6276 w 6312"/>
                <a:gd name="T27" fmla="*/ 170 h 6355"/>
                <a:gd name="T28" fmla="*/ 6203 w 6312"/>
                <a:gd name="T29" fmla="*/ 124 h 6355"/>
                <a:gd name="T30" fmla="*/ 6122 w 6312"/>
                <a:gd name="T31" fmla="*/ 74 h 6355"/>
                <a:gd name="T32" fmla="*/ 5988 w 6312"/>
                <a:gd name="T33" fmla="*/ 0 h 6355"/>
                <a:gd name="T34" fmla="*/ 5542 w 6312"/>
                <a:gd name="T35" fmla="*/ 68 h 6355"/>
                <a:gd name="T36" fmla="*/ 5484 w 6312"/>
                <a:gd name="T37" fmla="*/ 83 h 6355"/>
                <a:gd name="T38" fmla="*/ 5425 w 6312"/>
                <a:gd name="T39" fmla="*/ 101 h 6355"/>
                <a:gd name="T40" fmla="*/ 4488 w 6312"/>
                <a:gd name="T41" fmla="*/ 508 h 6355"/>
                <a:gd name="T42" fmla="*/ 4405 w 6312"/>
                <a:gd name="T43" fmla="*/ 555 h 6355"/>
                <a:gd name="T44" fmla="*/ 4316 w 6312"/>
                <a:gd name="T45" fmla="*/ 606 h 6355"/>
                <a:gd name="T46" fmla="*/ 2245 w 6312"/>
                <a:gd name="T47" fmla="*/ 2243 h 6355"/>
                <a:gd name="T48" fmla="*/ 608 w 6312"/>
                <a:gd name="T49" fmla="*/ 4314 h 6355"/>
                <a:gd name="T50" fmla="*/ 557 w 6312"/>
                <a:gd name="T51" fmla="*/ 4404 h 6355"/>
                <a:gd name="T52" fmla="*/ 510 w 6312"/>
                <a:gd name="T53" fmla="*/ 4486 h 6355"/>
                <a:gd name="T54" fmla="*/ 103 w 6312"/>
                <a:gd name="T55" fmla="*/ 5423 h 6355"/>
                <a:gd name="T56" fmla="*/ 85 w 6312"/>
                <a:gd name="T57" fmla="*/ 5482 h 6355"/>
                <a:gd name="T58" fmla="*/ 70 w 6312"/>
                <a:gd name="T59" fmla="*/ 5540 h 6355"/>
                <a:gd name="T60" fmla="*/ 1 w 6312"/>
                <a:gd name="T61" fmla="*/ 6034 h 6355"/>
                <a:gd name="T62" fmla="*/ 1 w 6312"/>
                <a:gd name="T63" fmla="*/ 6039 h 6355"/>
                <a:gd name="T64" fmla="*/ 36 w 6312"/>
                <a:gd name="T65" fmla="*/ 6102 h 6355"/>
                <a:gd name="T66" fmla="*/ 85 w 6312"/>
                <a:gd name="T67" fmla="*/ 6186 h 6355"/>
                <a:gd name="T68" fmla="*/ 134 w 6312"/>
                <a:gd name="T69" fmla="*/ 6264 h 6355"/>
                <a:gd name="T70" fmla="*/ 192 w 6312"/>
                <a:gd name="T71" fmla="*/ 6355 h 6355"/>
                <a:gd name="T72" fmla="*/ 197 w 6312"/>
                <a:gd name="T73" fmla="*/ 6279 h 6355"/>
                <a:gd name="T74" fmla="*/ 203 w 6312"/>
                <a:gd name="T75" fmla="*/ 6220 h 6355"/>
                <a:gd name="T76" fmla="*/ 210 w 6312"/>
                <a:gd name="T77" fmla="*/ 6162 h 6355"/>
                <a:gd name="T78" fmla="*/ 378 w 6312"/>
                <a:gd name="T79" fmla="*/ 5516 h 6355"/>
                <a:gd name="T80" fmla="*/ 400 w 6312"/>
                <a:gd name="T81" fmla="*/ 5454 h 6355"/>
                <a:gd name="T82" fmla="*/ 425 w 6312"/>
                <a:gd name="T83" fmla="*/ 5390 h 6355"/>
                <a:gd name="T84" fmla="*/ 1050 w 6312"/>
                <a:gd name="T85" fmla="*/ 4214 h 6355"/>
                <a:gd name="T86" fmla="*/ 1126 w 6312"/>
                <a:gd name="T87" fmla="*/ 4101 h 6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2" h="6355">
                  <a:moveTo>
                    <a:pt x="1126" y="4101"/>
                  </a:moveTo>
                  <a:cubicBezTo>
                    <a:pt x="1154" y="4060"/>
                    <a:pt x="1183" y="4018"/>
                    <a:pt x="1212" y="3976"/>
                  </a:cubicBezTo>
                  <a:cubicBezTo>
                    <a:pt x="1559" y="3480"/>
                    <a:pt x="1986" y="2971"/>
                    <a:pt x="2479" y="2477"/>
                  </a:cubicBezTo>
                  <a:cubicBezTo>
                    <a:pt x="2973" y="1984"/>
                    <a:pt x="3482" y="1557"/>
                    <a:pt x="3978" y="1210"/>
                  </a:cubicBezTo>
                  <a:cubicBezTo>
                    <a:pt x="4020" y="1181"/>
                    <a:pt x="4061" y="1152"/>
                    <a:pt x="4103" y="1124"/>
                  </a:cubicBezTo>
                  <a:cubicBezTo>
                    <a:pt x="4141" y="1098"/>
                    <a:pt x="4179" y="1073"/>
                    <a:pt x="4216" y="1049"/>
                  </a:cubicBezTo>
                  <a:cubicBezTo>
                    <a:pt x="4626" y="780"/>
                    <a:pt x="5024" y="569"/>
                    <a:pt x="5392" y="423"/>
                  </a:cubicBezTo>
                  <a:cubicBezTo>
                    <a:pt x="5414" y="415"/>
                    <a:pt x="5435" y="407"/>
                    <a:pt x="5456" y="399"/>
                  </a:cubicBezTo>
                  <a:cubicBezTo>
                    <a:pt x="5477" y="391"/>
                    <a:pt x="5498" y="383"/>
                    <a:pt x="5518" y="376"/>
                  </a:cubicBezTo>
                  <a:cubicBezTo>
                    <a:pt x="5747" y="293"/>
                    <a:pt x="5964" y="236"/>
                    <a:pt x="6164" y="208"/>
                  </a:cubicBezTo>
                  <a:cubicBezTo>
                    <a:pt x="6183" y="206"/>
                    <a:pt x="6203" y="203"/>
                    <a:pt x="6222" y="201"/>
                  </a:cubicBezTo>
                  <a:cubicBezTo>
                    <a:pt x="6242" y="199"/>
                    <a:pt x="6262" y="197"/>
                    <a:pt x="6281" y="195"/>
                  </a:cubicBezTo>
                  <a:cubicBezTo>
                    <a:pt x="6292" y="194"/>
                    <a:pt x="6302" y="193"/>
                    <a:pt x="6312" y="193"/>
                  </a:cubicBezTo>
                  <a:cubicBezTo>
                    <a:pt x="6300" y="185"/>
                    <a:pt x="6288" y="178"/>
                    <a:pt x="6276" y="170"/>
                  </a:cubicBezTo>
                  <a:cubicBezTo>
                    <a:pt x="6252" y="155"/>
                    <a:pt x="6228" y="139"/>
                    <a:pt x="6203" y="124"/>
                  </a:cubicBezTo>
                  <a:cubicBezTo>
                    <a:pt x="6176" y="108"/>
                    <a:pt x="6149" y="90"/>
                    <a:pt x="6122" y="74"/>
                  </a:cubicBezTo>
                  <a:cubicBezTo>
                    <a:pt x="6077" y="49"/>
                    <a:pt x="6032" y="24"/>
                    <a:pt x="5988" y="0"/>
                  </a:cubicBezTo>
                  <a:cubicBezTo>
                    <a:pt x="5852" y="4"/>
                    <a:pt x="5703" y="27"/>
                    <a:pt x="5542" y="68"/>
                  </a:cubicBezTo>
                  <a:cubicBezTo>
                    <a:pt x="5523" y="73"/>
                    <a:pt x="5503" y="78"/>
                    <a:pt x="5484" y="83"/>
                  </a:cubicBezTo>
                  <a:cubicBezTo>
                    <a:pt x="5464" y="89"/>
                    <a:pt x="5445" y="95"/>
                    <a:pt x="5425" y="101"/>
                  </a:cubicBezTo>
                  <a:cubicBezTo>
                    <a:pt x="5140" y="186"/>
                    <a:pt x="4823" y="324"/>
                    <a:pt x="4488" y="508"/>
                  </a:cubicBezTo>
                  <a:cubicBezTo>
                    <a:pt x="4461" y="523"/>
                    <a:pt x="4433" y="539"/>
                    <a:pt x="4405" y="555"/>
                  </a:cubicBezTo>
                  <a:cubicBezTo>
                    <a:pt x="4376" y="572"/>
                    <a:pt x="4346" y="588"/>
                    <a:pt x="4316" y="606"/>
                  </a:cubicBezTo>
                  <a:cubicBezTo>
                    <a:pt x="3656" y="993"/>
                    <a:pt x="2935" y="1552"/>
                    <a:pt x="2245" y="2243"/>
                  </a:cubicBezTo>
                  <a:cubicBezTo>
                    <a:pt x="1554" y="2933"/>
                    <a:pt x="995" y="3654"/>
                    <a:pt x="608" y="4314"/>
                  </a:cubicBezTo>
                  <a:cubicBezTo>
                    <a:pt x="590" y="4344"/>
                    <a:pt x="573" y="4374"/>
                    <a:pt x="557" y="4404"/>
                  </a:cubicBezTo>
                  <a:cubicBezTo>
                    <a:pt x="541" y="4431"/>
                    <a:pt x="525" y="4459"/>
                    <a:pt x="510" y="4486"/>
                  </a:cubicBezTo>
                  <a:cubicBezTo>
                    <a:pt x="326" y="4822"/>
                    <a:pt x="188" y="5138"/>
                    <a:pt x="103" y="5423"/>
                  </a:cubicBezTo>
                  <a:cubicBezTo>
                    <a:pt x="97" y="5443"/>
                    <a:pt x="91" y="5462"/>
                    <a:pt x="85" y="5482"/>
                  </a:cubicBezTo>
                  <a:cubicBezTo>
                    <a:pt x="80" y="5501"/>
                    <a:pt x="75" y="5521"/>
                    <a:pt x="70" y="5540"/>
                  </a:cubicBezTo>
                  <a:cubicBezTo>
                    <a:pt x="24" y="5720"/>
                    <a:pt x="0" y="5886"/>
                    <a:pt x="1" y="6034"/>
                  </a:cubicBezTo>
                  <a:cubicBezTo>
                    <a:pt x="1" y="6035"/>
                    <a:pt x="1" y="6037"/>
                    <a:pt x="1" y="6039"/>
                  </a:cubicBezTo>
                  <a:cubicBezTo>
                    <a:pt x="12" y="6060"/>
                    <a:pt x="24" y="6081"/>
                    <a:pt x="36" y="6102"/>
                  </a:cubicBezTo>
                  <a:cubicBezTo>
                    <a:pt x="52" y="6130"/>
                    <a:pt x="68" y="6158"/>
                    <a:pt x="85" y="6186"/>
                  </a:cubicBezTo>
                  <a:cubicBezTo>
                    <a:pt x="101" y="6212"/>
                    <a:pt x="117" y="6238"/>
                    <a:pt x="134" y="6264"/>
                  </a:cubicBezTo>
                  <a:cubicBezTo>
                    <a:pt x="153" y="6294"/>
                    <a:pt x="172" y="6325"/>
                    <a:pt x="192" y="6355"/>
                  </a:cubicBezTo>
                  <a:cubicBezTo>
                    <a:pt x="193" y="6330"/>
                    <a:pt x="195" y="6305"/>
                    <a:pt x="197" y="6279"/>
                  </a:cubicBezTo>
                  <a:cubicBezTo>
                    <a:pt x="199" y="6260"/>
                    <a:pt x="201" y="6240"/>
                    <a:pt x="203" y="6220"/>
                  </a:cubicBezTo>
                  <a:cubicBezTo>
                    <a:pt x="205" y="6201"/>
                    <a:pt x="208" y="6181"/>
                    <a:pt x="210" y="6162"/>
                  </a:cubicBezTo>
                  <a:cubicBezTo>
                    <a:pt x="238" y="5962"/>
                    <a:pt x="295" y="5745"/>
                    <a:pt x="378" y="5516"/>
                  </a:cubicBezTo>
                  <a:cubicBezTo>
                    <a:pt x="385" y="5496"/>
                    <a:pt x="392" y="5475"/>
                    <a:pt x="400" y="5454"/>
                  </a:cubicBezTo>
                  <a:cubicBezTo>
                    <a:pt x="408" y="5433"/>
                    <a:pt x="417" y="5412"/>
                    <a:pt x="425" y="5390"/>
                  </a:cubicBezTo>
                  <a:cubicBezTo>
                    <a:pt x="571" y="5022"/>
                    <a:pt x="782" y="4624"/>
                    <a:pt x="1050" y="4214"/>
                  </a:cubicBezTo>
                  <a:cubicBezTo>
                    <a:pt x="1075" y="4177"/>
                    <a:pt x="1100" y="4139"/>
                    <a:pt x="1126" y="410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1800"/>
            </a:p>
          </p:txBody>
        </p:sp>
        <p:sp>
          <p:nvSpPr>
            <p:cNvPr id="29" name="Freeform 11">
              <a:extLst>
                <a:ext uri="{FF2B5EF4-FFF2-40B4-BE49-F238E27FC236}">
                  <a16:creationId xmlns:a16="http://schemas.microsoft.com/office/drawing/2014/main" id="{9BF6A145-B04A-4D96-B42A-F9F9564194A0}"/>
                </a:ext>
              </a:extLst>
            </p:cNvPr>
            <p:cNvSpPr>
              <a:spLocks/>
            </p:cNvSpPr>
            <p:nvPr/>
          </p:nvSpPr>
          <p:spPr bwMode="auto">
            <a:xfrm>
              <a:off x="4604297" y="1387527"/>
              <a:ext cx="4412873" cy="4441519"/>
            </a:xfrm>
            <a:custGeom>
              <a:avLst/>
              <a:gdLst>
                <a:gd name="T0" fmla="*/ 4682 w 6640"/>
                <a:gd name="T1" fmla="*/ 1069 h 6679"/>
                <a:gd name="T2" fmla="*/ 4782 w 6640"/>
                <a:gd name="T3" fmla="*/ 1013 h 6679"/>
                <a:gd name="T4" fmla="*/ 4876 w 6640"/>
                <a:gd name="T5" fmla="*/ 962 h 6679"/>
                <a:gd name="T6" fmla="*/ 5665 w 6640"/>
                <a:gd name="T7" fmla="*/ 626 h 6679"/>
                <a:gd name="T8" fmla="*/ 5735 w 6640"/>
                <a:gd name="T9" fmla="*/ 605 h 6679"/>
                <a:gd name="T10" fmla="*/ 5804 w 6640"/>
                <a:gd name="T11" fmla="*/ 586 h 6679"/>
                <a:gd name="T12" fmla="*/ 6300 w 6640"/>
                <a:gd name="T13" fmla="*/ 507 h 6679"/>
                <a:gd name="T14" fmla="*/ 6355 w 6640"/>
                <a:gd name="T15" fmla="*/ 505 h 6679"/>
                <a:gd name="T16" fmla="*/ 6360 w 6640"/>
                <a:gd name="T17" fmla="*/ 505 h 6679"/>
                <a:gd name="T18" fmla="*/ 6419 w 6640"/>
                <a:gd name="T19" fmla="*/ 507 h 6679"/>
                <a:gd name="T20" fmla="*/ 6640 w 6640"/>
                <a:gd name="T21" fmla="*/ 536 h 6679"/>
                <a:gd name="T22" fmla="*/ 6443 w 6640"/>
                <a:gd name="T23" fmla="*/ 254 h 6679"/>
                <a:gd name="T24" fmla="*/ 6385 w 6640"/>
                <a:gd name="T25" fmla="*/ 179 h 6679"/>
                <a:gd name="T26" fmla="*/ 6323 w 6640"/>
                <a:gd name="T27" fmla="*/ 102 h 6679"/>
                <a:gd name="T28" fmla="*/ 6253 w 6640"/>
                <a:gd name="T29" fmla="*/ 21 h 6679"/>
                <a:gd name="T30" fmla="*/ 6036 w 6640"/>
                <a:gd name="T31" fmla="*/ 1 h 6679"/>
                <a:gd name="T32" fmla="*/ 5943 w 6640"/>
                <a:gd name="T33" fmla="*/ 3 h 6679"/>
                <a:gd name="T34" fmla="*/ 5884 w 6640"/>
                <a:gd name="T35" fmla="*/ 8 h 6679"/>
                <a:gd name="T36" fmla="*/ 5824 w 6640"/>
                <a:gd name="T37" fmla="*/ 15 h 6679"/>
                <a:gd name="T38" fmla="*/ 5212 w 6640"/>
                <a:gd name="T39" fmla="*/ 174 h 6679"/>
                <a:gd name="T40" fmla="*/ 5142 w 6640"/>
                <a:gd name="T41" fmla="*/ 200 h 6679"/>
                <a:gd name="T42" fmla="*/ 5070 w 6640"/>
                <a:gd name="T43" fmla="*/ 229 h 6679"/>
                <a:gd name="T44" fmla="*/ 3933 w 6640"/>
                <a:gd name="T45" fmla="*/ 848 h 6679"/>
                <a:gd name="T46" fmla="*/ 3812 w 6640"/>
                <a:gd name="T47" fmla="*/ 929 h 6679"/>
                <a:gd name="T48" fmla="*/ 3679 w 6640"/>
                <a:gd name="T49" fmla="*/ 1023 h 6679"/>
                <a:gd name="T50" fmla="*/ 2245 w 6640"/>
                <a:gd name="T51" fmla="*/ 2245 h 6679"/>
                <a:gd name="T52" fmla="*/ 1023 w 6640"/>
                <a:gd name="T53" fmla="*/ 3679 h 6679"/>
                <a:gd name="T54" fmla="*/ 929 w 6640"/>
                <a:gd name="T55" fmla="*/ 3812 h 6679"/>
                <a:gd name="T56" fmla="*/ 848 w 6640"/>
                <a:gd name="T57" fmla="*/ 3933 h 6679"/>
                <a:gd name="T58" fmla="*/ 229 w 6640"/>
                <a:gd name="T59" fmla="*/ 5070 h 6679"/>
                <a:gd name="T60" fmla="*/ 200 w 6640"/>
                <a:gd name="T61" fmla="*/ 5142 h 6679"/>
                <a:gd name="T62" fmla="*/ 174 w 6640"/>
                <a:gd name="T63" fmla="*/ 5212 h 6679"/>
                <a:gd name="T64" fmla="*/ 15 w 6640"/>
                <a:gd name="T65" fmla="*/ 5824 h 6679"/>
                <a:gd name="T66" fmla="*/ 8 w 6640"/>
                <a:gd name="T67" fmla="*/ 5884 h 6679"/>
                <a:gd name="T68" fmla="*/ 3 w 6640"/>
                <a:gd name="T69" fmla="*/ 5943 h 6679"/>
                <a:gd name="T70" fmla="*/ 1 w 6640"/>
                <a:gd name="T71" fmla="*/ 6036 h 6679"/>
                <a:gd name="T72" fmla="*/ 30 w 6640"/>
                <a:gd name="T73" fmla="*/ 6297 h 6679"/>
                <a:gd name="T74" fmla="*/ 54 w 6640"/>
                <a:gd name="T75" fmla="*/ 6318 h 6679"/>
                <a:gd name="T76" fmla="*/ 132 w 6640"/>
                <a:gd name="T77" fmla="*/ 6383 h 6679"/>
                <a:gd name="T78" fmla="*/ 211 w 6640"/>
                <a:gd name="T79" fmla="*/ 6444 h 6679"/>
                <a:gd name="T80" fmla="*/ 547 w 6640"/>
                <a:gd name="T81" fmla="*/ 6679 h 6679"/>
                <a:gd name="T82" fmla="*/ 507 w 6640"/>
                <a:gd name="T83" fmla="*/ 6419 h 6679"/>
                <a:gd name="T84" fmla="*/ 505 w 6640"/>
                <a:gd name="T85" fmla="*/ 6360 h 6679"/>
                <a:gd name="T86" fmla="*/ 505 w 6640"/>
                <a:gd name="T87" fmla="*/ 6356 h 6679"/>
                <a:gd name="T88" fmla="*/ 507 w 6640"/>
                <a:gd name="T89" fmla="*/ 6300 h 6679"/>
                <a:gd name="T90" fmla="*/ 586 w 6640"/>
                <a:gd name="T91" fmla="*/ 5804 h 6679"/>
                <a:gd name="T92" fmla="*/ 605 w 6640"/>
                <a:gd name="T93" fmla="*/ 5735 h 6679"/>
                <a:gd name="T94" fmla="*/ 626 w 6640"/>
                <a:gd name="T95" fmla="*/ 5665 h 6679"/>
                <a:gd name="T96" fmla="*/ 962 w 6640"/>
                <a:gd name="T97" fmla="*/ 4876 h 6679"/>
                <a:gd name="T98" fmla="*/ 1013 w 6640"/>
                <a:gd name="T99" fmla="*/ 4781 h 6679"/>
                <a:gd name="T100" fmla="*/ 1069 w 6640"/>
                <a:gd name="T101" fmla="*/ 4682 h 6679"/>
                <a:gd name="T102" fmla="*/ 2654 w 6640"/>
                <a:gd name="T103" fmla="*/ 2654 h 6679"/>
                <a:gd name="T104" fmla="*/ 4682 w 6640"/>
                <a:gd name="T105" fmla="*/ 1069 h 6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640" h="6679">
                  <a:moveTo>
                    <a:pt x="4682" y="1069"/>
                  </a:moveTo>
                  <a:cubicBezTo>
                    <a:pt x="4715" y="1050"/>
                    <a:pt x="4748" y="1031"/>
                    <a:pt x="4782" y="1013"/>
                  </a:cubicBezTo>
                  <a:cubicBezTo>
                    <a:pt x="4813" y="996"/>
                    <a:pt x="4845" y="979"/>
                    <a:pt x="4876" y="962"/>
                  </a:cubicBezTo>
                  <a:cubicBezTo>
                    <a:pt x="5153" y="816"/>
                    <a:pt x="5418" y="703"/>
                    <a:pt x="5665" y="626"/>
                  </a:cubicBezTo>
                  <a:cubicBezTo>
                    <a:pt x="5688" y="619"/>
                    <a:pt x="5712" y="612"/>
                    <a:pt x="5735" y="605"/>
                  </a:cubicBezTo>
                  <a:cubicBezTo>
                    <a:pt x="5758" y="599"/>
                    <a:pt x="5781" y="592"/>
                    <a:pt x="5804" y="586"/>
                  </a:cubicBezTo>
                  <a:cubicBezTo>
                    <a:pt x="5981" y="539"/>
                    <a:pt x="6147" y="513"/>
                    <a:pt x="6300" y="507"/>
                  </a:cubicBezTo>
                  <a:cubicBezTo>
                    <a:pt x="6318" y="506"/>
                    <a:pt x="6337" y="505"/>
                    <a:pt x="6355" y="505"/>
                  </a:cubicBezTo>
                  <a:cubicBezTo>
                    <a:pt x="6357" y="505"/>
                    <a:pt x="6358" y="505"/>
                    <a:pt x="6360" y="505"/>
                  </a:cubicBezTo>
                  <a:cubicBezTo>
                    <a:pt x="6380" y="505"/>
                    <a:pt x="6399" y="506"/>
                    <a:pt x="6419" y="507"/>
                  </a:cubicBezTo>
                  <a:cubicBezTo>
                    <a:pt x="6496" y="511"/>
                    <a:pt x="6571" y="520"/>
                    <a:pt x="6640" y="536"/>
                  </a:cubicBezTo>
                  <a:cubicBezTo>
                    <a:pt x="6579" y="440"/>
                    <a:pt x="6513" y="346"/>
                    <a:pt x="6443" y="254"/>
                  </a:cubicBezTo>
                  <a:cubicBezTo>
                    <a:pt x="6424" y="229"/>
                    <a:pt x="6404" y="204"/>
                    <a:pt x="6385" y="179"/>
                  </a:cubicBezTo>
                  <a:cubicBezTo>
                    <a:pt x="6364" y="153"/>
                    <a:pt x="6344" y="128"/>
                    <a:pt x="6323" y="102"/>
                  </a:cubicBezTo>
                  <a:cubicBezTo>
                    <a:pt x="6300" y="75"/>
                    <a:pt x="6276" y="48"/>
                    <a:pt x="6253" y="21"/>
                  </a:cubicBezTo>
                  <a:cubicBezTo>
                    <a:pt x="6186" y="8"/>
                    <a:pt x="6114" y="1"/>
                    <a:pt x="6036" y="1"/>
                  </a:cubicBezTo>
                  <a:cubicBezTo>
                    <a:pt x="6006" y="0"/>
                    <a:pt x="5975" y="2"/>
                    <a:pt x="5943" y="3"/>
                  </a:cubicBezTo>
                  <a:cubicBezTo>
                    <a:pt x="5924" y="4"/>
                    <a:pt x="5904" y="6"/>
                    <a:pt x="5884" y="8"/>
                  </a:cubicBezTo>
                  <a:cubicBezTo>
                    <a:pt x="5864" y="10"/>
                    <a:pt x="5844" y="13"/>
                    <a:pt x="5824" y="15"/>
                  </a:cubicBezTo>
                  <a:cubicBezTo>
                    <a:pt x="5639" y="39"/>
                    <a:pt x="5433" y="93"/>
                    <a:pt x="5212" y="174"/>
                  </a:cubicBezTo>
                  <a:cubicBezTo>
                    <a:pt x="5189" y="183"/>
                    <a:pt x="5166" y="191"/>
                    <a:pt x="5142" y="200"/>
                  </a:cubicBezTo>
                  <a:cubicBezTo>
                    <a:pt x="5118" y="210"/>
                    <a:pt x="5094" y="219"/>
                    <a:pt x="5070" y="229"/>
                  </a:cubicBezTo>
                  <a:cubicBezTo>
                    <a:pt x="4719" y="373"/>
                    <a:pt x="4334" y="582"/>
                    <a:pt x="3933" y="848"/>
                  </a:cubicBezTo>
                  <a:cubicBezTo>
                    <a:pt x="3893" y="874"/>
                    <a:pt x="3852" y="902"/>
                    <a:pt x="3812" y="929"/>
                  </a:cubicBezTo>
                  <a:cubicBezTo>
                    <a:pt x="3767" y="960"/>
                    <a:pt x="3723" y="991"/>
                    <a:pt x="3679" y="1023"/>
                  </a:cubicBezTo>
                  <a:cubicBezTo>
                    <a:pt x="3206" y="1360"/>
                    <a:pt x="2718" y="1771"/>
                    <a:pt x="2245" y="2245"/>
                  </a:cubicBezTo>
                  <a:cubicBezTo>
                    <a:pt x="1771" y="2718"/>
                    <a:pt x="1360" y="3206"/>
                    <a:pt x="1023" y="3679"/>
                  </a:cubicBezTo>
                  <a:cubicBezTo>
                    <a:pt x="991" y="3723"/>
                    <a:pt x="960" y="3768"/>
                    <a:pt x="929" y="3812"/>
                  </a:cubicBezTo>
                  <a:cubicBezTo>
                    <a:pt x="902" y="3852"/>
                    <a:pt x="874" y="3893"/>
                    <a:pt x="848" y="3933"/>
                  </a:cubicBezTo>
                  <a:cubicBezTo>
                    <a:pt x="582" y="4334"/>
                    <a:pt x="373" y="4719"/>
                    <a:pt x="229" y="5070"/>
                  </a:cubicBezTo>
                  <a:cubicBezTo>
                    <a:pt x="219" y="5094"/>
                    <a:pt x="210" y="5118"/>
                    <a:pt x="200" y="5142"/>
                  </a:cubicBezTo>
                  <a:cubicBezTo>
                    <a:pt x="191" y="5166"/>
                    <a:pt x="183" y="5189"/>
                    <a:pt x="174" y="5212"/>
                  </a:cubicBezTo>
                  <a:cubicBezTo>
                    <a:pt x="93" y="5433"/>
                    <a:pt x="39" y="5639"/>
                    <a:pt x="15" y="5824"/>
                  </a:cubicBezTo>
                  <a:cubicBezTo>
                    <a:pt x="12" y="5844"/>
                    <a:pt x="10" y="5864"/>
                    <a:pt x="8" y="5884"/>
                  </a:cubicBezTo>
                  <a:cubicBezTo>
                    <a:pt x="6" y="5904"/>
                    <a:pt x="5" y="5924"/>
                    <a:pt x="3" y="5943"/>
                  </a:cubicBezTo>
                  <a:cubicBezTo>
                    <a:pt x="2" y="5975"/>
                    <a:pt x="0" y="6006"/>
                    <a:pt x="1" y="6036"/>
                  </a:cubicBezTo>
                  <a:cubicBezTo>
                    <a:pt x="1" y="6131"/>
                    <a:pt x="10" y="6218"/>
                    <a:pt x="30" y="6297"/>
                  </a:cubicBezTo>
                  <a:cubicBezTo>
                    <a:pt x="38" y="6304"/>
                    <a:pt x="46" y="6311"/>
                    <a:pt x="54" y="6318"/>
                  </a:cubicBezTo>
                  <a:cubicBezTo>
                    <a:pt x="80" y="6340"/>
                    <a:pt x="106" y="6362"/>
                    <a:pt x="132" y="6383"/>
                  </a:cubicBezTo>
                  <a:cubicBezTo>
                    <a:pt x="158" y="6404"/>
                    <a:pt x="184" y="6424"/>
                    <a:pt x="211" y="6444"/>
                  </a:cubicBezTo>
                  <a:cubicBezTo>
                    <a:pt x="320" y="6528"/>
                    <a:pt x="432" y="6606"/>
                    <a:pt x="547" y="6679"/>
                  </a:cubicBezTo>
                  <a:cubicBezTo>
                    <a:pt x="524" y="6598"/>
                    <a:pt x="511" y="6511"/>
                    <a:pt x="507" y="6419"/>
                  </a:cubicBezTo>
                  <a:cubicBezTo>
                    <a:pt x="506" y="6399"/>
                    <a:pt x="505" y="6380"/>
                    <a:pt x="505" y="6360"/>
                  </a:cubicBezTo>
                  <a:cubicBezTo>
                    <a:pt x="505" y="6358"/>
                    <a:pt x="505" y="6357"/>
                    <a:pt x="505" y="6356"/>
                  </a:cubicBezTo>
                  <a:cubicBezTo>
                    <a:pt x="505" y="6337"/>
                    <a:pt x="506" y="6318"/>
                    <a:pt x="507" y="6300"/>
                  </a:cubicBezTo>
                  <a:cubicBezTo>
                    <a:pt x="512" y="6147"/>
                    <a:pt x="539" y="5981"/>
                    <a:pt x="586" y="5804"/>
                  </a:cubicBezTo>
                  <a:cubicBezTo>
                    <a:pt x="592" y="5781"/>
                    <a:pt x="599" y="5758"/>
                    <a:pt x="605" y="5735"/>
                  </a:cubicBezTo>
                  <a:cubicBezTo>
                    <a:pt x="612" y="5712"/>
                    <a:pt x="619" y="5688"/>
                    <a:pt x="626" y="5665"/>
                  </a:cubicBezTo>
                  <a:cubicBezTo>
                    <a:pt x="703" y="5418"/>
                    <a:pt x="817" y="5153"/>
                    <a:pt x="962" y="4876"/>
                  </a:cubicBezTo>
                  <a:cubicBezTo>
                    <a:pt x="979" y="4845"/>
                    <a:pt x="996" y="4813"/>
                    <a:pt x="1013" y="4781"/>
                  </a:cubicBezTo>
                  <a:cubicBezTo>
                    <a:pt x="1031" y="4748"/>
                    <a:pt x="1050" y="4715"/>
                    <a:pt x="1069" y="4682"/>
                  </a:cubicBezTo>
                  <a:cubicBezTo>
                    <a:pt x="1441" y="4031"/>
                    <a:pt x="1982" y="3328"/>
                    <a:pt x="2654" y="2654"/>
                  </a:cubicBezTo>
                  <a:cubicBezTo>
                    <a:pt x="3328" y="1982"/>
                    <a:pt x="4031" y="1441"/>
                    <a:pt x="4682" y="10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1800"/>
            </a:p>
          </p:txBody>
        </p:sp>
        <p:sp>
          <p:nvSpPr>
            <p:cNvPr id="30" name="Freeform 12">
              <a:extLst>
                <a:ext uri="{FF2B5EF4-FFF2-40B4-BE49-F238E27FC236}">
                  <a16:creationId xmlns:a16="http://schemas.microsoft.com/office/drawing/2014/main" id="{6967A9C6-FB4D-4270-BB09-0FBE5B7A6E5E}"/>
                </a:ext>
              </a:extLst>
            </p:cNvPr>
            <p:cNvSpPr>
              <a:spLocks/>
            </p:cNvSpPr>
            <p:nvPr/>
          </p:nvSpPr>
          <p:spPr bwMode="auto">
            <a:xfrm>
              <a:off x="5525067" y="2309661"/>
              <a:ext cx="3917703" cy="3936801"/>
            </a:xfrm>
            <a:custGeom>
              <a:avLst/>
              <a:gdLst>
                <a:gd name="T0" fmla="*/ 3424 w 5896"/>
                <a:gd name="T1" fmla="*/ 1876 h 5920"/>
                <a:gd name="T2" fmla="*/ 3633 w 5896"/>
                <a:gd name="T3" fmla="*/ 1712 h 5920"/>
                <a:gd name="T4" fmla="*/ 3808 w 5896"/>
                <a:gd name="T5" fmla="*/ 1582 h 5920"/>
                <a:gd name="T6" fmla="*/ 4916 w 5896"/>
                <a:gd name="T7" fmla="*/ 937 h 5920"/>
                <a:gd name="T8" fmla="*/ 5004 w 5896"/>
                <a:gd name="T9" fmla="*/ 901 h 5920"/>
                <a:gd name="T10" fmla="*/ 5086 w 5896"/>
                <a:gd name="T11" fmla="*/ 873 h 5920"/>
                <a:gd name="T12" fmla="*/ 5614 w 5896"/>
                <a:gd name="T13" fmla="*/ 767 h 5920"/>
                <a:gd name="T14" fmla="*/ 5621 w 5896"/>
                <a:gd name="T15" fmla="*/ 767 h 5920"/>
                <a:gd name="T16" fmla="*/ 5682 w 5896"/>
                <a:gd name="T17" fmla="*/ 770 h 5920"/>
                <a:gd name="T18" fmla="*/ 5742 w 5896"/>
                <a:gd name="T19" fmla="*/ 777 h 5920"/>
                <a:gd name="T20" fmla="*/ 5896 w 5896"/>
                <a:gd name="T21" fmla="*/ 821 h 5920"/>
                <a:gd name="T22" fmla="*/ 5826 w 5896"/>
                <a:gd name="T23" fmla="*/ 476 h 5920"/>
                <a:gd name="T24" fmla="*/ 5792 w 5896"/>
                <a:gd name="T25" fmla="*/ 349 h 5920"/>
                <a:gd name="T26" fmla="*/ 5752 w 5896"/>
                <a:gd name="T27" fmla="*/ 214 h 5920"/>
                <a:gd name="T28" fmla="*/ 5714 w 5896"/>
                <a:gd name="T29" fmla="*/ 97 h 5920"/>
                <a:gd name="T30" fmla="*/ 5444 w 5896"/>
                <a:gd name="T31" fmla="*/ 9 h 5920"/>
                <a:gd name="T32" fmla="*/ 5385 w 5896"/>
                <a:gd name="T33" fmla="*/ 3 h 5920"/>
                <a:gd name="T34" fmla="*/ 5324 w 5896"/>
                <a:gd name="T35" fmla="*/ 1 h 5920"/>
                <a:gd name="T36" fmla="*/ 5312 w 5896"/>
                <a:gd name="T37" fmla="*/ 0 h 5920"/>
                <a:gd name="T38" fmla="*/ 5307 w 5896"/>
                <a:gd name="T39" fmla="*/ 0 h 5920"/>
                <a:gd name="T40" fmla="*/ 4713 w 5896"/>
                <a:gd name="T41" fmla="*/ 112 h 5920"/>
                <a:gd name="T42" fmla="*/ 4636 w 5896"/>
                <a:gd name="T43" fmla="*/ 137 h 5920"/>
                <a:gd name="T44" fmla="*/ 4555 w 5896"/>
                <a:gd name="T45" fmla="*/ 168 h 5920"/>
                <a:gd name="T46" fmla="*/ 3688 w 5896"/>
                <a:gd name="T47" fmla="*/ 607 h 5920"/>
                <a:gd name="T48" fmla="*/ 3564 w 5896"/>
                <a:gd name="T49" fmla="*/ 684 h 5920"/>
                <a:gd name="T50" fmla="*/ 3430 w 5896"/>
                <a:gd name="T51" fmla="*/ 773 h 5920"/>
                <a:gd name="T52" fmla="*/ 1980 w 5896"/>
                <a:gd name="T53" fmla="*/ 1980 h 5920"/>
                <a:gd name="T54" fmla="*/ 774 w 5896"/>
                <a:gd name="T55" fmla="*/ 3429 h 5920"/>
                <a:gd name="T56" fmla="*/ 685 w 5896"/>
                <a:gd name="T57" fmla="*/ 3563 h 5920"/>
                <a:gd name="T58" fmla="*/ 607 w 5896"/>
                <a:gd name="T59" fmla="*/ 3688 h 5920"/>
                <a:gd name="T60" fmla="*/ 169 w 5896"/>
                <a:gd name="T61" fmla="*/ 4554 h 5920"/>
                <a:gd name="T62" fmla="*/ 137 w 5896"/>
                <a:gd name="T63" fmla="*/ 4635 h 5920"/>
                <a:gd name="T64" fmla="*/ 113 w 5896"/>
                <a:gd name="T65" fmla="*/ 4712 h 5920"/>
                <a:gd name="T66" fmla="*/ 1 w 5896"/>
                <a:gd name="T67" fmla="*/ 5311 h 5920"/>
                <a:gd name="T68" fmla="*/ 2 w 5896"/>
                <a:gd name="T69" fmla="*/ 5323 h 5920"/>
                <a:gd name="T70" fmla="*/ 4 w 5896"/>
                <a:gd name="T71" fmla="*/ 5384 h 5920"/>
                <a:gd name="T72" fmla="*/ 10 w 5896"/>
                <a:gd name="T73" fmla="*/ 5443 h 5920"/>
                <a:gd name="T74" fmla="*/ 121 w 5896"/>
                <a:gd name="T75" fmla="*/ 5747 h 5920"/>
                <a:gd name="T76" fmla="*/ 150 w 5896"/>
                <a:gd name="T77" fmla="*/ 5756 h 5920"/>
                <a:gd name="T78" fmla="*/ 291 w 5896"/>
                <a:gd name="T79" fmla="*/ 5800 h 5920"/>
                <a:gd name="T80" fmla="*/ 425 w 5896"/>
                <a:gd name="T81" fmla="*/ 5836 h 5920"/>
                <a:gd name="T82" fmla="*/ 835 w 5896"/>
                <a:gd name="T83" fmla="*/ 5920 h 5920"/>
                <a:gd name="T84" fmla="*/ 778 w 5896"/>
                <a:gd name="T85" fmla="*/ 5741 h 5920"/>
                <a:gd name="T86" fmla="*/ 771 w 5896"/>
                <a:gd name="T87" fmla="*/ 5681 h 5920"/>
                <a:gd name="T88" fmla="*/ 769 w 5896"/>
                <a:gd name="T89" fmla="*/ 5620 h 5920"/>
                <a:gd name="T90" fmla="*/ 768 w 5896"/>
                <a:gd name="T91" fmla="*/ 5612 h 5920"/>
                <a:gd name="T92" fmla="*/ 874 w 5896"/>
                <a:gd name="T93" fmla="*/ 5084 h 5920"/>
                <a:gd name="T94" fmla="*/ 903 w 5896"/>
                <a:gd name="T95" fmla="*/ 5002 h 5920"/>
                <a:gd name="T96" fmla="*/ 938 w 5896"/>
                <a:gd name="T97" fmla="*/ 4915 h 5920"/>
                <a:gd name="T98" fmla="*/ 1583 w 5896"/>
                <a:gd name="T99" fmla="*/ 3807 h 5920"/>
                <a:gd name="T100" fmla="*/ 1713 w 5896"/>
                <a:gd name="T101" fmla="*/ 3632 h 5920"/>
                <a:gd name="T102" fmla="*/ 1877 w 5896"/>
                <a:gd name="T103" fmla="*/ 3424 h 5920"/>
                <a:gd name="T104" fmla="*/ 2610 w 5896"/>
                <a:gd name="T105" fmla="*/ 2610 h 5920"/>
                <a:gd name="T106" fmla="*/ 3424 w 5896"/>
                <a:gd name="T107" fmla="*/ 1876 h 5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96" h="5920">
                  <a:moveTo>
                    <a:pt x="3424" y="1876"/>
                  </a:moveTo>
                  <a:cubicBezTo>
                    <a:pt x="3494" y="1819"/>
                    <a:pt x="3564" y="1765"/>
                    <a:pt x="3633" y="1712"/>
                  </a:cubicBezTo>
                  <a:cubicBezTo>
                    <a:pt x="3692" y="1667"/>
                    <a:pt x="3750" y="1624"/>
                    <a:pt x="3808" y="1582"/>
                  </a:cubicBezTo>
                  <a:cubicBezTo>
                    <a:pt x="4204" y="1295"/>
                    <a:pt x="4581" y="1076"/>
                    <a:pt x="4916" y="937"/>
                  </a:cubicBezTo>
                  <a:cubicBezTo>
                    <a:pt x="4945" y="925"/>
                    <a:pt x="4975" y="912"/>
                    <a:pt x="5004" y="901"/>
                  </a:cubicBezTo>
                  <a:cubicBezTo>
                    <a:pt x="5032" y="891"/>
                    <a:pt x="5058" y="882"/>
                    <a:pt x="5086" y="873"/>
                  </a:cubicBezTo>
                  <a:cubicBezTo>
                    <a:pt x="5281" y="806"/>
                    <a:pt x="5460" y="768"/>
                    <a:pt x="5614" y="767"/>
                  </a:cubicBezTo>
                  <a:cubicBezTo>
                    <a:pt x="5616" y="767"/>
                    <a:pt x="5618" y="767"/>
                    <a:pt x="5621" y="767"/>
                  </a:cubicBezTo>
                  <a:cubicBezTo>
                    <a:pt x="5642" y="768"/>
                    <a:pt x="5662" y="768"/>
                    <a:pt x="5682" y="770"/>
                  </a:cubicBezTo>
                  <a:cubicBezTo>
                    <a:pt x="5702" y="771"/>
                    <a:pt x="5722" y="774"/>
                    <a:pt x="5742" y="777"/>
                  </a:cubicBezTo>
                  <a:cubicBezTo>
                    <a:pt x="5797" y="785"/>
                    <a:pt x="5849" y="800"/>
                    <a:pt x="5896" y="821"/>
                  </a:cubicBezTo>
                  <a:cubicBezTo>
                    <a:pt x="5877" y="705"/>
                    <a:pt x="5854" y="590"/>
                    <a:pt x="5826" y="476"/>
                  </a:cubicBezTo>
                  <a:cubicBezTo>
                    <a:pt x="5816" y="433"/>
                    <a:pt x="5804" y="391"/>
                    <a:pt x="5792" y="349"/>
                  </a:cubicBezTo>
                  <a:cubicBezTo>
                    <a:pt x="5779" y="304"/>
                    <a:pt x="5766" y="259"/>
                    <a:pt x="5752" y="214"/>
                  </a:cubicBezTo>
                  <a:cubicBezTo>
                    <a:pt x="5740" y="175"/>
                    <a:pt x="5728" y="136"/>
                    <a:pt x="5714" y="97"/>
                  </a:cubicBezTo>
                  <a:cubicBezTo>
                    <a:pt x="5639" y="51"/>
                    <a:pt x="5549" y="22"/>
                    <a:pt x="5444" y="9"/>
                  </a:cubicBezTo>
                  <a:cubicBezTo>
                    <a:pt x="5425" y="6"/>
                    <a:pt x="5405" y="4"/>
                    <a:pt x="5385" y="3"/>
                  </a:cubicBezTo>
                  <a:cubicBezTo>
                    <a:pt x="5365" y="1"/>
                    <a:pt x="5345" y="1"/>
                    <a:pt x="5324" y="1"/>
                  </a:cubicBezTo>
                  <a:cubicBezTo>
                    <a:pt x="5320" y="1"/>
                    <a:pt x="5316" y="0"/>
                    <a:pt x="5312" y="0"/>
                  </a:cubicBezTo>
                  <a:cubicBezTo>
                    <a:pt x="5311" y="0"/>
                    <a:pt x="5309" y="0"/>
                    <a:pt x="5307" y="0"/>
                  </a:cubicBezTo>
                  <a:cubicBezTo>
                    <a:pt x="5135" y="0"/>
                    <a:pt x="4934" y="40"/>
                    <a:pt x="4713" y="112"/>
                  </a:cubicBezTo>
                  <a:cubicBezTo>
                    <a:pt x="4687" y="120"/>
                    <a:pt x="4662" y="127"/>
                    <a:pt x="4636" y="137"/>
                  </a:cubicBezTo>
                  <a:cubicBezTo>
                    <a:pt x="4610" y="146"/>
                    <a:pt x="4582" y="158"/>
                    <a:pt x="4555" y="168"/>
                  </a:cubicBezTo>
                  <a:cubicBezTo>
                    <a:pt x="4287" y="270"/>
                    <a:pt x="3995" y="418"/>
                    <a:pt x="3688" y="607"/>
                  </a:cubicBezTo>
                  <a:cubicBezTo>
                    <a:pt x="3647" y="632"/>
                    <a:pt x="3606" y="657"/>
                    <a:pt x="3564" y="684"/>
                  </a:cubicBezTo>
                  <a:cubicBezTo>
                    <a:pt x="3520" y="713"/>
                    <a:pt x="3475" y="743"/>
                    <a:pt x="3430" y="773"/>
                  </a:cubicBezTo>
                  <a:cubicBezTo>
                    <a:pt x="2956" y="1092"/>
                    <a:pt x="2460" y="1499"/>
                    <a:pt x="1980" y="1980"/>
                  </a:cubicBezTo>
                  <a:cubicBezTo>
                    <a:pt x="1500" y="2459"/>
                    <a:pt x="1093" y="2956"/>
                    <a:pt x="774" y="3429"/>
                  </a:cubicBezTo>
                  <a:cubicBezTo>
                    <a:pt x="744" y="3474"/>
                    <a:pt x="714" y="3519"/>
                    <a:pt x="685" y="3563"/>
                  </a:cubicBezTo>
                  <a:cubicBezTo>
                    <a:pt x="658" y="3605"/>
                    <a:pt x="633" y="3646"/>
                    <a:pt x="607" y="3688"/>
                  </a:cubicBezTo>
                  <a:cubicBezTo>
                    <a:pt x="419" y="3994"/>
                    <a:pt x="271" y="4287"/>
                    <a:pt x="169" y="4554"/>
                  </a:cubicBezTo>
                  <a:cubicBezTo>
                    <a:pt x="158" y="4581"/>
                    <a:pt x="147" y="4609"/>
                    <a:pt x="137" y="4635"/>
                  </a:cubicBezTo>
                  <a:cubicBezTo>
                    <a:pt x="128" y="4661"/>
                    <a:pt x="121" y="4686"/>
                    <a:pt x="113" y="4712"/>
                  </a:cubicBezTo>
                  <a:cubicBezTo>
                    <a:pt x="40" y="4935"/>
                    <a:pt x="0" y="5138"/>
                    <a:pt x="1" y="5311"/>
                  </a:cubicBezTo>
                  <a:cubicBezTo>
                    <a:pt x="1" y="5315"/>
                    <a:pt x="1" y="5319"/>
                    <a:pt x="2" y="5323"/>
                  </a:cubicBezTo>
                  <a:cubicBezTo>
                    <a:pt x="2" y="5344"/>
                    <a:pt x="2" y="5364"/>
                    <a:pt x="4" y="5384"/>
                  </a:cubicBezTo>
                  <a:cubicBezTo>
                    <a:pt x="5" y="5404"/>
                    <a:pt x="7" y="5424"/>
                    <a:pt x="10" y="5443"/>
                  </a:cubicBezTo>
                  <a:cubicBezTo>
                    <a:pt x="25" y="5564"/>
                    <a:pt x="62" y="5665"/>
                    <a:pt x="121" y="5747"/>
                  </a:cubicBezTo>
                  <a:cubicBezTo>
                    <a:pt x="131" y="5750"/>
                    <a:pt x="140" y="5753"/>
                    <a:pt x="150" y="5756"/>
                  </a:cubicBezTo>
                  <a:cubicBezTo>
                    <a:pt x="197" y="5771"/>
                    <a:pt x="244" y="5786"/>
                    <a:pt x="291" y="5800"/>
                  </a:cubicBezTo>
                  <a:cubicBezTo>
                    <a:pt x="336" y="5813"/>
                    <a:pt x="380" y="5825"/>
                    <a:pt x="425" y="5836"/>
                  </a:cubicBezTo>
                  <a:cubicBezTo>
                    <a:pt x="560" y="5870"/>
                    <a:pt x="697" y="5898"/>
                    <a:pt x="835" y="5920"/>
                  </a:cubicBezTo>
                  <a:cubicBezTo>
                    <a:pt x="807" y="5866"/>
                    <a:pt x="788" y="5806"/>
                    <a:pt x="778" y="5741"/>
                  </a:cubicBezTo>
                  <a:cubicBezTo>
                    <a:pt x="775" y="5721"/>
                    <a:pt x="773" y="5701"/>
                    <a:pt x="771" y="5681"/>
                  </a:cubicBezTo>
                  <a:cubicBezTo>
                    <a:pt x="769" y="5661"/>
                    <a:pt x="769" y="5641"/>
                    <a:pt x="769" y="5620"/>
                  </a:cubicBezTo>
                  <a:cubicBezTo>
                    <a:pt x="769" y="5617"/>
                    <a:pt x="768" y="5615"/>
                    <a:pt x="768" y="5612"/>
                  </a:cubicBezTo>
                  <a:cubicBezTo>
                    <a:pt x="769" y="5459"/>
                    <a:pt x="807" y="5280"/>
                    <a:pt x="874" y="5084"/>
                  </a:cubicBezTo>
                  <a:cubicBezTo>
                    <a:pt x="884" y="5057"/>
                    <a:pt x="892" y="5030"/>
                    <a:pt x="903" y="5002"/>
                  </a:cubicBezTo>
                  <a:cubicBezTo>
                    <a:pt x="913" y="4974"/>
                    <a:pt x="926" y="4944"/>
                    <a:pt x="938" y="4915"/>
                  </a:cubicBezTo>
                  <a:cubicBezTo>
                    <a:pt x="1077" y="4580"/>
                    <a:pt x="1296" y="4203"/>
                    <a:pt x="1583" y="3807"/>
                  </a:cubicBezTo>
                  <a:cubicBezTo>
                    <a:pt x="1625" y="3749"/>
                    <a:pt x="1668" y="3691"/>
                    <a:pt x="1713" y="3632"/>
                  </a:cubicBezTo>
                  <a:cubicBezTo>
                    <a:pt x="1765" y="3563"/>
                    <a:pt x="1820" y="3493"/>
                    <a:pt x="1877" y="3424"/>
                  </a:cubicBezTo>
                  <a:cubicBezTo>
                    <a:pt x="2095" y="3154"/>
                    <a:pt x="2341" y="2880"/>
                    <a:pt x="2610" y="2610"/>
                  </a:cubicBezTo>
                  <a:cubicBezTo>
                    <a:pt x="2881" y="2340"/>
                    <a:pt x="3155" y="2095"/>
                    <a:pt x="3424" y="187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1800"/>
            </a:p>
          </p:txBody>
        </p:sp>
        <p:sp>
          <p:nvSpPr>
            <p:cNvPr id="31" name="Freeform 13">
              <a:extLst>
                <a:ext uri="{FF2B5EF4-FFF2-40B4-BE49-F238E27FC236}">
                  <a16:creationId xmlns:a16="http://schemas.microsoft.com/office/drawing/2014/main" id="{85D81FB3-8A4F-49F2-A164-8A0BF5C67920}"/>
                </a:ext>
              </a:extLst>
            </p:cNvPr>
            <p:cNvSpPr>
              <a:spLocks/>
            </p:cNvSpPr>
            <p:nvPr/>
          </p:nvSpPr>
          <p:spPr bwMode="auto">
            <a:xfrm>
              <a:off x="6849611" y="3634205"/>
              <a:ext cx="2613621" cy="2625898"/>
            </a:xfrm>
            <a:custGeom>
              <a:avLst/>
              <a:gdLst>
                <a:gd name="T0" fmla="*/ 3902 w 3934"/>
                <a:gd name="T1" fmla="*/ 32 h 3950"/>
                <a:gd name="T2" fmla="*/ 3727 w 3934"/>
                <a:gd name="T3" fmla="*/ 0 h 3950"/>
                <a:gd name="T4" fmla="*/ 3687 w 3934"/>
                <a:gd name="T5" fmla="*/ 3 h 3950"/>
                <a:gd name="T6" fmla="*/ 3616 w 3934"/>
                <a:gd name="T7" fmla="*/ 8 h 3950"/>
                <a:gd name="T8" fmla="*/ 3541 w 3934"/>
                <a:gd name="T9" fmla="*/ 21 h 3950"/>
                <a:gd name="T10" fmla="*/ 3005 w 3934"/>
                <a:gd name="T11" fmla="*/ 222 h 3950"/>
                <a:gd name="T12" fmla="*/ 2891 w 3934"/>
                <a:gd name="T13" fmla="*/ 283 h 3950"/>
                <a:gd name="T14" fmla="*/ 2768 w 3934"/>
                <a:gd name="T15" fmla="*/ 353 h 3950"/>
                <a:gd name="T16" fmla="*/ 1424 w 3934"/>
                <a:gd name="T17" fmla="*/ 1424 h 3950"/>
                <a:gd name="T18" fmla="*/ 353 w 3934"/>
                <a:gd name="T19" fmla="*/ 2768 h 3950"/>
                <a:gd name="T20" fmla="*/ 283 w 3934"/>
                <a:gd name="T21" fmla="*/ 2891 h 3950"/>
                <a:gd name="T22" fmla="*/ 222 w 3934"/>
                <a:gd name="T23" fmla="*/ 3005 h 3950"/>
                <a:gd name="T24" fmla="*/ 22 w 3934"/>
                <a:gd name="T25" fmla="*/ 3540 h 3950"/>
                <a:gd name="T26" fmla="*/ 8 w 3934"/>
                <a:gd name="T27" fmla="*/ 3616 h 3950"/>
                <a:gd name="T28" fmla="*/ 3 w 3934"/>
                <a:gd name="T29" fmla="*/ 3686 h 3950"/>
                <a:gd name="T30" fmla="*/ 1 w 3934"/>
                <a:gd name="T31" fmla="*/ 3727 h 3950"/>
                <a:gd name="T32" fmla="*/ 32 w 3934"/>
                <a:gd name="T33" fmla="*/ 3902 h 3950"/>
                <a:gd name="T34" fmla="*/ 56 w 3934"/>
                <a:gd name="T35" fmla="*/ 3950 h 3950"/>
                <a:gd name="T36" fmla="*/ 79 w 3934"/>
                <a:gd name="T37" fmla="*/ 3947 h 3950"/>
                <a:gd name="T38" fmla="*/ 282 w 3934"/>
                <a:gd name="T39" fmla="*/ 3917 h 3950"/>
                <a:gd name="T40" fmla="*/ 1127 w 3934"/>
                <a:gd name="T41" fmla="*/ 3685 h 3950"/>
                <a:gd name="T42" fmla="*/ 1020 w 3934"/>
                <a:gd name="T43" fmla="*/ 3624 h 3950"/>
                <a:gd name="T44" fmla="*/ 959 w 3934"/>
                <a:gd name="T45" fmla="*/ 3517 h 3950"/>
                <a:gd name="T46" fmla="*/ 946 w 3934"/>
                <a:gd name="T47" fmla="*/ 3454 h 3950"/>
                <a:gd name="T48" fmla="*/ 943 w 3934"/>
                <a:gd name="T49" fmla="*/ 3410 h 3950"/>
                <a:gd name="T50" fmla="*/ 945 w 3934"/>
                <a:gd name="T51" fmla="*/ 3382 h 3950"/>
                <a:gd name="T52" fmla="*/ 1060 w 3934"/>
                <a:gd name="T53" fmla="*/ 2995 h 3950"/>
                <a:gd name="T54" fmla="*/ 1123 w 3934"/>
                <a:gd name="T55" fmla="*/ 2873 h 3950"/>
                <a:gd name="T56" fmla="*/ 1207 w 3934"/>
                <a:gd name="T57" fmla="*/ 2729 h 3950"/>
                <a:gd name="T58" fmla="*/ 1890 w 3934"/>
                <a:gd name="T59" fmla="*/ 1890 h 3950"/>
                <a:gd name="T60" fmla="*/ 2729 w 3934"/>
                <a:gd name="T61" fmla="*/ 1207 h 3950"/>
                <a:gd name="T62" fmla="*/ 2873 w 3934"/>
                <a:gd name="T63" fmla="*/ 1123 h 3950"/>
                <a:gd name="T64" fmla="*/ 2994 w 3934"/>
                <a:gd name="T65" fmla="*/ 1061 h 3950"/>
                <a:gd name="T66" fmla="*/ 3382 w 3934"/>
                <a:gd name="T67" fmla="*/ 946 h 3950"/>
                <a:gd name="T68" fmla="*/ 3410 w 3934"/>
                <a:gd name="T69" fmla="*/ 943 h 3950"/>
                <a:gd name="T70" fmla="*/ 3454 w 3934"/>
                <a:gd name="T71" fmla="*/ 947 h 3950"/>
                <a:gd name="T72" fmla="*/ 3517 w 3934"/>
                <a:gd name="T73" fmla="*/ 959 h 3950"/>
                <a:gd name="T74" fmla="*/ 3624 w 3934"/>
                <a:gd name="T75" fmla="*/ 1020 h 3950"/>
                <a:gd name="T76" fmla="*/ 3679 w 3934"/>
                <a:gd name="T77" fmla="*/ 1109 h 3950"/>
                <a:gd name="T78" fmla="*/ 3893 w 3934"/>
                <a:gd name="T79" fmla="*/ 331 h 3950"/>
                <a:gd name="T80" fmla="*/ 3924 w 3934"/>
                <a:gd name="T81" fmla="*/ 131 h 3950"/>
                <a:gd name="T82" fmla="*/ 3934 w 3934"/>
                <a:gd name="T83" fmla="*/ 47 h 3950"/>
                <a:gd name="T84" fmla="*/ 3902 w 3934"/>
                <a:gd name="T85" fmla="*/ 32 h 3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34" h="3950">
                  <a:moveTo>
                    <a:pt x="3902" y="32"/>
                  </a:moveTo>
                  <a:cubicBezTo>
                    <a:pt x="3854" y="12"/>
                    <a:pt x="3797" y="1"/>
                    <a:pt x="3727" y="0"/>
                  </a:cubicBezTo>
                  <a:cubicBezTo>
                    <a:pt x="3714" y="0"/>
                    <a:pt x="3700" y="2"/>
                    <a:pt x="3687" y="3"/>
                  </a:cubicBezTo>
                  <a:cubicBezTo>
                    <a:pt x="3664" y="4"/>
                    <a:pt x="3641" y="5"/>
                    <a:pt x="3616" y="8"/>
                  </a:cubicBezTo>
                  <a:cubicBezTo>
                    <a:pt x="3592" y="12"/>
                    <a:pt x="3567" y="16"/>
                    <a:pt x="3541" y="21"/>
                  </a:cubicBezTo>
                  <a:cubicBezTo>
                    <a:pt x="3386" y="53"/>
                    <a:pt x="3204" y="121"/>
                    <a:pt x="3005" y="222"/>
                  </a:cubicBezTo>
                  <a:cubicBezTo>
                    <a:pt x="2967" y="241"/>
                    <a:pt x="2929" y="262"/>
                    <a:pt x="2891" y="283"/>
                  </a:cubicBezTo>
                  <a:cubicBezTo>
                    <a:pt x="2851" y="305"/>
                    <a:pt x="2810" y="329"/>
                    <a:pt x="2768" y="353"/>
                  </a:cubicBezTo>
                  <a:cubicBezTo>
                    <a:pt x="2350" y="601"/>
                    <a:pt x="1878" y="968"/>
                    <a:pt x="1424" y="1424"/>
                  </a:cubicBezTo>
                  <a:cubicBezTo>
                    <a:pt x="967" y="1878"/>
                    <a:pt x="601" y="2350"/>
                    <a:pt x="353" y="2768"/>
                  </a:cubicBezTo>
                  <a:cubicBezTo>
                    <a:pt x="329" y="2810"/>
                    <a:pt x="305" y="2851"/>
                    <a:pt x="283" y="2891"/>
                  </a:cubicBezTo>
                  <a:cubicBezTo>
                    <a:pt x="261" y="2930"/>
                    <a:pt x="241" y="2968"/>
                    <a:pt x="222" y="3005"/>
                  </a:cubicBezTo>
                  <a:cubicBezTo>
                    <a:pt x="121" y="3204"/>
                    <a:pt x="53" y="3386"/>
                    <a:pt x="22" y="3540"/>
                  </a:cubicBezTo>
                  <a:cubicBezTo>
                    <a:pt x="16" y="3566"/>
                    <a:pt x="12" y="3592"/>
                    <a:pt x="8" y="3616"/>
                  </a:cubicBezTo>
                  <a:cubicBezTo>
                    <a:pt x="5" y="3641"/>
                    <a:pt x="4" y="3664"/>
                    <a:pt x="3" y="3686"/>
                  </a:cubicBezTo>
                  <a:cubicBezTo>
                    <a:pt x="2" y="3700"/>
                    <a:pt x="0" y="3714"/>
                    <a:pt x="1" y="3727"/>
                  </a:cubicBezTo>
                  <a:cubicBezTo>
                    <a:pt x="1" y="3797"/>
                    <a:pt x="12" y="3854"/>
                    <a:pt x="32" y="3902"/>
                  </a:cubicBezTo>
                  <a:cubicBezTo>
                    <a:pt x="39" y="3919"/>
                    <a:pt x="47" y="3935"/>
                    <a:pt x="56" y="3950"/>
                  </a:cubicBezTo>
                  <a:cubicBezTo>
                    <a:pt x="64" y="3949"/>
                    <a:pt x="71" y="3948"/>
                    <a:pt x="79" y="3947"/>
                  </a:cubicBezTo>
                  <a:cubicBezTo>
                    <a:pt x="147" y="3939"/>
                    <a:pt x="214" y="3929"/>
                    <a:pt x="282" y="3917"/>
                  </a:cubicBezTo>
                  <a:cubicBezTo>
                    <a:pt x="569" y="3868"/>
                    <a:pt x="852" y="3791"/>
                    <a:pt x="1127" y="3685"/>
                  </a:cubicBezTo>
                  <a:cubicBezTo>
                    <a:pt x="1087" y="3673"/>
                    <a:pt x="1050" y="3653"/>
                    <a:pt x="1020" y="3624"/>
                  </a:cubicBezTo>
                  <a:cubicBezTo>
                    <a:pt x="990" y="3594"/>
                    <a:pt x="971" y="3557"/>
                    <a:pt x="959" y="3517"/>
                  </a:cubicBezTo>
                  <a:cubicBezTo>
                    <a:pt x="953" y="3497"/>
                    <a:pt x="949" y="3476"/>
                    <a:pt x="946" y="3454"/>
                  </a:cubicBezTo>
                  <a:cubicBezTo>
                    <a:pt x="945" y="3440"/>
                    <a:pt x="943" y="3425"/>
                    <a:pt x="943" y="3410"/>
                  </a:cubicBezTo>
                  <a:cubicBezTo>
                    <a:pt x="944" y="3401"/>
                    <a:pt x="945" y="3392"/>
                    <a:pt x="945" y="3382"/>
                  </a:cubicBezTo>
                  <a:cubicBezTo>
                    <a:pt x="952" y="3271"/>
                    <a:pt x="992" y="3140"/>
                    <a:pt x="1060" y="2995"/>
                  </a:cubicBezTo>
                  <a:cubicBezTo>
                    <a:pt x="1079" y="2955"/>
                    <a:pt x="1100" y="2914"/>
                    <a:pt x="1123" y="2873"/>
                  </a:cubicBezTo>
                  <a:cubicBezTo>
                    <a:pt x="1148" y="2826"/>
                    <a:pt x="1176" y="2778"/>
                    <a:pt x="1207" y="2729"/>
                  </a:cubicBezTo>
                  <a:cubicBezTo>
                    <a:pt x="1371" y="2466"/>
                    <a:pt x="1606" y="2176"/>
                    <a:pt x="1890" y="1890"/>
                  </a:cubicBezTo>
                  <a:cubicBezTo>
                    <a:pt x="2176" y="1606"/>
                    <a:pt x="2466" y="1372"/>
                    <a:pt x="2729" y="1207"/>
                  </a:cubicBezTo>
                  <a:cubicBezTo>
                    <a:pt x="2778" y="1176"/>
                    <a:pt x="2825" y="1149"/>
                    <a:pt x="2873" y="1123"/>
                  </a:cubicBezTo>
                  <a:cubicBezTo>
                    <a:pt x="2914" y="1100"/>
                    <a:pt x="2955" y="1079"/>
                    <a:pt x="2994" y="1061"/>
                  </a:cubicBezTo>
                  <a:cubicBezTo>
                    <a:pt x="3140" y="992"/>
                    <a:pt x="3271" y="953"/>
                    <a:pt x="3382" y="946"/>
                  </a:cubicBezTo>
                  <a:cubicBezTo>
                    <a:pt x="3392" y="945"/>
                    <a:pt x="3401" y="944"/>
                    <a:pt x="3410" y="943"/>
                  </a:cubicBezTo>
                  <a:cubicBezTo>
                    <a:pt x="3425" y="943"/>
                    <a:pt x="3440" y="945"/>
                    <a:pt x="3454" y="947"/>
                  </a:cubicBezTo>
                  <a:cubicBezTo>
                    <a:pt x="3476" y="949"/>
                    <a:pt x="3497" y="953"/>
                    <a:pt x="3517" y="959"/>
                  </a:cubicBezTo>
                  <a:cubicBezTo>
                    <a:pt x="3557" y="971"/>
                    <a:pt x="3594" y="990"/>
                    <a:pt x="3624" y="1020"/>
                  </a:cubicBezTo>
                  <a:cubicBezTo>
                    <a:pt x="3649" y="1045"/>
                    <a:pt x="3667" y="1076"/>
                    <a:pt x="3679" y="1109"/>
                  </a:cubicBezTo>
                  <a:cubicBezTo>
                    <a:pt x="3774" y="856"/>
                    <a:pt x="3846" y="595"/>
                    <a:pt x="3893" y="331"/>
                  </a:cubicBezTo>
                  <a:cubicBezTo>
                    <a:pt x="3905" y="265"/>
                    <a:pt x="3915" y="198"/>
                    <a:pt x="3924" y="131"/>
                  </a:cubicBezTo>
                  <a:cubicBezTo>
                    <a:pt x="3928" y="103"/>
                    <a:pt x="3931" y="75"/>
                    <a:pt x="3934" y="47"/>
                  </a:cubicBezTo>
                  <a:cubicBezTo>
                    <a:pt x="3924" y="41"/>
                    <a:pt x="3913" y="37"/>
                    <a:pt x="3902" y="3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1800"/>
            </a:p>
          </p:txBody>
        </p:sp>
      </p:grpSp>
      <p:sp>
        <p:nvSpPr>
          <p:cNvPr id="8" name="Platshållare för bild 7"/>
          <p:cNvSpPr>
            <a:spLocks noGrp="1"/>
          </p:cNvSpPr>
          <p:nvPr>
            <p:ph type="pic" sz="quarter" idx="15" hasCustomPrompt="1"/>
          </p:nvPr>
        </p:nvSpPr>
        <p:spPr>
          <a:xfrm>
            <a:off x="4584700" y="952576"/>
            <a:ext cx="4156148" cy="3289235"/>
          </a:xfrm>
          <a:prstGeom prst="rect">
            <a:avLst/>
          </a:prstGeom>
        </p:spPr>
        <p:txBody>
          <a:bodyPr/>
          <a:lstStyle>
            <a:lvl1pPr marL="0" indent="0">
              <a:buNone/>
              <a:defRPr/>
            </a:lvl1pPr>
          </a:lstStyle>
          <a:p>
            <a:r>
              <a:rPr lang="sv-SE"/>
              <a:t> </a:t>
            </a:r>
          </a:p>
        </p:txBody>
      </p:sp>
      <p:sp>
        <p:nvSpPr>
          <p:cNvPr id="34" name="Rubrik 33"/>
          <p:cNvSpPr>
            <a:spLocks noGrp="1"/>
          </p:cNvSpPr>
          <p:nvPr>
            <p:ph type="title" hasCustomPrompt="1"/>
          </p:nvPr>
        </p:nvSpPr>
        <p:spPr>
          <a:xfrm>
            <a:off x="381000" y="231141"/>
            <a:ext cx="4093842" cy="1009894"/>
          </a:xfrm>
          <a:prstGeom prst="rect">
            <a:avLst/>
          </a:prstGeom>
        </p:spPr>
        <p:txBody>
          <a:bodyPr lIns="0" tIns="0" rIns="0" bIns="0" anchor="t" anchorCtr="0">
            <a:normAutofit/>
          </a:bodyPr>
          <a:lstStyle>
            <a:lvl1pPr algn="l">
              <a:defRPr sz="3600">
                <a:solidFill>
                  <a:schemeClr val="tx1"/>
                </a:solidFill>
                <a:latin typeface="Calibri"/>
                <a:cs typeface="Calibri"/>
              </a:defRPr>
            </a:lvl1pPr>
          </a:lstStyle>
          <a:p>
            <a:r>
              <a:rPr lang="en-GB"/>
              <a:t>Heading</a:t>
            </a:r>
            <a:endParaRPr lang="sv-SE"/>
          </a:p>
        </p:txBody>
      </p:sp>
      <p:sp>
        <p:nvSpPr>
          <p:cNvPr id="21" name="Platshållare för text 2"/>
          <p:cNvSpPr>
            <a:spLocks noGrp="1"/>
          </p:cNvSpPr>
          <p:nvPr>
            <p:ph type="body" sz="quarter" idx="17" hasCustomPrompt="1"/>
          </p:nvPr>
        </p:nvSpPr>
        <p:spPr>
          <a:xfrm>
            <a:off x="381000" y="1494565"/>
            <a:ext cx="4093842" cy="3044492"/>
          </a:xfrm>
          <a:prstGeom prst="rect">
            <a:avLst/>
          </a:prstGeom>
        </p:spPr>
        <p:txBody>
          <a:bodyPr lIns="0" tIns="0" rIns="0" bIns="0">
            <a:normAutofit/>
          </a:bodyPr>
          <a:lstStyle>
            <a:lvl1pPr marL="190496" indent="-190496">
              <a:spcBef>
                <a:spcPts val="50"/>
              </a:spcBef>
              <a:defRPr sz="2000"/>
            </a:lvl1pPr>
            <a:lvl2pPr marL="446077" indent="-265106">
              <a:spcBef>
                <a:spcPts val="50"/>
              </a:spcBef>
              <a:buFont typeface="Lucida Grande"/>
              <a:buChar char="–"/>
              <a:defRPr sz="1800"/>
            </a:lvl2pPr>
            <a:lvl3pPr marL="571486" indent="-253994">
              <a:spcBef>
                <a:spcPts val="50"/>
              </a:spcBef>
              <a:buFont typeface="Courier New" panose="02070309020205020404" pitchFamily="49" charset="0"/>
              <a:buChar char="o"/>
              <a:defRPr sz="1600"/>
            </a:lvl3pPr>
            <a:lvl4pPr marL="698483" indent="-253994">
              <a:spcBef>
                <a:spcPts val="50"/>
              </a:spcBef>
              <a:buFont typeface="Wingdings" panose="05000000000000000000" pitchFamily="2" charset="2"/>
              <a:buChar char="§"/>
              <a:defRPr sz="1400"/>
            </a:lvl4pPr>
            <a:lvl5pPr marL="825479" indent="-253994">
              <a:spcBef>
                <a:spcPts val="50"/>
              </a:spcBef>
              <a:buFont typeface="Lucida Grande"/>
              <a:buChar char="–"/>
              <a:defRPr/>
            </a:lvl5pPr>
          </a:lstStyle>
          <a:p>
            <a:pPr lvl="0"/>
            <a:r>
              <a:rPr lang="en-GB" noProof="0"/>
              <a:t>Level 1</a:t>
            </a:r>
          </a:p>
          <a:p>
            <a:pPr lvl="1"/>
            <a:r>
              <a:rPr lang="en-GB" noProof="0"/>
              <a:t>Level 2</a:t>
            </a:r>
          </a:p>
          <a:p>
            <a:pPr lvl="2"/>
            <a:r>
              <a:rPr lang="en-GB" noProof="0"/>
              <a:t>Level 3</a:t>
            </a:r>
          </a:p>
          <a:p>
            <a:pPr lvl="3"/>
            <a:r>
              <a:rPr lang="en-GB" noProof="0"/>
              <a:t>Level 4</a:t>
            </a:r>
          </a:p>
        </p:txBody>
      </p:sp>
      <p:pic>
        <p:nvPicPr>
          <p:cNvPr id="33" name="Bildobjekt 3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0202" y="4590290"/>
            <a:ext cx="850195" cy="307734"/>
          </a:xfrm>
          <a:prstGeom prst="rect">
            <a:avLst/>
          </a:prstGeom>
        </p:spPr>
      </p:pic>
      <p:sp>
        <p:nvSpPr>
          <p:cNvPr id="35" name="Platshållare för sidfot 4">
            <a:extLst>
              <a:ext uri="{FF2B5EF4-FFF2-40B4-BE49-F238E27FC236}">
                <a16:creationId xmlns:a16="http://schemas.microsoft.com/office/drawing/2014/main" id="{43E08F50-0FBD-45E6-9751-50F2DE73FBE0}"/>
              </a:ext>
            </a:extLst>
          </p:cNvPr>
          <p:cNvSpPr>
            <a:spLocks noGrp="1"/>
          </p:cNvSpPr>
          <p:nvPr>
            <p:ph type="ftr" sz="quarter" idx="11"/>
          </p:nvPr>
        </p:nvSpPr>
        <p:spPr>
          <a:xfrm>
            <a:off x="5824414" y="4483998"/>
            <a:ext cx="2509889" cy="382813"/>
          </a:xfrm>
          <a:prstGeom prst="rect">
            <a:avLst/>
          </a:prstGeom>
        </p:spPr>
        <p:txBody>
          <a:bodyPr lIns="0" tIns="0" rIns="0" bIns="0" anchor="b" anchorCtr="0"/>
          <a:lstStyle>
            <a:lvl1pPr algn="r">
              <a:defRPr sz="900" b="0">
                <a:solidFill>
                  <a:schemeClr val="bg1"/>
                </a:solidFill>
              </a:defRPr>
            </a:lvl1pPr>
          </a:lstStyle>
          <a:p>
            <a:r>
              <a:rPr lang="en-US"/>
              <a:t>Stakeholder Forum Agenda - Classification: External</a:t>
            </a:r>
            <a:endParaRPr lang="sv-SE"/>
          </a:p>
        </p:txBody>
      </p:sp>
      <p:sp>
        <p:nvSpPr>
          <p:cNvPr id="39" name="Platshållare för datum 3">
            <a:extLst>
              <a:ext uri="{FF2B5EF4-FFF2-40B4-BE49-F238E27FC236}">
                <a16:creationId xmlns:a16="http://schemas.microsoft.com/office/drawing/2014/main" id="{EC3E8990-C19F-4001-BEC5-65D9DF98C38E}"/>
              </a:ext>
            </a:extLst>
          </p:cNvPr>
          <p:cNvSpPr>
            <a:spLocks noGrp="1"/>
          </p:cNvSpPr>
          <p:nvPr>
            <p:ph type="dt" sz="half" idx="10"/>
          </p:nvPr>
        </p:nvSpPr>
        <p:spPr>
          <a:xfrm>
            <a:off x="4734099" y="4495862"/>
            <a:ext cx="1018558" cy="370949"/>
          </a:xfrm>
          <a:prstGeom prst="rect">
            <a:avLst/>
          </a:prstGeom>
        </p:spPr>
        <p:txBody>
          <a:bodyPr lIns="0" tIns="0" rIns="0" bIns="0" anchor="b" anchorCtr="0"/>
          <a:lstStyle>
            <a:lvl1pPr algn="l">
              <a:defRPr sz="900" b="0" i="0" cap="all">
                <a:solidFill>
                  <a:schemeClr val="bg1"/>
                </a:solidFill>
              </a:defRPr>
            </a:lvl1pPr>
          </a:lstStyle>
          <a:p>
            <a:r>
              <a:rPr lang="sv-SE"/>
              <a:t>26/03/2026</a:t>
            </a:r>
          </a:p>
        </p:txBody>
      </p:sp>
      <p:sp>
        <p:nvSpPr>
          <p:cNvPr id="40" name="Platshållare för bildnummer 5">
            <a:extLst>
              <a:ext uri="{FF2B5EF4-FFF2-40B4-BE49-F238E27FC236}">
                <a16:creationId xmlns:a16="http://schemas.microsoft.com/office/drawing/2014/main" id="{240D33FF-B6EE-4F3E-ADAF-D2EA786266DC}"/>
              </a:ext>
            </a:extLst>
          </p:cNvPr>
          <p:cNvSpPr>
            <a:spLocks noGrp="1"/>
          </p:cNvSpPr>
          <p:nvPr>
            <p:ph type="sldNum" sz="quarter" idx="12"/>
          </p:nvPr>
        </p:nvSpPr>
        <p:spPr>
          <a:xfrm>
            <a:off x="8383230" y="4469825"/>
            <a:ext cx="368658" cy="396987"/>
          </a:xfrm>
          <a:prstGeom prst="rect">
            <a:avLst/>
          </a:prstGeom>
          <a:noFill/>
        </p:spPr>
        <p:txBody>
          <a:bodyPr lIns="25400" tIns="0" rIns="0" bIns="0" anchor="b" anchorCtr="0"/>
          <a:lstStyle>
            <a:lvl1pPr algn="r">
              <a:defRPr sz="900">
                <a:solidFill>
                  <a:schemeClr val="bg1"/>
                </a:solidFill>
              </a:defRPr>
            </a:lvl1pPr>
          </a:lstStyle>
          <a:p>
            <a:fld id="{394EE31B-4DFC-CF4D-9A18-3F5D4D7C7302}" type="slidenum">
              <a:rPr lang="sv-SE" smtClean="0"/>
              <a:pPr/>
              <a:t>‹#›</a:t>
            </a:fld>
            <a:endParaRPr lang="sv-SE"/>
          </a:p>
        </p:txBody>
      </p:sp>
    </p:spTree>
    <p:extLst>
      <p:ext uri="{BB962C8B-B14F-4D97-AF65-F5344CB8AC3E}">
        <p14:creationId xmlns:p14="http://schemas.microsoft.com/office/powerpoint/2010/main" val="266310639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Text - Ruta">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p:txBody>
          <a:bodyPr/>
          <a:lstStyle/>
          <a:p>
            <a:r>
              <a:rPr lang="sv-SE"/>
              <a:t>Klicka här för att ändra mall för rubrikformat</a:t>
            </a:r>
          </a:p>
        </p:txBody>
      </p:sp>
      <p:sp>
        <p:nvSpPr>
          <p:cNvPr id="8" name="Platshållare för innehåll 2">
            <a:extLst>
              <a:ext uri="{FF2B5EF4-FFF2-40B4-BE49-F238E27FC236}">
                <a16:creationId xmlns:a16="http://schemas.microsoft.com/office/drawing/2014/main" id="{4BEEC24F-2690-432A-92D2-A22987A0D71E}"/>
              </a:ext>
            </a:extLst>
          </p:cNvPr>
          <p:cNvSpPr>
            <a:spLocks noGrp="1"/>
          </p:cNvSpPr>
          <p:nvPr>
            <p:ph idx="14"/>
          </p:nvPr>
        </p:nvSpPr>
        <p:spPr>
          <a:xfrm>
            <a:off x="4635500" y="1079898"/>
            <a:ext cx="4038600" cy="3122215"/>
          </a:xfrm>
          <a:solidFill>
            <a:schemeClr val="accent2"/>
          </a:solidFill>
        </p:spPr>
        <p:txBody>
          <a:bodyPr lIns="127000" tIns="127000" rIns="127000" bIns="127000"/>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14" name="Platshållare för text 6">
            <a:extLst>
              <a:ext uri="{FF2B5EF4-FFF2-40B4-BE49-F238E27FC236}">
                <a16:creationId xmlns:a16="http://schemas.microsoft.com/office/drawing/2014/main" id="{D0EDB5EA-7963-4BB8-AA0A-CAF1F04840CF}"/>
              </a:ext>
            </a:extLst>
          </p:cNvPr>
          <p:cNvSpPr>
            <a:spLocks noGrp="1"/>
          </p:cNvSpPr>
          <p:nvPr>
            <p:ph type="body" sz="quarter" idx="21"/>
          </p:nvPr>
        </p:nvSpPr>
        <p:spPr>
          <a:xfrm>
            <a:off x="469898" y="1068388"/>
            <a:ext cx="4038599" cy="312261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6" name="Platshållare för text 12">
            <a:extLst>
              <a:ext uri="{FF2B5EF4-FFF2-40B4-BE49-F238E27FC236}">
                <a16:creationId xmlns:a16="http://schemas.microsoft.com/office/drawing/2014/main" id="{08166070-FE88-4C3A-9085-664169F6AE9E}"/>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17" name="Platshållare för sidfot 5">
            <a:extLst>
              <a:ext uri="{FF2B5EF4-FFF2-40B4-BE49-F238E27FC236}">
                <a16:creationId xmlns:a16="http://schemas.microsoft.com/office/drawing/2014/main" id="{6B75F921-C070-4887-93D6-89DF9746785F}"/>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36074321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Bild - Ruta x 4">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p:txBody>
          <a:bodyPr/>
          <a:lstStyle/>
          <a:p>
            <a:r>
              <a:rPr lang="sv-SE"/>
              <a:t>Klicka här för att ändra mall för rubrikformat</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7" name="Platshållare för bild 6">
            <a:extLst>
              <a:ext uri="{FF2B5EF4-FFF2-40B4-BE49-F238E27FC236}">
                <a16:creationId xmlns:a16="http://schemas.microsoft.com/office/drawing/2014/main" id="{91471F07-A012-4494-9FBA-A436638F21DB}"/>
              </a:ext>
            </a:extLst>
          </p:cNvPr>
          <p:cNvSpPr>
            <a:spLocks noGrp="1"/>
          </p:cNvSpPr>
          <p:nvPr>
            <p:ph type="pic" sz="quarter" idx="21"/>
          </p:nvPr>
        </p:nvSpPr>
        <p:spPr>
          <a:xfrm>
            <a:off x="469902" y="1084493"/>
            <a:ext cx="1941510" cy="798281"/>
          </a:xfrm>
          <a:solidFill>
            <a:schemeClr val="bg1"/>
          </a:solidFill>
        </p:spPr>
        <p:txBody>
          <a:bodyPr/>
          <a:lstStyle/>
          <a:p>
            <a:endParaRPr lang="sv-SE"/>
          </a:p>
        </p:txBody>
      </p:sp>
      <p:sp>
        <p:nvSpPr>
          <p:cNvPr id="17" name="Platshållare för bild 6">
            <a:extLst>
              <a:ext uri="{FF2B5EF4-FFF2-40B4-BE49-F238E27FC236}">
                <a16:creationId xmlns:a16="http://schemas.microsoft.com/office/drawing/2014/main" id="{52FBB32F-EEC4-49D4-A2F4-66D4E84CFE09}"/>
              </a:ext>
            </a:extLst>
          </p:cNvPr>
          <p:cNvSpPr>
            <a:spLocks noGrp="1"/>
          </p:cNvSpPr>
          <p:nvPr>
            <p:ph type="pic" sz="quarter" idx="23"/>
          </p:nvPr>
        </p:nvSpPr>
        <p:spPr>
          <a:xfrm>
            <a:off x="2552701" y="1086081"/>
            <a:ext cx="1955800" cy="798281"/>
          </a:xfrm>
          <a:solidFill>
            <a:schemeClr val="bg1"/>
          </a:solidFill>
        </p:spPr>
        <p:txBody>
          <a:bodyPr/>
          <a:lstStyle/>
          <a:p>
            <a:endParaRPr lang="sv-SE"/>
          </a:p>
        </p:txBody>
      </p:sp>
      <p:sp>
        <p:nvSpPr>
          <p:cNvPr id="15" name="Platshållare för bild 6">
            <a:extLst>
              <a:ext uri="{FF2B5EF4-FFF2-40B4-BE49-F238E27FC236}">
                <a16:creationId xmlns:a16="http://schemas.microsoft.com/office/drawing/2014/main" id="{8AAA9E83-4030-4A60-AF32-C442ECD44016}"/>
              </a:ext>
            </a:extLst>
          </p:cNvPr>
          <p:cNvSpPr>
            <a:spLocks noGrp="1"/>
          </p:cNvSpPr>
          <p:nvPr>
            <p:ph type="pic" sz="quarter" idx="28"/>
          </p:nvPr>
        </p:nvSpPr>
        <p:spPr>
          <a:xfrm>
            <a:off x="4635500" y="1082906"/>
            <a:ext cx="1955799" cy="798281"/>
          </a:xfrm>
          <a:solidFill>
            <a:schemeClr val="bg1"/>
          </a:solidFill>
        </p:spPr>
        <p:txBody>
          <a:bodyPr/>
          <a:lstStyle/>
          <a:p>
            <a:endParaRPr lang="sv-SE"/>
          </a:p>
        </p:txBody>
      </p:sp>
      <p:sp>
        <p:nvSpPr>
          <p:cNvPr id="20" name="Platshållare för bild 6">
            <a:extLst>
              <a:ext uri="{FF2B5EF4-FFF2-40B4-BE49-F238E27FC236}">
                <a16:creationId xmlns:a16="http://schemas.microsoft.com/office/drawing/2014/main" id="{9F11CFDB-758D-487D-802F-B7E5471176D5}"/>
              </a:ext>
            </a:extLst>
          </p:cNvPr>
          <p:cNvSpPr>
            <a:spLocks noGrp="1"/>
          </p:cNvSpPr>
          <p:nvPr>
            <p:ph type="pic" sz="quarter" idx="29"/>
          </p:nvPr>
        </p:nvSpPr>
        <p:spPr>
          <a:xfrm>
            <a:off x="6718300" y="1084494"/>
            <a:ext cx="1955800" cy="798281"/>
          </a:xfrm>
          <a:solidFill>
            <a:schemeClr val="bg1"/>
          </a:solidFill>
        </p:spPr>
        <p:txBody>
          <a:bodyPr/>
          <a:lstStyle/>
          <a:p>
            <a:endParaRPr lang="sv-SE"/>
          </a:p>
        </p:txBody>
      </p:sp>
      <p:sp>
        <p:nvSpPr>
          <p:cNvPr id="6" name="Platshållare för text 5">
            <a:extLst>
              <a:ext uri="{FF2B5EF4-FFF2-40B4-BE49-F238E27FC236}">
                <a16:creationId xmlns:a16="http://schemas.microsoft.com/office/drawing/2014/main" id="{AEF929CF-BB95-4BB6-AA69-FFFF0B716106}"/>
              </a:ext>
            </a:extLst>
          </p:cNvPr>
          <p:cNvSpPr>
            <a:spLocks noGrp="1"/>
          </p:cNvSpPr>
          <p:nvPr>
            <p:ph type="body" sz="quarter" idx="31"/>
          </p:nvPr>
        </p:nvSpPr>
        <p:spPr>
          <a:xfrm>
            <a:off x="469900" y="1882775"/>
            <a:ext cx="1941512" cy="2316163"/>
          </a:xfrm>
          <a:solidFill>
            <a:schemeClr val="accent2"/>
          </a:solidFill>
        </p:spPr>
        <p:txBody>
          <a:bodyPr lIns="126000" tIns="126000" rIns="126000" bIns="126000"/>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9" name="Platshållare för text 5">
            <a:extLst>
              <a:ext uri="{FF2B5EF4-FFF2-40B4-BE49-F238E27FC236}">
                <a16:creationId xmlns:a16="http://schemas.microsoft.com/office/drawing/2014/main" id="{6605763F-E2A8-4E46-9F6D-89C91EABB43F}"/>
              </a:ext>
            </a:extLst>
          </p:cNvPr>
          <p:cNvSpPr>
            <a:spLocks noGrp="1"/>
          </p:cNvSpPr>
          <p:nvPr>
            <p:ph type="body" sz="quarter" idx="32"/>
          </p:nvPr>
        </p:nvSpPr>
        <p:spPr>
          <a:xfrm>
            <a:off x="2552695" y="1890712"/>
            <a:ext cx="1955800" cy="2316163"/>
          </a:xfrm>
          <a:solidFill>
            <a:schemeClr val="accent1"/>
          </a:solidFill>
        </p:spPr>
        <p:txBody>
          <a:bodyPr lIns="126000" tIns="126000" rIns="126000" bIns="126000"/>
          <a:lstStyle>
            <a:lvl1pPr>
              <a:buClr>
                <a:schemeClr val="accent2"/>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24" name="Platshållare för text 5">
            <a:extLst>
              <a:ext uri="{FF2B5EF4-FFF2-40B4-BE49-F238E27FC236}">
                <a16:creationId xmlns:a16="http://schemas.microsoft.com/office/drawing/2014/main" id="{F44F7600-4B80-454C-8624-9DF1563ECAC8}"/>
              </a:ext>
            </a:extLst>
          </p:cNvPr>
          <p:cNvSpPr>
            <a:spLocks noGrp="1"/>
          </p:cNvSpPr>
          <p:nvPr>
            <p:ph type="body" sz="quarter" idx="33"/>
          </p:nvPr>
        </p:nvSpPr>
        <p:spPr>
          <a:xfrm>
            <a:off x="4635505" y="1893887"/>
            <a:ext cx="1955800" cy="2316163"/>
          </a:xfrm>
          <a:solidFill>
            <a:schemeClr val="accent2"/>
          </a:solidFill>
        </p:spPr>
        <p:txBody>
          <a:bodyPr lIns="126000" tIns="126000" rIns="126000" bIns="126000"/>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25" name="Platshållare för text 5">
            <a:extLst>
              <a:ext uri="{FF2B5EF4-FFF2-40B4-BE49-F238E27FC236}">
                <a16:creationId xmlns:a16="http://schemas.microsoft.com/office/drawing/2014/main" id="{5F844BFA-3349-4614-BDF4-171CF493C5A0}"/>
              </a:ext>
            </a:extLst>
          </p:cNvPr>
          <p:cNvSpPr>
            <a:spLocks noGrp="1"/>
          </p:cNvSpPr>
          <p:nvPr>
            <p:ph type="body" sz="quarter" idx="34"/>
          </p:nvPr>
        </p:nvSpPr>
        <p:spPr>
          <a:xfrm>
            <a:off x="6718300" y="1882776"/>
            <a:ext cx="1955800" cy="2335212"/>
          </a:xfrm>
          <a:solidFill>
            <a:schemeClr val="accent1"/>
          </a:solidFill>
        </p:spPr>
        <p:txBody>
          <a:bodyPr lIns="126000" tIns="126000" rIns="126000" bIns="126000"/>
          <a:lstStyle>
            <a:lvl1pPr>
              <a:buClr>
                <a:schemeClr val="accent2"/>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21" name="Platshållare för text 12">
            <a:extLst>
              <a:ext uri="{FF2B5EF4-FFF2-40B4-BE49-F238E27FC236}">
                <a16:creationId xmlns:a16="http://schemas.microsoft.com/office/drawing/2014/main" id="{C3C183BB-A7D8-4AF4-A1CF-2642A3BB3105}"/>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26" name="Platshållare för sidfot 5">
            <a:extLst>
              <a:ext uri="{FF2B5EF4-FFF2-40B4-BE49-F238E27FC236}">
                <a16:creationId xmlns:a16="http://schemas.microsoft.com/office/drawing/2014/main" id="{D43F99FA-9CA2-4285-A0E1-345D464C30C8}"/>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35331955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Ruta - Text - x 3">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p:txBody>
          <a:bodyPr/>
          <a:lstStyle/>
          <a:p>
            <a:r>
              <a:rPr lang="sv-SE"/>
              <a:t>Klicka här för att ändra mall för rubrikformat</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17" name="Platshållare för text 6">
            <a:extLst>
              <a:ext uri="{FF2B5EF4-FFF2-40B4-BE49-F238E27FC236}">
                <a16:creationId xmlns:a16="http://schemas.microsoft.com/office/drawing/2014/main" id="{6B101CEA-CBDE-4223-AB0A-878BB589A73F}"/>
              </a:ext>
            </a:extLst>
          </p:cNvPr>
          <p:cNvSpPr>
            <a:spLocks noGrp="1"/>
          </p:cNvSpPr>
          <p:nvPr>
            <p:ph type="body" sz="quarter" idx="21"/>
          </p:nvPr>
        </p:nvSpPr>
        <p:spPr>
          <a:xfrm>
            <a:off x="469900" y="1882775"/>
            <a:ext cx="1943107" cy="2308225"/>
          </a:xfrm>
          <a:solidFill>
            <a:schemeClr val="bg1"/>
          </a:solidFill>
          <a:ln>
            <a:solidFill>
              <a:schemeClr val="accent2"/>
            </a:solidFill>
          </a:ln>
        </p:spPr>
        <p:txBody>
          <a:bodyPr lIns="126000" tIns="126000" rIns="126000" bIns="12600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8" name="Platshållare för text 6">
            <a:extLst>
              <a:ext uri="{FF2B5EF4-FFF2-40B4-BE49-F238E27FC236}">
                <a16:creationId xmlns:a16="http://schemas.microsoft.com/office/drawing/2014/main" id="{6E29364A-B60E-44F0-BABD-98F1C13C592D}"/>
              </a:ext>
            </a:extLst>
          </p:cNvPr>
          <p:cNvSpPr>
            <a:spLocks noGrp="1"/>
          </p:cNvSpPr>
          <p:nvPr>
            <p:ph type="body" sz="quarter" idx="33"/>
          </p:nvPr>
        </p:nvSpPr>
        <p:spPr>
          <a:xfrm>
            <a:off x="2563820" y="1882774"/>
            <a:ext cx="1951032" cy="2317751"/>
          </a:xfrm>
          <a:solidFill>
            <a:schemeClr val="bg1"/>
          </a:solidFill>
          <a:ln>
            <a:solidFill>
              <a:schemeClr val="accent1"/>
            </a:solidFill>
          </a:ln>
        </p:spPr>
        <p:txBody>
          <a:bodyPr lIns="126000" tIns="126000" rIns="126000" bIns="126000">
            <a:noAutofit/>
          </a:bodyPr>
          <a:lstStyle>
            <a:lvl1pPr>
              <a:buClr>
                <a:schemeClr val="accent1"/>
              </a:buClr>
              <a:defRPr/>
            </a:lvl1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22" name="Platshållare för text 5">
            <a:extLst>
              <a:ext uri="{FF2B5EF4-FFF2-40B4-BE49-F238E27FC236}">
                <a16:creationId xmlns:a16="http://schemas.microsoft.com/office/drawing/2014/main" id="{908F6063-9CDE-4241-A385-6588FEF33D5C}"/>
              </a:ext>
            </a:extLst>
          </p:cNvPr>
          <p:cNvSpPr>
            <a:spLocks noGrp="1"/>
          </p:cNvSpPr>
          <p:nvPr>
            <p:ph type="body" sz="quarter" idx="31"/>
          </p:nvPr>
        </p:nvSpPr>
        <p:spPr>
          <a:xfrm>
            <a:off x="469900" y="1064389"/>
            <a:ext cx="1941513" cy="818385"/>
          </a:xfrm>
          <a:solidFill>
            <a:schemeClr val="accent2"/>
          </a:solidFill>
          <a:ln>
            <a:solidFill>
              <a:schemeClr val="accent2"/>
            </a:solidFill>
          </a:ln>
        </p:spPr>
        <p:txBody>
          <a:bodyPr lIns="126000" tIns="126000" rIns="126000" bIns="126000"/>
          <a:lstStyle>
            <a:lvl1pPr marL="0" indent="0">
              <a:buClr>
                <a:schemeClr val="bg1"/>
              </a:buClr>
              <a:buFontTx/>
              <a:buNone/>
              <a:defRPr b="1">
                <a:solidFill>
                  <a:schemeClr val="bg1"/>
                </a:solidFill>
              </a:defRPr>
            </a:lvl1pPr>
            <a:lvl2pPr marL="144000" indent="0">
              <a:buFontTx/>
              <a:buNone/>
              <a:defRPr b="1">
                <a:solidFill>
                  <a:schemeClr val="bg1"/>
                </a:solidFill>
              </a:defRPr>
            </a:lvl2pPr>
            <a:lvl3pPr marL="288000" indent="0">
              <a:buFontTx/>
              <a:buNone/>
              <a:defRPr b="1">
                <a:solidFill>
                  <a:schemeClr val="bg1"/>
                </a:solidFill>
              </a:defRPr>
            </a:lvl3pPr>
            <a:lvl4pPr marL="432000" indent="0">
              <a:buFontTx/>
              <a:buNone/>
              <a:defRPr b="1">
                <a:solidFill>
                  <a:schemeClr val="bg1"/>
                </a:solidFill>
              </a:defRPr>
            </a:lvl4pPr>
            <a:lvl5pPr marL="576000" indent="0">
              <a:buFontTx/>
              <a:buNone/>
              <a:defRPr b="1">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29" name="Platshållare för text 5">
            <a:extLst>
              <a:ext uri="{FF2B5EF4-FFF2-40B4-BE49-F238E27FC236}">
                <a16:creationId xmlns:a16="http://schemas.microsoft.com/office/drawing/2014/main" id="{2A2747AD-EBD0-427A-BA9E-A8BF2F915028}"/>
              </a:ext>
            </a:extLst>
          </p:cNvPr>
          <p:cNvSpPr>
            <a:spLocks noGrp="1"/>
          </p:cNvSpPr>
          <p:nvPr>
            <p:ph type="body" sz="quarter" idx="36"/>
          </p:nvPr>
        </p:nvSpPr>
        <p:spPr>
          <a:xfrm>
            <a:off x="2562227" y="1073915"/>
            <a:ext cx="1947866" cy="818385"/>
          </a:xfrm>
          <a:solidFill>
            <a:schemeClr val="accent1"/>
          </a:solidFill>
          <a:ln>
            <a:solidFill>
              <a:schemeClr val="accent1"/>
            </a:solidFill>
          </a:ln>
        </p:spPr>
        <p:txBody>
          <a:bodyPr lIns="126000" tIns="126000" rIns="126000" bIns="126000"/>
          <a:lstStyle>
            <a:lvl1pPr marL="0" indent="0">
              <a:buClr>
                <a:schemeClr val="bg1"/>
              </a:buClr>
              <a:buFontTx/>
              <a:buNone/>
              <a:defRPr b="1">
                <a:solidFill>
                  <a:schemeClr val="bg1"/>
                </a:solidFill>
              </a:defRPr>
            </a:lvl1pPr>
            <a:lvl2pPr marL="144000" indent="0">
              <a:buFontTx/>
              <a:buNone/>
              <a:defRPr b="1">
                <a:solidFill>
                  <a:schemeClr val="bg1"/>
                </a:solidFill>
              </a:defRPr>
            </a:lvl2pPr>
            <a:lvl3pPr marL="288000" indent="0">
              <a:buFontTx/>
              <a:buNone/>
              <a:defRPr b="1">
                <a:solidFill>
                  <a:schemeClr val="bg1"/>
                </a:solidFill>
              </a:defRPr>
            </a:lvl3pPr>
            <a:lvl4pPr marL="432000" indent="0">
              <a:buFontTx/>
              <a:buNone/>
              <a:defRPr b="1">
                <a:solidFill>
                  <a:schemeClr val="bg1"/>
                </a:solidFill>
              </a:defRPr>
            </a:lvl4pPr>
            <a:lvl5pPr marL="576000" indent="0">
              <a:buFontTx/>
              <a:buNone/>
              <a:defRPr b="1">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30" name="Platshållare för text 6">
            <a:extLst>
              <a:ext uri="{FF2B5EF4-FFF2-40B4-BE49-F238E27FC236}">
                <a16:creationId xmlns:a16="http://schemas.microsoft.com/office/drawing/2014/main" id="{8171A0B6-565F-4A5F-AD8B-CADCF0D92AAA}"/>
              </a:ext>
            </a:extLst>
          </p:cNvPr>
          <p:cNvSpPr>
            <a:spLocks noGrp="1"/>
          </p:cNvSpPr>
          <p:nvPr>
            <p:ph type="body" sz="quarter" idx="37"/>
          </p:nvPr>
        </p:nvSpPr>
        <p:spPr>
          <a:xfrm>
            <a:off x="4643433" y="1892300"/>
            <a:ext cx="1947867" cy="2308225"/>
          </a:xfrm>
          <a:solidFill>
            <a:schemeClr val="bg1"/>
          </a:solidFill>
          <a:ln>
            <a:solidFill>
              <a:schemeClr val="accent2"/>
            </a:solidFill>
          </a:ln>
        </p:spPr>
        <p:txBody>
          <a:bodyPr lIns="126000" tIns="126000" rIns="126000" bIns="12600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31" name="Platshållare för text 6">
            <a:extLst>
              <a:ext uri="{FF2B5EF4-FFF2-40B4-BE49-F238E27FC236}">
                <a16:creationId xmlns:a16="http://schemas.microsoft.com/office/drawing/2014/main" id="{1D8C7672-A69F-4CD3-BE8F-AC4E0CF743F1}"/>
              </a:ext>
            </a:extLst>
          </p:cNvPr>
          <p:cNvSpPr>
            <a:spLocks noGrp="1"/>
          </p:cNvSpPr>
          <p:nvPr>
            <p:ph type="body" sz="quarter" idx="38"/>
          </p:nvPr>
        </p:nvSpPr>
        <p:spPr>
          <a:xfrm>
            <a:off x="6726234" y="1882775"/>
            <a:ext cx="1946050" cy="2327276"/>
          </a:xfrm>
          <a:solidFill>
            <a:schemeClr val="bg1"/>
          </a:solidFill>
          <a:ln>
            <a:solidFill>
              <a:schemeClr val="accent1"/>
            </a:solidFill>
          </a:ln>
        </p:spPr>
        <p:txBody>
          <a:bodyPr lIns="126000" tIns="126000" rIns="126000" bIns="126000">
            <a:noAutofit/>
          </a:bodyPr>
          <a:lstStyle>
            <a:lvl1pPr>
              <a:buClr>
                <a:schemeClr val="accent1"/>
              </a:buClr>
              <a:defRPr/>
            </a:lvl1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32" name="Platshållare för text 5">
            <a:extLst>
              <a:ext uri="{FF2B5EF4-FFF2-40B4-BE49-F238E27FC236}">
                <a16:creationId xmlns:a16="http://schemas.microsoft.com/office/drawing/2014/main" id="{E8736CF1-9B49-4167-A838-BE8F65CEF427}"/>
              </a:ext>
            </a:extLst>
          </p:cNvPr>
          <p:cNvSpPr>
            <a:spLocks noGrp="1"/>
          </p:cNvSpPr>
          <p:nvPr>
            <p:ph type="body" sz="quarter" idx="39"/>
          </p:nvPr>
        </p:nvSpPr>
        <p:spPr>
          <a:xfrm>
            <a:off x="4643434" y="1073914"/>
            <a:ext cx="1941513" cy="808861"/>
          </a:xfrm>
          <a:solidFill>
            <a:schemeClr val="accent2"/>
          </a:solidFill>
          <a:ln>
            <a:solidFill>
              <a:schemeClr val="accent2"/>
            </a:solidFill>
          </a:ln>
        </p:spPr>
        <p:txBody>
          <a:bodyPr lIns="126000" tIns="126000" rIns="126000" bIns="126000"/>
          <a:lstStyle>
            <a:lvl1pPr marL="0" indent="0">
              <a:buClr>
                <a:schemeClr val="bg1"/>
              </a:buClr>
              <a:buFontTx/>
              <a:buNone/>
              <a:defRPr b="1">
                <a:solidFill>
                  <a:schemeClr val="bg1"/>
                </a:solidFill>
              </a:defRPr>
            </a:lvl1pPr>
            <a:lvl2pPr marL="144000" indent="0">
              <a:buFontTx/>
              <a:buNone/>
              <a:defRPr b="1">
                <a:solidFill>
                  <a:schemeClr val="bg1"/>
                </a:solidFill>
              </a:defRPr>
            </a:lvl2pPr>
            <a:lvl3pPr marL="288000" indent="0">
              <a:buFontTx/>
              <a:buNone/>
              <a:defRPr b="1">
                <a:solidFill>
                  <a:schemeClr val="bg1"/>
                </a:solidFill>
              </a:defRPr>
            </a:lvl3pPr>
            <a:lvl4pPr marL="432000" indent="0">
              <a:buFontTx/>
              <a:buNone/>
              <a:defRPr b="1">
                <a:solidFill>
                  <a:schemeClr val="bg1"/>
                </a:solidFill>
              </a:defRPr>
            </a:lvl4pPr>
            <a:lvl5pPr marL="576000" indent="0">
              <a:buFontTx/>
              <a:buNone/>
              <a:defRPr b="1">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33" name="Platshållare för text 5">
            <a:extLst>
              <a:ext uri="{FF2B5EF4-FFF2-40B4-BE49-F238E27FC236}">
                <a16:creationId xmlns:a16="http://schemas.microsoft.com/office/drawing/2014/main" id="{EEB4B339-B800-45F5-8BAE-F97238DDC986}"/>
              </a:ext>
            </a:extLst>
          </p:cNvPr>
          <p:cNvSpPr>
            <a:spLocks noGrp="1"/>
          </p:cNvSpPr>
          <p:nvPr>
            <p:ph type="body" sz="quarter" idx="40"/>
          </p:nvPr>
        </p:nvSpPr>
        <p:spPr>
          <a:xfrm>
            <a:off x="6721475" y="1068388"/>
            <a:ext cx="1955800" cy="814387"/>
          </a:xfrm>
          <a:solidFill>
            <a:schemeClr val="accent1"/>
          </a:solidFill>
          <a:ln>
            <a:solidFill>
              <a:schemeClr val="accent1"/>
            </a:solidFill>
          </a:ln>
        </p:spPr>
        <p:txBody>
          <a:bodyPr lIns="126000" tIns="126000" rIns="126000" bIns="126000"/>
          <a:lstStyle>
            <a:lvl1pPr marL="0" indent="0">
              <a:buClr>
                <a:schemeClr val="bg1"/>
              </a:buClr>
              <a:buFontTx/>
              <a:buNone/>
              <a:defRPr b="1">
                <a:solidFill>
                  <a:schemeClr val="bg1"/>
                </a:solidFill>
              </a:defRPr>
            </a:lvl1pPr>
            <a:lvl2pPr marL="144000" indent="0">
              <a:buFontTx/>
              <a:buNone/>
              <a:defRPr b="1">
                <a:solidFill>
                  <a:schemeClr val="bg1"/>
                </a:solidFill>
              </a:defRPr>
            </a:lvl2pPr>
            <a:lvl3pPr marL="288000" indent="0">
              <a:buFontTx/>
              <a:buNone/>
              <a:defRPr b="1">
                <a:solidFill>
                  <a:schemeClr val="bg1"/>
                </a:solidFill>
              </a:defRPr>
            </a:lvl3pPr>
            <a:lvl4pPr marL="432000" indent="0">
              <a:buFontTx/>
              <a:buNone/>
              <a:defRPr b="1">
                <a:solidFill>
                  <a:schemeClr val="bg1"/>
                </a:solidFill>
              </a:defRPr>
            </a:lvl4pPr>
            <a:lvl5pPr marL="576000" indent="0">
              <a:buFontTx/>
              <a:buNone/>
              <a:defRPr b="1">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20" name="Platshållare för text 12">
            <a:extLst>
              <a:ext uri="{FF2B5EF4-FFF2-40B4-BE49-F238E27FC236}">
                <a16:creationId xmlns:a16="http://schemas.microsoft.com/office/drawing/2014/main" id="{20E7C9DF-9836-4F7B-9121-09880A78764B}"/>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21" name="Platshållare för sidfot 5">
            <a:extLst>
              <a:ext uri="{FF2B5EF4-FFF2-40B4-BE49-F238E27FC236}">
                <a16:creationId xmlns:a16="http://schemas.microsoft.com/office/drawing/2014/main" id="{1C017B5E-4B93-4ED0-A912-44DFCFFA5DC8}"/>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40267231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Ruta - Text x 2">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p:txBody>
          <a:bodyPr/>
          <a:lstStyle/>
          <a:p>
            <a:r>
              <a:rPr lang="sv-SE"/>
              <a:t>Klicka här för att ändra mall för rubrikformat</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6" name="Platshållare för text 5">
            <a:extLst>
              <a:ext uri="{FF2B5EF4-FFF2-40B4-BE49-F238E27FC236}">
                <a16:creationId xmlns:a16="http://schemas.microsoft.com/office/drawing/2014/main" id="{E2EF948A-8C55-4A8C-8CD0-D142C17B443B}"/>
              </a:ext>
            </a:extLst>
          </p:cNvPr>
          <p:cNvSpPr>
            <a:spLocks noGrp="1"/>
          </p:cNvSpPr>
          <p:nvPr>
            <p:ph type="body" sz="quarter" idx="27"/>
          </p:nvPr>
        </p:nvSpPr>
        <p:spPr>
          <a:xfrm>
            <a:off x="469900" y="1068388"/>
            <a:ext cx="4035425" cy="814387"/>
          </a:xfrm>
          <a:solidFill>
            <a:schemeClr val="accent2"/>
          </a:solidFill>
          <a:ln>
            <a:solidFill>
              <a:schemeClr val="accent2"/>
            </a:solidFill>
          </a:ln>
        </p:spPr>
        <p:txBody>
          <a:bodyPr lIns="126000" tIns="126000" rIns="126000" bIns="126000">
            <a:noAutofit/>
          </a:bodyPr>
          <a:lstStyle>
            <a:lvl1pPr marL="0" indent="0">
              <a:buClr>
                <a:schemeClr val="bg1"/>
              </a:buClr>
              <a:buNone/>
              <a:defRPr sz="1500" b="1">
                <a:solidFill>
                  <a:schemeClr val="bg1"/>
                </a:solidFill>
                <a:latin typeface="+mj-lt"/>
              </a:defRPr>
            </a:lvl1pPr>
            <a:lvl2pPr marL="144000" indent="0">
              <a:buNone/>
              <a:defRPr sz="1500" b="1">
                <a:solidFill>
                  <a:schemeClr val="bg1"/>
                </a:solidFill>
                <a:latin typeface="+mj-lt"/>
              </a:defRPr>
            </a:lvl2pPr>
            <a:lvl3pPr marL="288000" indent="0">
              <a:buNone/>
              <a:defRPr sz="1500" b="1">
                <a:solidFill>
                  <a:schemeClr val="bg1"/>
                </a:solidFill>
                <a:latin typeface="+mj-lt"/>
              </a:defRPr>
            </a:lvl3pPr>
            <a:lvl4pPr marL="432000" indent="0">
              <a:buNone/>
              <a:defRPr sz="1500" b="1">
                <a:solidFill>
                  <a:schemeClr val="bg1"/>
                </a:solidFill>
                <a:latin typeface="+mj-lt"/>
              </a:defRPr>
            </a:lvl4pPr>
            <a:lvl5pPr marL="576000" indent="0">
              <a:buNone/>
              <a:defRPr sz="1500" b="1">
                <a:solidFill>
                  <a:schemeClr val="bg1"/>
                </a:solidFill>
                <a:latin typeface="+mj-lt"/>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7" name="Platshållare för text 5">
            <a:extLst>
              <a:ext uri="{FF2B5EF4-FFF2-40B4-BE49-F238E27FC236}">
                <a16:creationId xmlns:a16="http://schemas.microsoft.com/office/drawing/2014/main" id="{2F5EC3C9-7D9D-45D4-8D66-483306E5FDB8}"/>
              </a:ext>
            </a:extLst>
          </p:cNvPr>
          <p:cNvSpPr>
            <a:spLocks noGrp="1"/>
          </p:cNvSpPr>
          <p:nvPr>
            <p:ph type="body" sz="quarter" idx="28"/>
          </p:nvPr>
        </p:nvSpPr>
        <p:spPr>
          <a:xfrm>
            <a:off x="473075" y="1884363"/>
            <a:ext cx="4035425" cy="2316162"/>
          </a:xfrm>
          <a:solidFill>
            <a:schemeClr val="bg1"/>
          </a:solidFill>
          <a:ln>
            <a:solidFill>
              <a:schemeClr val="accent2"/>
            </a:solidFill>
          </a:ln>
        </p:spPr>
        <p:txBody>
          <a:bodyPr lIns="126000" tIns="126000" rIns="126000" bIns="126000">
            <a:noAutofit/>
          </a:bodyPr>
          <a:lstStyle>
            <a:lvl1pPr>
              <a:buClr>
                <a:schemeClr val="accent2"/>
              </a:buCl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8" name="Platshållare för text 5">
            <a:extLst>
              <a:ext uri="{FF2B5EF4-FFF2-40B4-BE49-F238E27FC236}">
                <a16:creationId xmlns:a16="http://schemas.microsoft.com/office/drawing/2014/main" id="{67E32C65-4005-4027-AF10-BEA126394DB3}"/>
              </a:ext>
            </a:extLst>
          </p:cNvPr>
          <p:cNvSpPr>
            <a:spLocks noGrp="1"/>
          </p:cNvSpPr>
          <p:nvPr>
            <p:ph type="body" sz="quarter" idx="29"/>
          </p:nvPr>
        </p:nvSpPr>
        <p:spPr>
          <a:xfrm>
            <a:off x="4638675" y="1068388"/>
            <a:ext cx="4035425" cy="814387"/>
          </a:xfrm>
          <a:solidFill>
            <a:schemeClr val="accent2"/>
          </a:solidFill>
          <a:ln>
            <a:solidFill>
              <a:schemeClr val="accent2"/>
            </a:solidFill>
          </a:ln>
        </p:spPr>
        <p:txBody>
          <a:bodyPr lIns="126000" tIns="126000" rIns="126000" bIns="126000">
            <a:noAutofit/>
          </a:bodyPr>
          <a:lstStyle>
            <a:lvl1pPr marL="0" indent="0">
              <a:buClr>
                <a:schemeClr val="bg1"/>
              </a:buClr>
              <a:buNone/>
              <a:defRPr sz="1500" b="1">
                <a:solidFill>
                  <a:schemeClr val="bg1"/>
                </a:solidFill>
                <a:latin typeface="+mj-lt"/>
              </a:defRPr>
            </a:lvl1pPr>
            <a:lvl2pPr marL="144000" indent="0">
              <a:buNone/>
              <a:defRPr sz="1500" b="1">
                <a:solidFill>
                  <a:schemeClr val="bg1"/>
                </a:solidFill>
                <a:latin typeface="+mj-lt"/>
              </a:defRPr>
            </a:lvl2pPr>
            <a:lvl3pPr marL="288000" indent="0">
              <a:buNone/>
              <a:defRPr sz="1500" b="1">
                <a:solidFill>
                  <a:schemeClr val="bg1"/>
                </a:solidFill>
                <a:latin typeface="+mj-lt"/>
              </a:defRPr>
            </a:lvl3pPr>
            <a:lvl4pPr marL="432000" indent="0">
              <a:buNone/>
              <a:defRPr sz="1500" b="1">
                <a:solidFill>
                  <a:schemeClr val="bg1"/>
                </a:solidFill>
                <a:latin typeface="+mj-lt"/>
              </a:defRPr>
            </a:lvl4pPr>
            <a:lvl5pPr marL="576000" indent="0">
              <a:buNone/>
              <a:defRPr sz="1500" b="1">
                <a:solidFill>
                  <a:schemeClr val="bg1"/>
                </a:solidFill>
                <a:latin typeface="+mj-lt"/>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9" name="Platshållare för text 5">
            <a:extLst>
              <a:ext uri="{FF2B5EF4-FFF2-40B4-BE49-F238E27FC236}">
                <a16:creationId xmlns:a16="http://schemas.microsoft.com/office/drawing/2014/main" id="{E9B6C344-4702-4B2E-A8A8-4986EC0F7CC8}"/>
              </a:ext>
            </a:extLst>
          </p:cNvPr>
          <p:cNvSpPr>
            <a:spLocks noGrp="1"/>
          </p:cNvSpPr>
          <p:nvPr>
            <p:ph type="body" sz="quarter" idx="30"/>
          </p:nvPr>
        </p:nvSpPr>
        <p:spPr>
          <a:xfrm>
            <a:off x="4641850" y="1884363"/>
            <a:ext cx="4035425" cy="2316162"/>
          </a:xfrm>
          <a:solidFill>
            <a:schemeClr val="bg1"/>
          </a:solidFill>
          <a:ln>
            <a:solidFill>
              <a:schemeClr val="accent2"/>
            </a:solidFill>
          </a:ln>
        </p:spPr>
        <p:txBody>
          <a:bodyPr lIns="126000" tIns="126000" rIns="126000" bIns="126000">
            <a:noAutofit/>
          </a:bodyPr>
          <a:lstStyle>
            <a:lvl1pPr>
              <a:buClr>
                <a:schemeClr val="accent2"/>
              </a:buCl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21" name="Platshållare för text 12">
            <a:extLst>
              <a:ext uri="{FF2B5EF4-FFF2-40B4-BE49-F238E27FC236}">
                <a16:creationId xmlns:a16="http://schemas.microsoft.com/office/drawing/2014/main" id="{19FE089C-15E5-41D7-B34F-A1B9BDC99980}"/>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22" name="Platshållare för sidfot 5">
            <a:extLst>
              <a:ext uri="{FF2B5EF4-FFF2-40B4-BE49-F238E27FC236}">
                <a16:creationId xmlns:a16="http://schemas.microsoft.com/office/drawing/2014/main" id="{FF1F5660-0E6E-4419-9D49-7C2B2736CD02}"/>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34827391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Tac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175562D-8BE4-4E07-BD9B-7CEBE40A1A7F}"/>
              </a:ext>
            </a:extLst>
          </p:cNvPr>
          <p:cNvSpPr>
            <a:spLocks noGrp="1"/>
          </p:cNvSpPr>
          <p:nvPr>
            <p:ph type="ctrTitle" hasCustomPrompt="1"/>
          </p:nvPr>
        </p:nvSpPr>
        <p:spPr>
          <a:xfrm>
            <a:off x="1857375" y="255589"/>
            <a:ext cx="5427661" cy="1501775"/>
          </a:xfrm>
        </p:spPr>
        <p:txBody>
          <a:bodyPr lIns="0" tIns="0" rIns="0" bIns="0" anchor="b" anchorCtr="0"/>
          <a:lstStyle>
            <a:lvl1pPr algn="l">
              <a:defRPr sz="4500">
                <a:solidFill>
                  <a:schemeClr val="tx1"/>
                </a:solidFill>
              </a:defRPr>
            </a:lvl1pPr>
          </a:lstStyle>
          <a:p>
            <a:r>
              <a:rPr lang="sv-SE"/>
              <a:t>Tack!</a:t>
            </a:r>
          </a:p>
        </p:txBody>
      </p:sp>
      <p:sp>
        <p:nvSpPr>
          <p:cNvPr id="3" name="Underrubrik 2">
            <a:extLst>
              <a:ext uri="{FF2B5EF4-FFF2-40B4-BE49-F238E27FC236}">
                <a16:creationId xmlns:a16="http://schemas.microsoft.com/office/drawing/2014/main" id="{2DB9F56F-2AD1-42EA-A8BF-E10C61A55E2D}"/>
              </a:ext>
            </a:extLst>
          </p:cNvPr>
          <p:cNvSpPr>
            <a:spLocks noGrp="1"/>
          </p:cNvSpPr>
          <p:nvPr>
            <p:ph type="subTitle" idx="1" hasCustomPrompt="1"/>
          </p:nvPr>
        </p:nvSpPr>
        <p:spPr>
          <a:xfrm>
            <a:off x="1857375" y="1884363"/>
            <a:ext cx="5427661" cy="1501775"/>
          </a:xfrm>
        </p:spPr>
        <p:txBody>
          <a:bodyPr lIns="0" tIns="0" rIns="0" bIns="0" anchor="t" anchorCtr="0">
            <a:normAutofit/>
          </a:bodyPr>
          <a:lstStyle>
            <a:lvl1pPr marL="0" indent="0" algn="l">
              <a:buNone/>
              <a:defRPr sz="140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Förnamn Efternamn</a:t>
            </a:r>
            <a:br>
              <a:rPr lang="sv-SE"/>
            </a:br>
            <a:r>
              <a:rPr lang="sv-SE"/>
              <a:t>Titel, </a:t>
            </a:r>
            <a:br>
              <a:rPr lang="sv-SE"/>
            </a:br>
            <a:r>
              <a:rPr lang="sv-SE"/>
              <a:t>Bankinfrastruktur i Sverige</a:t>
            </a:r>
          </a:p>
        </p:txBody>
      </p:sp>
      <p:sp>
        <p:nvSpPr>
          <p:cNvPr id="14" name="Platshållare för text 12">
            <a:extLst>
              <a:ext uri="{FF2B5EF4-FFF2-40B4-BE49-F238E27FC236}">
                <a16:creationId xmlns:a16="http://schemas.microsoft.com/office/drawing/2014/main" id="{E4229744-34B8-4183-BE14-240D567AA6C0}"/>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15" name="Platshållare för sidfot 5">
            <a:extLst>
              <a:ext uri="{FF2B5EF4-FFF2-40B4-BE49-F238E27FC236}">
                <a16:creationId xmlns:a16="http://schemas.microsoft.com/office/drawing/2014/main" id="{6324595A-7848-4DF9-BE94-08B34D00098B}"/>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37821131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2_Tac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175562D-8BE4-4E07-BD9B-7CEBE40A1A7F}"/>
              </a:ext>
            </a:extLst>
          </p:cNvPr>
          <p:cNvSpPr>
            <a:spLocks noGrp="1"/>
          </p:cNvSpPr>
          <p:nvPr>
            <p:ph type="ctrTitle" hasCustomPrompt="1"/>
          </p:nvPr>
        </p:nvSpPr>
        <p:spPr>
          <a:xfrm>
            <a:off x="1857375" y="255589"/>
            <a:ext cx="5427661" cy="1501775"/>
          </a:xfrm>
        </p:spPr>
        <p:txBody>
          <a:bodyPr lIns="0" tIns="0" rIns="0" bIns="0" anchor="b" anchorCtr="0"/>
          <a:lstStyle>
            <a:lvl1pPr algn="l">
              <a:defRPr sz="4500">
                <a:solidFill>
                  <a:schemeClr val="tx1"/>
                </a:solidFill>
              </a:defRPr>
            </a:lvl1pPr>
          </a:lstStyle>
          <a:p>
            <a:r>
              <a:rPr lang="sv-SE"/>
              <a:t>Tack!</a:t>
            </a:r>
          </a:p>
        </p:txBody>
      </p:sp>
      <p:sp>
        <p:nvSpPr>
          <p:cNvPr id="3" name="Underrubrik 2">
            <a:extLst>
              <a:ext uri="{FF2B5EF4-FFF2-40B4-BE49-F238E27FC236}">
                <a16:creationId xmlns:a16="http://schemas.microsoft.com/office/drawing/2014/main" id="{2DB9F56F-2AD1-42EA-A8BF-E10C61A55E2D}"/>
              </a:ext>
            </a:extLst>
          </p:cNvPr>
          <p:cNvSpPr>
            <a:spLocks noGrp="1"/>
          </p:cNvSpPr>
          <p:nvPr>
            <p:ph type="subTitle" idx="1" hasCustomPrompt="1"/>
          </p:nvPr>
        </p:nvSpPr>
        <p:spPr>
          <a:xfrm>
            <a:off x="1857375" y="1884363"/>
            <a:ext cx="5427661" cy="1501775"/>
          </a:xfrm>
        </p:spPr>
        <p:txBody>
          <a:bodyPr lIns="0" tIns="0" rIns="0" bIns="0" anchor="t" anchorCtr="0">
            <a:normAutofit/>
          </a:bodyPr>
          <a:lstStyle>
            <a:lvl1pPr marL="0" indent="0" algn="l">
              <a:buNone/>
              <a:defRPr sz="140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Förnamn Efternamn</a:t>
            </a:r>
            <a:br>
              <a:rPr lang="sv-SE"/>
            </a:br>
            <a:r>
              <a:rPr lang="sv-SE"/>
              <a:t>Titel, </a:t>
            </a:r>
            <a:br>
              <a:rPr lang="sv-SE"/>
            </a:br>
            <a:r>
              <a:rPr lang="sv-SE"/>
              <a:t>Bankinfrastruktur i Sverige</a:t>
            </a:r>
          </a:p>
        </p:txBody>
      </p:sp>
      <p:sp>
        <p:nvSpPr>
          <p:cNvPr id="14" name="Platshållare för text 12">
            <a:extLst>
              <a:ext uri="{FF2B5EF4-FFF2-40B4-BE49-F238E27FC236}">
                <a16:creationId xmlns:a16="http://schemas.microsoft.com/office/drawing/2014/main" id="{E4229744-34B8-4183-BE14-240D567AA6C0}"/>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15" name="Platshållare för sidfot 5">
            <a:extLst>
              <a:ext uri="{FF2B5EF4-FFF2-40B4-BE49-F238E27FC236}">
                <a16:creationId xmlns:a16="http://schemas.microsoft.com/office/drawing/2014/main" id="{6324595A-7848-4DF9-BE94-08B34D00098B}"/>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421948904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3_Tac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175562D-8BE4-4E07-BD9B-7CEBE40A1A7F}"/>
              </a:ext>
            </a:extLst>
          </p:cNvPr>
          <p:cNvSpPr>
            <a:spLocks noGrp="1"/>
          </p:cNvSpPr>
          <p:nvPr>
            <p:ph type="ctrTitle" hasCustomPrompt="1"/>
          </p:nvPr>
        </p:nvSpPr>
        <p:spPr>
          <a:xfrm>
            <a:off x="1857375" y="255589"/>
            <a:ext cx="5427661" cy="1501775"/>
          </a:xfrm>
        </p:spPr>
        <p:txBody>
          <a:bodyPr lIns="0" tIns="0" rIns="0" bIns="0" anchor="b" anchorCtr="0"/>
          <a:lstStyle>
            <a:lvl1pPr algn="l">
              <a:defRPr sz="4500">
                <a:solidFill>
                  <a:schemeClr val="tx1"/>
                </a:solidFill>
              </a:defRPr>
            </a:lvl1pPr>
          </a:lstStyle>
          <a:p>
            <a:r>
              <a:rPr lang="sv-SE"/>
              <a:t>Tack!</a:t>
            </a:r>
          </a:p>
        </p:txBody>
      </p:sp>
      <p:sp>
        <p:nvSpPr>
          <p:cNvPr id="3" name="Underrubrik 2">
            <a:extLst>
              <a:ext uri="{FF2B5EF4-FFF2-40B4-BE49-F238E27FC236}">
                <a16:creationId xmlns:a16="http://schemas.microsoft.com/office/drawing/2014/main" id="{2DB9F56F-2AD1-42EA-A8BF-E10C61A55E2D}"/>
              </a:ext>
            </a:extLst>
          </p:cNvPr>
          <p:cNvSpPr>
            <a:spLocks noGrp="1"/>
          </p:cNvSpPr>
          <p:nvPr>
            <p:ph type="subTitle" idx="1" hasCustomPrompt="1"/>
          </p:nvPr>
        </p:nvSpPr>
        <p:spPr>
          <a:xfrm>
            <a:off x="1857375" y="1884363"/>
            <a:ext cx="5427661" cy="1501775"/>
          </a:xfrm>
        </p:spPr>
        <p:txBody>
          <a:bodyPr lIns="0" tIns="0" rIns="0" bIns="0" anchor="t" anchorCtr="0">
            <a:normAutofit/>
          </a:bodyPr>
          <a:lstStyle>
            <a:lvl1pPr marL="0" indent="0" algn="l">
              <a:buNone/>
              <a:defRPr sz="140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Förnamn Efternamn</a:t>
            </a:r>
            <a:br>
              <a:rPr lang="sv-SE"/>
            </a:br>
            <a:r>
              <a:rPr lang="sv-SE"/>
              <a:t>Titel, </a:t>
            </a:r>
            <a:br>
              <a:rPr lang="sv-SE"/>
            </a:br>
            <a:r>
              <a:rPr lang="sv-SE"/>
              <a:t>Bankinfrastruktur i Sverige</a:t>
            </a:r>
          </a:p>
        </p:txBody>
      </p:sp>
      <p:sp>
        <p:nvSpPr>
          <p:cNvPr id="14" name="Platshållare för text 12">
            <a:extLst>
              <a:ext uri="{FF2B5EF4-FFF2-40B4-BE49-F238E27FC236}">
                <a16:creationId xmlns:a16="http://schemas.microsoft.com/office/drawing/2014/main" id="{E4229744-34B8-4183-BE14-240D567AA6C0}"/>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15" name="Platshållare för sidfot 5">
            <a:extLst>
              <a:ext uri="{FF2B5EF4-FFF2-40B4-BE49-F238E27FC236}">
                <a16:creationId xmlns:a16="http://schemas.microsoft.com/office/drawing/2014/main" id="{6324595A-7848-4DF9-BE94-08B34D00098B}"/>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3522163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4_Tac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175562D-8BE4-4E07-BD9B-7CEBE40A1A7F}"/>
              </a:ext>
            </a:extLst>
          </p:cNvPr>
          <p:cNvSpPr>
            <a:spLocks noGrp="1"/>
          </p:cNvSpPr>
          <p:nvPr>
            <p:ph type="ctrTitle" hasCustomPrompt="1"/>
          </p:nvPr>
        </p:nvSpPr>
        <p:spPr>
          <a:xfrm>
            <a:off x="1857375" y="255589"/>
            <a:ext cx="5427661" cy="1501775"/>
          </a:xfrm>
        </p:spPr>
        <p:txBody>
          <a:bodyPr lIns="0" tIns="0" rIns="0" bIns="0" anchor="b" anchorCtr="0"/>
          <a:lstStyle>
            <a:lvl1pPr algn="l">
              <a:defRPr sz="4500">
                <a:solidFill>
                  <a:schemeClr val="tx1"/>
                </a:solidFill>
              </a:defRPr>
            </a:lvl1pPr>
          </a:lstStyle>
          <a:p>
            <a:r>
              <a:rPr lang="sv-SE"/>
              <a:t>Tack!</a:t>
            </a:r>
          </a:p>
        </p:txBody>
      </p:sp>
      <p:sp>
        <p:nvSpPr>
          <p:cNvPr id="3" name="Underrubrik 2">
            <a:extLst>
              <a:ext uri="{FF2B5EF4-FFF2-40B4-BE49-F238E27FC236}">
                <a16:creationId xmlns:a16="http://schemas.microsoft.com/office/drawing/2014/main" id="{2DB9F56F-2AD1-42EA-A8BF-E10C61A55E2D}"/>
              </a:ext>
            </a:extLst>
          </p:cNvPr>
          <p:cNvSpPr>
            <a:spLocks noGrp="1"/>
          </p:cNvSpPr>
          <p:nvPr>
            <p:ph type="subTitle" idx="1" hasCustomPrompt="1"/>
          </p:nvPr>
        </p:nvSpPr>
        <p:spPr>
          <a:xfrm>
            <a:off x="1857375" y="1884363"/>
            <a:ext cx="5427661" cy="1501775"/>
          </a:xfrm>
        </p:spPr>
        <p:txBody>
          <a:bodyPr lIns="0" tIns="0" rIns="0" bIns="0" anchor="t" anchorCtr="0">
            <a:normAutofit/>
          </a:bodyPr>
          <a:lstStyle>
            <a:lvl1pPr marL="0" indent="0" algn="l">
              <a:buNone/>
              <a:defRPr sz="140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Förnamn Efternamn</a:t>
            </a:r>
            <a:br>
              <a:rPr lang="sv-SE"/>
            </a:br>
            <a:r>
              <a:rPr lang="sv-SE"/>
              <a:t>Titel, </a:t>
            </a:r>
            <a:br>
              <a:rPr lang="sv-SE"/>
            </a:br>
            <a:r>
              <a:rPr lang="sv-SE"/>
              <a:t>Bankinfrastruktur i Sverige</a:t>
            </a:r>
          </a:p>
        </p:txBody>
      </p:sp>
      <p:sp>
        <p:nvSpPr>
          <p:cNvPr id="14" name="Platshållare för text 12">
            <a:extLst>
              <a:ext uri="{FF2B5EF4-FFF2-40B4-BE49-F238E27FC236}">
                <a16:creationId xmlns:a16="http://schemas.microsoft.com/office/drawing/2014/main" id="{E4229744-34B8-4183-BE14-240D567AA6C0}"/>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15" name="Platshållare för sidfot 5">
            <a:extLst>
              <a:ext uri="{FF2B5EF4-FFF2-40B4-BE49-F238E27FC236}">
                <a16:creationId xmlns:a16="http://schemas.microsoft.com/office/drawing/2014/main" id="{6324595A-7848-4DF9-BE94-08B34D00098B}"/>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13899379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5_Tac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175562D-8BE4-4E07-BD9B-7CEBE40A1A7F}"/>
              </a:ext>
            </a:extLst>
          </p:cNvPr>
          <p:cNvSpPr>
            <a:spLocks noGrp="1"/>
          </p:cNvSpPr>
          <p:nvPr>
            <p:ph type="ctrTitle" hasCustomPrompt="1"/>
          </p:nvPr>
        </p:nvSpPr>
        <p:spPr>
          <a:xfrm>
            <a:off x="1857375" y="255589"/>
            <a:ext cx="5427661" cy="1501775"/>
          </a:xfrm>
        </p:spPr>
        <p:txBody>
          <a:bodyPr lIns="0" tIns="0" rIns="0" bIns="0" anchor="b" anchorCtr="0"/>
          <a:lstStyle>
            <a:lvl1pPr algn="l">
              <a:defRPr sz="4500">
                <a:solidFill>
                  <a:schemeClr val="tx1"/>
                </a:solidFill>
              </a:defRPr>
            </a:lvl1pPr>
          </a:lstStyle>
          <a:p>
            <a:r>
              <a:rPr lang="sv-SE"/>
              <a:t>Tack!</a:t>
            </a:r>
          </a:p>
        </p:txBody>
      </p:sp>
      <p:sp>
        <p:nvSpPr>
          <p:cNvPr id="3" name="Underrubrik 2">
            <a:extLst>
              <a:ext uri="{FF2B5EF4-FFF2-40B4-BE49-F238E27FC236}">
                <a16:creationId xmlns:a16="http://schemas.microsoft.com/office/drawing/2014/main" id="{2DB9F56F-2AD1-42EA-A8BF-E10C61A55E2D}"/>
              </a:ext>
            </a:extLst>
          </p:cNvPr>
          <p:cNvSpPr>
            <a:spLocks noGrp="1"/>
          </p:cNvSpPr>
          <p:nvPr>
            <p:ph type="subTitle" idx="1" hasCustomPrompt="1"/>
          </p:nvPr>
        </p:nvSpPr>
        <p:spPr>
          <a:xfrm>
            <a:off x="1857375" y="1884363"/>
            <a:ext cx="5427661" cy="1501775"/>
          </a:xfrm>
        </p:spPr>
        <p:txBody>
          <a:bodyPr lIns="0" tIns="0" rIns="0" bIns="0" anchor="t" anchorCtr="0">
            <a:normAutofit/>
          </a:bodyPr>
          <a:lstStyle>
            <a:lvl1pPr marL="0" indent="0" algn="l">
              <a:buNone/>
              <a:defRPr sz="140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Förnamn Efternamn</a:t>
            </a:r>
            <a:br>
              <a:rPr lang="sv-SE"/>
            </a:br>
            <a:r>
              <a:rPr lang="sv-SE"/>
              <a:t>Titel, </a:t>
            </a:r>
            <a:br>
              <a:rPr lang="sv-SE"/>
            </a:br>
            <a:r>
              <a:rPr lang="sv-SE"/>
              <a:t>Bankinfrastruktur i Sverige</a:t>
            </a:r>
          </a:p>
        </p:txBody>
      </p:sp>
      <p:sp>
        <p:nvSpPr>
          <p:cNvPr id="14" name="Platshållare för text 12">
            <a:extLst>
              <a:ext uri="{FF2B5EF4-FFF2-40B4-BE49-F238E27FC236}">
                <a16:creationId xmlns:a16="http://schemas.microsoft.com/office/drawing/2014/main" id="{E4229744-34B8-4183-BE14-240D567AA6C0}"/>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15" name="Platshållare för sidfot 5">
            <a:extLst>
              <a:ext uri="{FF2B5EF4-FFF2-40B4-BE49-F238E27FC236}">
                <a16:creationId xmlns:a16="http://schemas.microsoft.com/office/drawing/2014/main" id="{6324595A-7848-4DF9-BE94-08B34D00098B}"/>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8255088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6_Tac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175562D-8BE4-4E07-BD9B-7CEBE40A1A7F}"/>
              </a:ext>
            </a:extLst>
          </p:cNvPr>
          <p:cNvSpPr>
            <a:spLocks noGrp="1"/>
          </p:cNvSpPr>
          <p:nvPr>
            <p:ph type="ctrTitle" hasCustomPrompt="1"/>
          </p:nvPr>
        </p:nvSpPr>
        <p:spPr>
          <a:xfrm>
            <a:off x="1857375" y="255589"/>
            <a:ext cx="5427661" cy="1501775"/>
          </a:xfrm>
        </p:spPr>
        <p:txBody>
          <a:bodyPr lIns="0" tIns="0" rIns="0" bIns="0" anchor="b" anchorCtr="0"/>
          <a:lstStyle>
            <a:lvl1pPr algn="l">
              <a:defRPr sz="4500">
                <a:solidFill>
                  <a:schemeClr val="tx1"/>
                </a:solidFill>
              </a:defRPr>
            </a:lvl1pPr>
          </a:lstStyle>
          <a:p>
            <a:r>
              <a:rPr lang="sv-SE"/>
              <a:t>Tack!</a:t>
            </a:r>
          </a:p>
        </p:txBody>
      </p:sp>
      <p:sp>
        <p:nvSpPr>
          <p:cNvPr id="3" name="Underrubrik 2">
            <a:extLst>
              <a:ext uri="{FF2B5EF4-FFF2-40B4-BE49-F238E27FC236}">
                <a16:creationId xmlns:a16="http://schemas.microsoft.com/office/drawing/2014/main" id="{2DB9F56F-2AD1-42EA-A8BF-E10C61A55E2D}"/>
              </a:ext>
            </a:extLst>
          </p:cNvPr>
          <p:cNvSpPr>
            <a:spLocks noGrp="1"/>
          </p:cNvSpPr>
          <p:nvPr>
            <p:ph type="subTitle" idx="1" hasCustomPrompt="1"/>
          </p:nvPr>
        </p:nvSpPr>
        <p:spPr>
          <a:xfrm>
            <a:off x="1857375" y="1884363"/>
            <a:ext cx="5427661" cy="1501775"/>
          </a:xfrm>
        </p:spPr>
        <p:txBody>
          <a:bodyPr lIns="0" tIns="0" rIns="0" bIns="0" anchor="t" anchorCtr="0">
            <a:normAutofit/>
          </a:bodyPr>
          <a:lstStyle>
            <a:lvl1pPr marL="0" indent="0" algn="l">
              <a:buNone/>
              <a:defRPr sz="140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Förnamn Efternamn</a:t>
            </a:r>
            <a:br>
              <a:rPr lang="sv-SE"/>
            </a:br>
            <a:r>
              <a:rPr lang="sv-SE"/>
              <a:t>Titel, </a:t>
            </a:r>
            <a:br>
              <a:rPr lang="sv-SE"/>
            </a:br>
            <a:r>
              <a:rPr lang="sv-SE"/>
              <a:t>Bankinfrastruktur i Sverige</a:t>
            </a:r>
          </a:p>
        </p:txBody>
      </p:sp>
      <p:sp>
        <p:nvSpPr>
          <p:cNvPr id="14" name="Platshållare för text 12">
            <a:extLst>
              <a:ext uri="{FF2B5EF4-FFF2-40B4-BE49-F238E27FC236}">
                <a16:creationId xmlns:a16="http://schemas.microsoft.com/office/drawing/2014/main" id="{E4229744-34B8-4183-BE14-240D567AA6C0}"/>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15" name="Platshållare för sidfot 5">
            <a:extLst>
              <a:ext uri="{FF2B5EF4-FFF2-40B4-BE49-F238E27FC236}">
                <a16:creationId xmlns:a16="http://schemas.microsoft.com/office/drawing/2014/main" id="{6324595A-7848-4DF9-BE94-08B34D00098B}"/>
              </a:ext>
            </a:extLst>
          </p:cNvPr>
          <p:cNvSpPr>
            <a:spLocks noGrp="1"/>
          </p:cNvSpPr>
          <p:nvPr>
            <p:ph type="ftr" sz="quarter" idx="20"/>
          </p:nvPr>
        </p:nvSpPr>
        <p:spPr>
          <a:xfrm>
            <a:off x="2552700" y="4615656"/>
            <a:ext cx="5426075" cy="273844"/>
          </a:xfrm>
        </p:spPr>
        <p:txBody>
          <a:bodyPr/>
          <a:lstStyle>
            <a:lvl1pPr algn="ctr">
              <a:defRPr/>
            </a:lvl1pPr>
          </a:lstStyle>
          <a:p>
            <a:pPr algn="r"/>
            <a:r>
              <a:rPr lang="sv-SE"/>
              <a:t>Presentation</a:t>
            </a:r>
          </a:p>
        </p:txBody>
      </p:sp>
    </p:spTree>
    <p:extLst>
      <p:ext uri="{BB962C8B-B14F-4D97-AF65-F5344CB8AC3E}">
        <p14:creationId xmlns:p14="http://schemas.microsoft.com/office/powerpoint/2010/main" val="42431310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ection White">
    <p:bg>
      <p:bgPr>
        <a:solidFill>
          <a:schemeClr val="bg1"/>
        </a:solidFill>
        <a:effectLst/>
      </p:bgPr>
    </p:bg>
    <p:spTree>
      <p:nvGrpSpPr>
        <p:cNvPr id="1" name=""/>
        <p:cNvGrpSpPr/>
        <p:nvPr/>
      </p:nvGrpSpPr>
      <p:grpSpPr>
        <a:xfrm>
          <a:off x="0" y="0"/>
          <a:ext cx="0" cy="0"/>
          <a:chOff x="0" y="0"/>
          <a:chExt cx="0" cy="0"/>
        </a:xfrm>
      </p:grpSpPr>
      <p:grpSp>
        <p:nvGrpSpPr>
          <p:cNvPr id="22" name="Grupp 21">
            <a:extLst>
              <a:ext uri="{FF2B5EF4-FFF2-40B4-BE49-F238E27FC236}">
                <a16:creationId xmlns:a16="http://schemas.microsoft.com/office/drawing/2014/main" id="{58A4F037-5372-4F50-AB2C-80E4F015FDE0}"/>
              </a:ext>
            </a:extLst>
          </p:cNvPr>
          <p:cNvGrpSpPr/>
          <p:nvPr userDrawn="1"/>
        </p:nvGrpSpPr>
        <p:grpSpPr>
          <a:xfrm>
            <a:off x="4099911" y="-1785593"/>
            <a:ext cx="8908892" cy="8714685"/>
            <a:chOff x="3589405" y="387640"/>
            <a:chExt cx="5873827" cy="5872463"/>
          </a:xfrm>
          <a:solidFill>
            <a:schemeClr val="tx1">
              <a:alpha val="10000"/>
            </a:schemeClr>
          </a:solidFill>
        </p:grpSpPr>
        <p:sp>
          <p:nvSpPr>
            <p:cNvPr id="23" name="Freeform 5">
              <a:extLst>
                <a:ext uri="{FF2B5EF4-FFF2-40B4-BE49-F238E27FC236}">
                  <a16:creationId xmlns:a16="http://schemas.microsoft.com/office/drawing/2014/main" id="{7C1D4E85-F2CE-4336-8CC8-25E235311297}"/>
                </a:ext>
              </a:extLst>
            </p:cNvPr>
            <p:cNvSpPr>
              <a:spLocks/>
            </p:cNvSpPr>
            <p:nvPr/>
          </p:nvSpPr>
          <p:spPr bwMode="auto">
            <a:xfrm>
              <a:off x="3871774" y="678194"/>
              <a:ext cx="1392749" cy="1400934"/>
            </a:xfrm>
            <a:custGeom>
              <a:avLst/>
              <a:gdLst>
                <a:gd name="T0" fmla="*/ 2096 w 2096"/>
                <a:gd name="T1" fmla="*/ 0 h 2108"/>
                <a:gd name="T2" fmla="*/ 877 w 2096"/>
                <a:gd name="T3" fmla="*/ 863 h 2108"/>
                <a:gd name="T4" fmla="*/ 0 w 2096"/>
                <a:gd name="T5" fmla="*/ 2108 h 2108"/>
                <a:gd name="T6" fmla="*/ 981 w 2096"/>
                <a:gd name="T7" fmla="*/ 948 h 2108"/>
                <a:gd name="T8" fmla="*/ 2096 w 2096"/>
                <a:gd name="T9" fmla="*/ 0 h 2108"/>
              </a:gdLst>
              <a:ahLst/>
              <a:cxnLst>
                <a:cxn ang="0">
                  <a:pos x="T0" y="T1"/>
                </a:cxn>
                <a:cxn ang="0">
                  <a:pos x="T2" y="T3"/>
                </a:cxn>
                <a:cxn ang="0">
                  <a:pos x="T4" y="T5"/>
                </a:cxn>
                <a:cxn ang="0">
                  <a:pos x="T6" y="T7"/>
                </a:cxn>
                <a:cxn ang="0">
                  <a:pos x="T8" y="T9"/>
                </a:cxn>
              </a:cxnLst>
              <a:rect l="0" t="0" r="r" b="b"/>
              <a:pathLst>
                <a:path w="2096" h="2108">
                  <a:moveTo>
                    <a:pt x="2096" y="0"/>
                  </a:moveTo>
                  <a:cubicBezTo>
                    <a:pt x="1655" y="211"/>
                    <a:pt x="1242" y="498"/>
                    <a:pt x="877" y="863"/>
                  </a:cubicBezTo>
                  <a:cubicBezTo>
                    <a:pt x="504" y="1235"/>
                    <a:pt x="213" y="1658"/>
                    <a:pt x="0" y="2108"/>
                  </a:cubicBezTo>
                  <a:cubicBezTo>
                    <a:pt x="254" y="1741"/>
                    <a:pt x="588" y="1343"/>
                    <a:pt x="981" y="948"/>
                  </a:cubicBezTo>
                  <a:cubicBezTo>
                    <a:pt x="1360" y="571"/>
                    <a:pt x="1741" y="249"/>
                    <a:pt x="209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4" name="Freeform 6">
              <a:extLst>
                <a:ext uri="{FF2B5EF4-FFF2-40B4-BE49-F238E27FC236}">
                  <a16:creationId xmlns:a16="http://schemas.microsoft.com/office/drawing/2014/main" id="{AAC8634F-3E34-4168-8D60-19B3A00C0D81}"/>
                </a:ext>
              </a:extLst>
            </p:cNvPr>
            <p:cNvSpPr>
              <a:spLocks/>
            </p:cNvSpPr>
            <p:nvPr/>
          </p:nvSpPr>
          <p:spPr bwMode="auto">
            <a:xfrm>
              <a:off x="3635784" y="435383"/>
              <a:ext cx="2381724" cy="2399457"/>
            </a:xfrm>
            <a:custGeom>
              <a:avLst/>
              <a:gdLst>
                <a:gd name="T0" fmla="*/ 446 w 3585"/>
                <a:gd name="T1" fmla="*/ 2866 h 3609"/>
                <a:gd name="T2" fmla="*/ 484 w 3585"/>
                <a:gd name="T3" fmla="*/ 2811 h 3609"/>
                <a:gd name="T4" fmla="*/ 1565 w 3585"/>
                <a:gd name="T5" fmla="*/ 1541 h 3609"/>
                <a:gd name="T6" fmla="*/ 2835 w 3585"/>
                <a:gd name="T7" fmla="*/ 460 h 3609"/>
                <a:gd name="T8" fmla="*/ 2891 w 3585"/>
                <a:gd name="T9" fmla="*/ 422 h 3609"/>
                <a:gd name="T10" fmla="*/ 2945 w 3585"/>
                <a:gd name="T11" fmla="*/ 385 h 3609"/>
                <a:gd name="T12" fmla="*/ 3585 w 3585"/>
                <a:gd name="T13" fmla="*/ 0 h 3609"/>
                <a:gd name="T14" fmla="*/ 3071 w 3585"/>
                <a:gd name="T15" fmla="*/ 123 h 3609"/>
                <a:gd name="T16" fmla="*/ 2863 w 3585"/>
                <a:gd name="T17" fmla="*/ 239 h 3609"/>
                <a:gd name="T18" fmla="*/ 2809 w 3585"/>
                <a:gd name="T19" fmla="*/ 272 h 3609"/>
                <a:gd name="T20" fmla="*/ 2752 w 3585"/>
                <a:gd name="T21" fmla="*/ 307 h 3609"/>
                <a:gd name="T22" fmla="*/ 1420 w 3585"/>
                <a:gd name="T23" fmla="*/ 1396 h 3609"/>
                <a:gd name="T24" fmla="*/ 331 w 3585"/>
                <a:gd name="T25" fmla="*/ 2728 h 3609"/>
                <a:gd name="T26" fmla="*/ 296 w 3585"/>
                <a:gd name="T27" fmla="*/ 2785 h 3609"/>
                <a:gd name="T28" fmla="*/ 263 w 3585"/>
                <a:gd name="T29" fmla="*/ 2839 h 3609"/>
                <a:gd name="T30" fmla="*/ 113 w 3585"/>
                <a:gd name="T31" fmla="*/ 3114 h 3609"/>
                <a:gd name="T32" fmla="*/ 0 w 3585"/>
                <a:gd name="T33" fmla="*/ 3609 h 3609"/>
                <a:gd name="T34" fmla="*/ 408 w 3585"/>
                <a:gd name="T35" fmla="*/ 2921 h 3609"/>
                <a:gd name="T36" fmla="*/ 446 w 3585"/>
                <a:gd name="T37" fmla="*/ 2866 h 3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85" h="3609">
                  <a:moveTo>
                    <a:pt x="446" y="2866"/>
                  </a:moveTo>
                  <a:cubicBezTo>
                    <a:pt x="459" y="2848"/>
                    <a:pt x="471" y="2830"/>
                    <a:pt x="484" y="2811"/>
                  </a:cubicBezTo>
                  <a:cubicBezTo>
                    <a:pt x="775" y="2399"/>
                    <a:pt x="1141" y="1966"/>
                    <a:pt x="1565" y="1541"/>
                  </a:cubicBezTo>
                  <a:cubicBezTo>
                    <a:pt x="1990" y="1117"/>
                    <a:pt x="2423" y="751"/>
                    <a:pt x="2835" y="460"/>
                  </a:cubicBezTo>
                  <a:cubicBezTo>
                    <a:pt x="2854" y="447"/>
                    <a:pt x="2872" y="435"/>
                    <a:pt x="2891" y="422"/>
                  </a:cubicBezTo>
                  <a:cubicBezTo>
                    <a:pt x="2909" y="409"/>
                    <a:pt x="2927" y="397"/>
                    <a:pt x="2945" y="385"/>
                  </a:cubicBezTo>
                  <a:cubicBezTo>
                    <a:pt x="3167" y="233"/>
                    <a:pt x="3382" y="104"/>
                    <a:pt x="3585" y="0"/>
                  </a:cubicBezTo>
                  <a:cubicBezTo>
                    <a:pt x="3412" y="31"/>
                    <a:pt x="3240" y="72"/>
                    <a:pt x="3071" y="123"/>
                  </a:cubicBezTo>
                  <a:cubicBezTo>
                    <a:pt x="3004" y="158"/>
                    <a:pt x="2935" y="196"/>
                    <a:pt x="2863" y="239"/>
                  </a:cubicBezTo>
                  <a:cubicBezTo>
                    <a:pt x="2845" y="249"/>
                    <a:pt x="2827" y="261"/>
                    <a:pt x="2809" y="272"/>
                  </a:cubicBezTo>
                  <a:cubicBezTo>
                    <a:pt x="2790" y="284"/>
                    <a:pt x="2771" y="294"/>
                    <a:pt x="2752" y="307"/>
                  </a:cubicBezTo>
                  <a:cubicBezTo>
                    <a:pt x="2343" y="565"/>
                    <a:pt x="1875" y="939"/>
                    <a:pt x="1420" y="1396"/>
                  </a:cubicBezTo>
                  <a:cubicBezTo>
                    <a:pt x="963" y="1851"/>
                    <a:pt x="589" y="2319"/>
                    <a:pt x="331" y="2728"/>
                  </a:cubicBezTo>
                  <a:cubicBezTo>
                    <a:pt x="318" y="2747"/>
                    <a:pt x="308" y="2766"/>
                    <a:pt x="296" y="2785"/>
                  </a:cubicBezTo>
                  <a:cubicBezTo>
                    <a:pt x="285" y="2803"/>
                    <a:pt x="273" y="2821"/>
                    <a:pt x="263" y="2839"/>
                  </a:cubicBezTo>
                  <a:cubicBezTo>
                    <a:pt x="205" y="2935"/>
                    <a:pt x="156" y="3027"/>
                    <a:pt x="113" y="3114"/>
                  </a:cubicBezTo>
                  <a:cubicBezTo>
                    <a:pt x="65" y="3277"/>
                    <a:pt x="28" y="3443"/>
                    <a:pt x="0" y="3609"/>
                  </a:cubicBezTo>
                  <a:cubicBezTo>
                    <a:pt x="107" y="3392"/>
                    <a:pt x="245" y="3161"/>
                    <a:pt x="408" y="2921"/>
                  </a:cubicBezTo>
                  <a:cubicBezTo>
                    <a:pt x="421" y="2903"/>
                    <a:pt x="433" y="2885"/>
                    <a:pt x="446" y="28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5" name="Freeform 7">
              <a:extLst>
                <a:ext uri="{FF2B5EF4-FFF2-40B4-BE49-F238E27FC236}">
                  <a16:creationId xmlns:a16="http://schemas.microsoft.com/office/drawing/2014/main" id="{1044E1AF-5D57-4C57-A718-661729CA160C}"/>
                </a:ext>
              </a:extLst>
            </p:cNvPr>
            <p:cNvSpPr>
              <a:spLocks/>
            </p:cNvSpPr>
            <p:nvPr/>
          </p:nvSpPr>
          <p:spPr bwMode="auto">
            <a:xfrm>
              <a:off x="3589405" y="387640"/>
              <a:ext cx="3051498" cy="3077416"/>
            </a:xfrm>
            <a:custGeom>
              <a:avLst/>
              <a:gdLst>
                <a:gd name="T0" fmla="*/ 267 w 4592"/>
                <a:gd name="T1" fmla="*/ 4024 h 4629"/>
                <a:gd name="T2" fmla="*/ 1026 w 4592"/>
                <a:gd name="T3" fmla="*/ 2858 h 4629"/>
                <a:gd name="T4" fmla="*/ 1121 w 4592"/>
                <a:gd name="T5" fmla="*/ 2738 h 4629"/>
                <a:gd name="T6" fmla="*/ 1236 w 4592"/>
                <a:gd name="T7" fmla="*/ 2597 h 4629"/>
                <a:gd name="T8" fmla="*/ 1896 w 4592"/>
                <a:gd name="T9" fmla="*/ 1875 h 4629"/>
                <a:gd name="T10" fmla="*/ 2618 w 4592"/>
                <a:gd name="T11" fmla="*/ 1215 h 4629"/>
                <a:gd name="T12" fmla="*/ 2759 w 4592"/>
                <a:gd name="T13" fmla="*/ 1101 h 4629"/>
                <a:gd name="T14" fmla="*/ 2878 w 4592"/>
                <a:gd name="T15" fmla="*/ 1006 h 4629"/>
                <a:gd name="T16" fmla="*/ 4045 w 4592"/>
                <a:gd name="T17" fmla="*/ 246 h 4629"/>
                <a:gd name="T18" fmla="*/ 4104 w 4592"/>
                <a:gd name="T19" fmla="*/ 217 h 4629"/>
                <a:gd name="T20" fmla="*/ 4159 w 4592"/>
                <a:gd name="T21" fmla="*/ 189 h 4629"/>
                <a:gd name="T22" fmla="*/ 4592 w 4592"/>
                <a:gd name="T23" fmla="*/ 6 h 4629"/>
                <a:gd name="T24" fmla="*/ 4098 w 4592"/>
                <a:gd name="T25" fmla="*/ 16 h 4629"/>
                <a:gd name="T26" fmla="*/ 4059 w 4592"/>
                <a:gd name="T27" fmla="*/ 19 h 4629"/>
                <a:gd name="T28" fmla="*/ 4034 w 4592"/>
                <a:gd name="T29" fmla="*/ 29 h 4629"/>
                <a:gd name="T30" fmla="*/ 3987 w 4592"/>
                <a:gd name="T31" fmla="*/ 49 h 4629"/>
                <a:gd name="T32" fmla="*/ 3976 w 4592"/>
                <a:gd name="T33" fmla="*/ 53 h 4629"/>
                <a:gd name="T34" fmla="*/ 3018 w 4592"/>
                <a:gd name="T35" fmla="*/ 598 h 4629"/>
                <a:gd name="T36" fmla="*/ 2950 w 4592"/>
                <a:gd name="T37" fmla="*/ 644 h 4629"/>
                <a:gd name="T38" fmla="*/ 2877 w 4592"/>
                <a:gd name="T39" fmla="*/ 698 h 4629"/>
                <a:gd name="T40" fmla="*/ 1717 w 4592"/>
                <a:gd name="T41" fmla="*/ 1696 h 4629"/>
                <a:gd name="T42" fmla="*/ 718 w 4592"/>
                <a:gd name="T43" fmla="*/ 2856 h 4629"/>
                <a:gd name="T44" fmla="*/ 665 w 4592"/>
                <a:gd name="T45" fmla="*/ 2929 h 4629"/>
                <a:gd name="T46" fmla="*/ 618 w 4592"/>
                <a:gd name="T47" fmla="*/ 2997 h 4629"/>
                <a:gd name="T48" fmla="*/ 74 w 4592"/>
                <a:gd name="T49" fmla="*/ 3955 h 4629"/>
                <a:gd name="T50" fmla="*/ 50 w 4592"/>
                <a:gd name="T51" fmla="*/ 4013 h 4629"/>
                <a:gd name="T52" fmla="*/ 28 w 4592"/>
                <a:gd name="T53" fmla="*/ 4070 h 4629"/>
                <a:gd name="T54" fmla="*/ 17 w 4592"/>
                <a:gd name="T55" fmla="*/ 4101 h 4629"/>
                <a:gd name="T56" fmla="*/ 8 w 4592"/>
                <a:gd name="T57" fmla="*/ 4629 h 4629"/>
                <a:gd name="T58" fmla="*/ 210 w 4592"/>
                <a:gd name="T59" fmla="*/ 4138 h 4629"/>
                <a:gd name="T60" fmla="*/ 238 w 4592"/>
                <a:gd name="T61" fmla="*/ 4083 h 4629"/>
                <a:gd name="T62" fmla="*/ 267 w 4592"/>
                <a:gd name="T63" fmla="*/ 4024 h 4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92" h="4629">
                  <a:moveTo>
                    <a:pt x="267" y="4024"/>
                  </a:moveTo>
                  <a:cubicBezTo>
                    <a:pt x="457" y="3655"/>
                    <a:pt x="713" y="3259"/>
                    <a:pt x="1026" y="2858"/>
                  </a:cubicBezTo>
                  <a:cubicBezTo>
                    <a:pt x="1057" y="2818"/>
                    <a:pt x="1089" y="2778"/>
                    <a:pt x="1121" y="2738"/>
                  </a:cubicBezTo>
                  <a:cubicBezTo>
                    <a:pt x="1159" y="2691"/>
                    <a:pt x="1197" y="2644"/>
                    <a:pt x="1236" y="2597"/>
                  </a:cubicBezTo>
                  <a:cubicBezTo>
                    <a:pt x="1437" y="2356"/>
                    <a:pt x="1658" y="2114"/>
                    <a:pt x="1896" y="1875"/>
                  </a:cubicBezTo>
                  <a:cubicBezTo>
                    <a:pt x="2134" y="1637"/>
                    <a:pt x="2376" y="1417"/>
                    <a:pt x="2618" y="1215"/>
                  </a:cubicBezTo>
                  <a:cubicBezTo>
                    <a:pt x="2665" y="1176"/>
                    <a:pt x="2712" y="1138"/>
                    <a:pt x="2759" y="1101"/>
                  </a:cubicBezTo>
                  <a:cubicBezTo>
                    <a:pt x="2799" y="1068"/>
                    <a:pt x="2839" y="1037"/>
                    <a:pt x="2878" y="1006"/>
                  </a:cubicBezTo>
                  <a:cubicBezTo>
                    <a:pt x="3280" y="693"/>
                    <a:pt x="3675" y="437"/>
                    <a:pt x="4045" y="246"/>
                  </a:cubicBezTo>
                  <a:cubicBezTo>
                    <a:pt x="4065" y="236"/>
                    <a:pt x="4084" y="226"/>
                    <a:pt x="4104" y="217"/>
                  </a:cubicBezTo>
                  <a:cubicBezTo>
                    <a:pt x="4122" y="208"/>
                    <a:pt x="4141" y="198"/>
                    <a:pt x="4159" y="189"/>
                  </a:cubicBezTo>
                  <a:cubicBezTo>
                    <a:pt x="4309" y="116"/>
                    <a:pt x="4453" y="55"/>
                    <a:pt x="4592" y="6"/>
                  </a:cubicBezTo>
                  <a:cubicBezTo>
                    <a:pt x="4427" y="0"/>
                    <a:pt x="4262" y="3"/>
                    <a:pt x="4098" y="16"/>
                  </a:cubicBezTo>
                  <a:cubicBezTo>
                    <a:pt x="4085" y="17"/>
                    <a:pt x="4072" y="18"/>
                    <a:pt x="4059" y="19"/>
                  </a:cubicBezTo>
                  <a:cubicBezTo>
                    <a:pt x="4051" y="22"/>
                    <a:pt x="4043" y="26"/>
                    <a:pt x="4034" y="29"/>
                  </a:cubicBezTo>
                  <a:cubicBezTo>
                    <a:pt x="4019" y="35"/>
                    <a:pt x="4003" y="42"/>
                    <a:pt x="3987" y="49"/>
                  </a:cubicBezTo>
                  <a:cubicBezTo>
                    <a:pt x="3983" y="50"/>
                    <a:pt x="3980" y="51"/>
                    <a:pt x="3976" y="53"/>
                  </a:cubicBezTo>
                  <a:cubicBezTo>
                    <a:pt x="3689" y="174"/>
                    <a:pt x="3362" y="358"/>
                    <a:pt x="3018" y="598"/>
                  </a:cubicBezTo>
                  <a:cubicBezTo>
                    <a:pt x="2995" y="613"/>
                    <a:pt x="2973" y="628"/>
                    <a:pt x="2950" y="644"/>
                  </a:cubicBezTo>
                  <a:cubicBezTo>
                    <a:pt x="2926" y="661"/>
                    <a:pt x="2902" y="680"/>
                    <a:pt x="2877" y="698"/>
                  </a:cubicBezTo>
                  <a:cubicBezTo>
                    <a:pt x="2499" y="973"/>
                    <a:pt x="2103" y="1309"/>
                    <a:pt x="1717" y="1696"/>
                  </a:cubicBezTo>
                  <a:cubicBezTo>
                    <a:pt x="1330" y="2082"/>
                    <a:pt x="994" y="2478"/>
                    <a:pt x="718" y="2856"/>
                  </a:cubicBezTo>
                  <a:cubicBezTo>
                    <a:pt x="701" y="2881"/>
                    <a:pt x="682" y="2905"/>
                    <a:pt x="665" y="2929"/>
                  </a:cubicBezTo>
                  <a:cubicBezTo>
                    <a:pt x="649" y="2952"/>
                    <a:pt x="634" y="2974"/>
                    <a:pt x="618" y="2997"/>
                  </a:cubicBezTo>
                  <a:cubicBezTo>
                    <a:pt x="379" y="3341"/>
                    <a:pt x="195" y="3668"/>
                    <a:pt x="74" y="3955"/>
                  </a:cubicBezTo>
                  <a:cubicBezTo>
                    <a:pt x="66" y="3975"/>
                    <a:pt x="57" y="3994"/>
                    <a:pt x="50" y="4013"/>
                  </a:cubicBezTo>
                  <a:cubicBezTo>
                    <a:pt x="42" y="4032"/>
                    <a:pt x="35" y="4051"/>
                    <a:pt x="28" y="4070"/>
                  </a:cubicBezTo>
                  <a:cubicBezTo>
                    <a:pt x="24" y="4080"/>
                    <a:pt x="21" y="4090"/>
                    <a:pt x="17" y="4101"/>
                  </a:cubicBezTo>
                  <a:cubicBezTo>
                    <a:pt x="4" y="4276"/>
                    <a:pt x="0" y="4452"/>
                    <a:pt x="8" y="4629"/>
                  </a:cubicBezTo>
                  <a:cubicBezTo>
                    <a:pt x="60" y="4472"/>
                    <a:pt x="127" y="4309"/>
                    <a:pt x="210" y="4138"/>
                  </a:cubicBezTo>
                  <a:cubicBezTo>
                    <a:pt x="219" y="4120"/>
                    <a:pt x="228" y="4101"/>
                    <a:pt x="238" y="4083"/>
                  </a:cubicBezTo>
                  <a:cubicBezTo>
                    <a:pt x="247" y="4063"/>
                    <a:pt x="257" y="4044"/>
                    <a:pt x="267" y="40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6" name="Freeform 8">
              <a:extLst>
                <a:ext uri="{FF2B5EF4-FFF2-40B4-BE49-F238E27FC236}">
                  <a16:creationId xmlns:a16="http://schemas.microsoft.com/office/drawing/2014/main" id="{3377C1A4-0564-4448-BF92-C18ABDBCE824}"/>
                </a:ext>
              </a:extLst>
            </p:cNvPr>
            <p:cNvSpPr>
              <a:spLocks/>
            </p:cNvSpPr>
            <p:nvPr/>
          </p:nvSpPr>
          <p:spPr bwMode="auto">
            <a:xfrm>
              <a:off x="3736728" y="524050"/>
              <a:ext cx="4067755" cy="4096401"/>
            </a:xfrm>
            <a:custGeom>
              <a:avLst/>
              <a:gdLst>
                <a:gd name="T0" fmla="*/ 711 w 6120"/>
                <a:gd name="T1" fmla="*/ 4802 h 6162"/>
                <a:gd name="T2" fmla="*/ 755 w 6120"/>
                <a:gd name="T3" fmla="*/ 4721 h 6162"/>
                <a:gd name="T4" fmla="*/ 2492 w 6120"/>
                <a:gd name="T5" fmla="*/ 2487 h 6162"/>
                <a:gd name="T6" fmla="*/ 4726 w 6120"/>
                <a:gd name="T7" fmla="*/ 750 h 6162"/>
                <a:gd name="T8" fmla="*/ 4807 w 6120"/>
                <a:gd name="T9" fmla="*/ 706 h 6162"/>
                <a:gd name="T10" fmla="*/ 4883 w 6120"/>
                <a:gd name="T11" fmla="*/ 666 h 6162"/>
                <a:gd name="T12" fmla="*/ 5747 w 6120"/>
                <a:gd name="T13" fmla="*/ 308 h 6162"/>
                <a:gd name="T14" fmla="*/ 5804 w 6120"/>
                <a:gd name="T15" fmla="*/ 292 h 6162"/>
                <a:gd name="T16" fmla="*/ 5862 w 6120"/>
                <a:gd name="T17" fmla="*/ 276 h 6162"/>
                <a:gd name="T18" fmla="*/ 6120 w 6120"/>
                <a:gd name="T19" fmla="*/ 226 h 6162"/>
                <a:gd name="T20" fmla="*/ 5817 w 6120"/>
                <a:gd name="T21" fmla="*/ 96 h 6162"/>
                <a:gd name="T22" fmla="*/ 5740 w 6120"/>
                <a:gd name="T23" fmla="*/ 67 h 6162"/>
                <a:gd name="T24" fmla="*/ 5659 w 6120"/>
                <a:gd name="T25" fmla="*/ 37 h 6162"/>
                <a:gd name="T26" fmla="*/ 5541 w 6120"/>
                <a:gd name="T27" fmla="*/ 0 h 6162"/>
                <a:gd name="T28" fmla="*/ 4988 w 6120"/>
                <a:gd name="T29" fmla="*/ 131 h 6162"/>
                <a:gd name="T30" fmla="*/ 4928 w 6120"/>
                <a:gd name="T31" fmla="*/ 153 h 6162"/>
                <a:gd name="T32" fmla="*/ 4868 w 6120"/>
                <a:gd name="T33" fmla="*/ 175 h 6162"/>
                <a:gd name="T34" fmla="*/ 3700 w 6120"/>
                <a:gd name="T35" fmla="*/ 791 h 6162"/>
                <a:gd name="T36" fmla="*/ 3593 w 6120"/>
                <a:gd name="T37" fmla="*/ 862 h 6162"/>
                <a:gd name="T38" fmla="*/ 3473 w 6120"/>
                <a:gd name="T39" fmla="*/ 946 h 6162"/>
                <a:gd name="T40" fmla="*/ 2108 w 6120"/>
                <a:gd name="T41" fmla="*/ 2103 h 6162"/>
                <a:gd name="T42" fmla="*/ 951 w 6120"/>
                <a:gd name="T43" fmla="*/ 3469 h 6162"/>
                <a:gd name="T44" fmla="*/ 866 w 6120"/>
                <a:gd name="T45" fmla="*/ 3588 h 6162"/>
                <a:gd name="T46" fmla="*/ 796 w 6120"/>
                <a:gd name="T47" fmla="*/ 3695 h 6162"/>
                <a:gd name="T48" fmla="*/ 180 w 6120"/>
                <a:gd name="T49" fmla="*/ 4863 h 6162"/>
                <a:gd name="T50" fmla="*/ 157 w 6120"/>
                <a:gd name="T51" fmla="*/ 4924 h 6162"/>
                <a:gd name="T52" fmla="*/ 136 w 6120"/>
                <a:gd name="T53" fmla="*/ 4983 h 6162"/>
                <a:gd name="T54" fmla="*/ 0 w 6120"/>
                <a:gd name="T55" fmla="*/ 5601 h 6162"/>
                <a:gd name="T56" fmla="*/ 9 w 6120"/>
                <a:gd name="T57" fmla="*/ 5631 h 6162"/>
                <a:gd name="T58" fmla="*/ 39 w 6120"/>
                <a:gd name="T59" fmla="*/ 5719 h 6162"/>
                <a:gd name="T60" fmla="*/ 69 w 6120"/>
                <a:gd name="T61" fmla="*/ 5799 h 6162"/>
                <a:gd name="T62" fmla="*/ 225 w 6120"/>
                <a:gd name="T63" fmla="*/ 6162 h 6162"/>
                <a:gd name="T64" fmla="*/ 282 w 6120"/>
                <a:gd name="T65" fmla="*/ 5857 h 6162"/>
                <a:gd name="T66" fmla="*/ 297 w 6120"/>
                <a:gd name="T67" fmla="*/ 5799 h 6162"/>
                <a:gd name="T68" fmla="*/ 313 w 6120"/>
                <a:gd name="T69" fmla="*/ 5742 h 6162"/>
                <a:gd name="T70" fmla="*/ 671 w 6120"/>
                <a:gd name="T71" fmla="*/ 4877 h 6162"/>
                <a:gd name="T72" fmla="*/ 711 w 6120"/>
                <a:gd name="T73" fmla="*/ 4802 h 6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20" h="6162">
                  <a:moveTo>
                    <a:pt x="711" y="4802"/>
                  </a:moveTo>
                  <a:cubicBezTo>
                    <a:pt x="726" y="4775"/>
                    <a:pt x="740" y="4748"/>
                    <a:pt x="755" y="4721"/>
                  </a:cubicBezTo>
                  <a:cubicBezTo>
                    <a:pt x="1151" y="4012"/>
                    <a:pt x="1746" y="3234"/>
                    <a:pt x="2492" y="2487"/>
                  </a:cubicBezTo>
                  <a:cubicBezTo>
                    <a:pt x="3239" y="1741"/>
                    <a:pt x="4017" y="1146"/>
                    <a:pt x="4726" y="750"/>
                  </a:cubicBezTo>
                  <a:cubicBezTo>
                    <a:pt x="4753" y="735"/>
                    <a:pt x="4780" y="721"/>
                    <a:pt x="4807" y="706"/>
                  </a:cubicBezTo>
                  <a:cubicBezTo>
                    <a:pt x="4832" y="693"/>
                    <a:pt x="4857" y="679"/>
                    <a:pt x="4883" y="666"/>
                  </a:cubicBezTo>
                  <a:cubicBezTo>
                    <a:pt x="5189" y="506"/>
                    <a:pt x="5480" y="385"/>
                    <a:pt x="5747" y="308"/>
                  </a:cubicBezTo>
                  <a:cubicBezTo>
                    <a:pt x="5766" y="302"/>
                    <a:pt x="5785" y="297"/>
                    <a:pt x="5804" y="292"/>
                  </a:cubicBezTo>
                  <a:cubicBezTo>
                    <a:pt x="5824" y="286"/>
                    <a:pt x="5843" y="281"/>
                    <a:pt x="5862" y="276"/>
                  </a:cubicBezTo>
                  <a:cubicBezTo>
                    <a:pt x="5951" y="254"/>
                    <a:pt x="6037" y="238"/>
                    <a:pt x="6120" y="226"/>
                  </a:cubicBezTo>
                  <a:cubicBezTo>
                    <a:pt x="6020" y="179"/>
                    <a:pt x="5919" y="136"/>
                    <a:pt x="5817" y="96"/>
                  </a:cubicBezTo>
                  <a:cubicBezTo>
                    <a:pt x="5791" y="86"/>
                    <a:pt x="5766" y="76"/>
                    <a:pt x="5740" y="67"/>
                  </a:cubicBezTo>
                  <a:cubicBezTo>
                    <a:pt x="5713" y="57"/>
                    <a:pt x="5686" y="47"/>
                    <a:pt x="5659" y="37"/>
                  </a:cubicBezTo>
                  <a:cubicBezTo>
                    <a:pt x="5620" y="24"/>
                    <a:pt x="5580" y="12"/>
                    <a:pt x="5541" y="0"/>
                  </a:cubicBezTo>
                  <a:cubicBezTo>
                    <a:pt x="5373" y="19"/>
                    <a:pt x="5187" y="62"/>
                    <a:pt x="4988" y="131"/>
                  </a:cubicBezTo>
                  <a:cubicBezTo>
                    <a:pt x="4969" y="137"/>
                    <a:pt x="4948" y="145"/>
                    <a:pt x="4928" y="153"/>
                  </a:cubicBezTo>
                  <a:cubicBezTo>
                    <a:pt x="4909" y="160"/>
                    <a:pt x="4888" y="168"/>
                    <a:pt x="4868" y="175"/>
                  </a:cubicBezTo>
                  <a:cubicBezTo>
                    <a:pt x="4509" y="311"/>
                    <a:pt x="4113" y="520"/>
                    <a:pt x="3700" y="791"/>
                  </a:cubicBezTo>
                  <a:cubicBezTo>
                    <a:pt x="3665" y="815"/>
                    <a:pt x="3629" y="837"/>
                    <a:pt x="3593" y="862"/>
                  </a:cubicBezTo>
                  <a:cubicBezTo>
                    <a:pt x="3554" y="889"/>
                    <a:pt x="3513" y="918"/>
                    <a:pt x="3473" y="946"/>
                  </a:cubicBezTo>
                  <a:cubicBezTo>
                    <a:pt x="3022" y="1264"/>
                    <a:pt x="2557" y="1653"/>
                    <a:pt x="2108" y="2103"/>
                  </a:cubicBezTo>
                  <a:cubicBezTo>
                    <a:pt x="1657" y="2553"/>
                    <a:pt x="1269" y="3017"/>
                    <a:pt x="951" y="3469"/>
                  </a:cubicBezTo>
                  <a:cubicBezTo>
                    <a:pt x="922" y="3509"/>
                    <a:pt x="893" y="3549"/>
                    <a:pt x="866" y="3588"/>
                  </a:cubicBezTo>
                  <a:cubicBezTo>
                    <a:pt x="842" y="3624"/>
                    <a:pt x="819" y="3660"/>
                    <a:pt x="796" y="3695"/>
                  </a:cubicBezTo>
                  <a:cubicBezTo>
                    <a:pt x="525" y="4108"/>
                    <a:pt x="316" y="4504"/>
                    <a:pt x="180" y="4863"/>
                  </a:cubicBezTo>
                  <a:cubicBezTo>
                    <a:pt x="173" y="4883"/>
                    <a:pt x="165" y="4904"/>
                    <a:pt x="157" y="4924"/>
                  </a:cubicBezTo>
                  <a:cubicBezTo>
                    <a:pt x="150" y="4943"/>
                    <a:pt x="142" y="4964"/>
                    <a:pt x="136" y="4983"/>
                  </a:cubicBezTo>
                  <a:cubicBezTo>
                    <a:pt x="58" y="5209"/>
                    <a:pt x="13" y="5416"/>
                    <a:pt x="0" y="5601"/>
                  </a:cubicBezTo>
                  <a:cubicBezTo>
                    <a:pt x="3" y="5611"/>
                    <a:pt x="6" y="5621"/>
                    <a:pt x="9" y="5631"/>
                  </a:cubicBezTo>
                  <a:cubicBezTo>
                    <a:pt x="19" y="5660"/>
                    <a:pt x="29" y="5690"/>
                    <a:pt x="39" y="5719"/>
                  </a:cubicBezTo>
                  <a:cubicBezTo>
                    <a:pt x="49" y="5746"/>
                    <a:pt x="59" y="5772"/>
                    <a:pt x="69" y="5799"/>
                  </a:cubicBezTo>
                  <a:cubicBezTo>
                    <a:pt x="116" y="5922"/>
                    <a:pt x="168" y="6043"/>
                    <a:pt x="225" y="6162"/>
                  </a:cubicBezTo>
                  <a:cubicBezTo>
                    <a:pt x="236" y="6065"/>
                    <a:pt x="255" y="5963"/>
                    <a:pt x="282" y="5857"/>
                  </a:cubicBezTo>
                  <a:cubicBezTo>
                    <a:pt x="286" y="5838"/>
                    <a:pt x="291" y="5819"/>
                    <a:pt x="297" y="5799"/>
                  </a:cubicBezTo>
                  <a:cubicBezTo>
                    <a:pt x="302" y="5780"/>
                    <a:pt x="307" y="5761"/>
                    <a:pt x="313" y="5742"/>
                  </a:cubicBezTo>
                  <a:cubicBezTo>
                    <a:pt x="390" y="5475"/>
                    <a:pt x="511" y="5184"/>
                    <a:pt x="671" y="4877"/>
                  </a:cubicBezTo>
                  <a:cubicBezTo>
                    <a:pt x="684" y="4852"/>
                    <a:pt x="698" y="4827"/>
                    <a:pt x="711" y="48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7" name="Freeform 9">
              <a:extLst>
                <a:ext uri="{FF2B5EF4-FFF2-40B4-BE49-F238E27FC236}">
                  <a16:creationId xmlns:a16="http://schemas.microsoft.com/office/drawing/2014/main" id="{6EC9FAE3-1492-416A-BCFC-66F77187622F}"/>
                </a:ext>
              </a:extLst>
            </p:cNvPr>
            <p:cNvSpPr>
              <a:spLocks/>
            </p:cNvSpPr>
            <p:nvPr/>
          </p:nvSpPr>
          <p:spPr bwMode="auto">
            <a:xfrm>
              <a:off x="4160964" y="945558"/>
              <a:ext cx="4516544" cy="4545190"/>
            </a:xfrm>
            <a:custGeom>
              <a:avLst/>
              <a:gdLst>
                <a:gd name="T0" fmla="*/ 6710 w 6796"/>
                <a:gd name="T1" fmla="*/ 461 h 6838"/>
                <a:gd name="T2" fmla="*/ 6619 w 6796"/>
                <a:gd name="T3" fmla="*/ 375 h 6838"/>
                <a:gd name="T4" fmla="*/ 6553 w 6796"/>
                <a:gd name="T5" fmla="*/ 312 h 6838"/>
                <a:gd name="T6" fmla="*/ 6484 w 6796"/>
                <a:gd name="T7" fmla="*/ 252 h 6838"/>
                <a:gd name="T8" fmla="*/ 6170 w 6796"/>
                <a:gd name="T9" fmla="*/ 1 h 6838"/>
                <a:gd name="T10" fmla="*/ 6125 w 6796"/>
                <a:gd name="T11" fmla="*/ 0 h 6838"/>
                <a:gd name="T12" fmla="*/ 5991 w 6796"/>
                <a:gd name="T13" fmla="*/ 6 h 6838"/>
                <a:gd name="T14" fmla="*/ 5933 w 6796"/>
                <a:gd name="T15" fmla="*/ 11 h 6838"/>
                <a:gd name="T16" fmla="*/ 5874 w 6796"/>
                <a:gd name="T17" fmla="*/ 18 h 6838"/>
                <a:gd name="T18" fmla="*/ 5184 w 6796"/>
                <a:gd name="T19" fmla="*/ 205 h 6838"/>
                <a:gd name="T20" fmla="*/ 5119 w 6796"/>
                <a:gd name="T21" fmla="*/ 231 h 6838"/>
                <a:gd name="T22" fmla="*/ 5050 w 6796"/>
                <a:gd name="T23" fmla="*/ 259 h 6838"/>
                <a:gd name="T24" fmla="*/ 3758 w 6796"/>
                <a:gd name="T25" fmla="*/ 987 h 6838"/>
                <a:gd name="T26" fmla="*/ 3625 w 6796"/>
                <a:gd name="T27" fmla="*/ 1081 h 6838"/>
                <a:gd name="T28" fmla="*/ 3479 w 6796"/>
                <a:gd name="T29" fmla="*/ 1189 h 6838"/>
                <a:gd name="T30" fmla="*/ 2254 w 6796"/>
                <a:gd name="T31" fmla="*/ 2254 h 6838"/>
                <a:gd name="T32" fmla="*/ 1188 w 6796"/>
                <a:gd name="T33" fmla="*/ 3479 h 6838"/>
                <a:gd name="T34" fmla="*/ 1081 w 6796"/>
                <a:gd name="T35" fmla="*/ 3626 h 6838"/>
                <a:gd name="T36" fmla="*/ 987 w 6796"/>
                <a:gd name="T37" fmla="*/ 3758 h 6838"/>
                <a:gd name="T38" fmla="*/ 259 w 6796"/>
                <a:gd name="T39" fmla="*/ 5050 h 6838"/>
                <a:gd name="T40" fmla="*/ 231 w 6796"/>
                <a:gd name="T41" fmla="*/ 5119 h 6838"/>
                <a:gd name="T42" fmla="*/ 205 w 6796"/>
                <a:gd name="T43" fmla="*/ 5184 h 6838"/>
                <a:gd name="T44" fmla="*/ 18 w 6796"/>
                <a:gd name="T45" fmla="*/ 5874 h 6838"/>
                <a:gd name="T46" fmla="*/ 11 w 6796"/>
                <a:gd name="T47" fmla="*/ 5933 h 6838"/>
                <a:gd name="T48" fmla="*/ 6 w 6796"/>
                <a:gd name="T49" fmla="*/ 5991 h 6838"/>
                <a:gd name="T50" fmla="*/ 0 w 6796"/>
                <a:gd name="T51" fmla="*/ 6125 h 6838"/>
                <a:gd name="T52" fmla="*/ 3 w 6796"/>
                <a:gd name="T53" fmla="*/ 6220 h 6838"/>
                <a:gd name="T54" fmla="*/ 208 w 6796"/>
                <a:gd name="T55" fmla="*/ 6475 h 6838"/>
                <a:gd name="T56" fmla="*/ 270 w 6796"/>
                <a:gd name="T57" fmla="*/ 6547 h 6838"/>
                <a:gd name="T58" fmla="*/ 332 w 6796"/>
                <a:gd name="T59" fmla="*/ 6615 h 6838"/>
                <a:gd name="T60" fmla="*/ 442 w 6796"/>
                <a:gd name="T61" fmla="*/ 6729 h 6838"/>
                <a:gd name="T62" fmla="*/ 556 w 6796"/>
                <a:gd name="T63" fmla="*/ 6838 h 6838"/>
                <a:gd name="T64" fmla="*/ 548 w 6796"/>
                <a:gd name="T65" fmla="*/ 6702 h 6838"/>
                <a:gd name="T66" fmla="*/ 551 w 6796"/>
                <a:gd name="T67" fmla="*/ 6619 h 6838"/>
                <a:gd name="T68" fmla="*/ 556 w 6796"/>
                <a:gd name="T69" fmla="*/ 6560 h 6838"/>
                <a:gd name="T70" fmla="*/ 561 w 6796"/>
                <a:gd name="T71" fmla="*/ 6501 h 6838"/>
                <a:gd name="T72" fmla="*/ 700 w 6796"/>
                <a:gd name="T73" fmla="*/ 5918 h 6838"/>
                <a:gd name="T74" fmla="*/ 724 w 6796"/>
                <a:gd name="T75" fmla="*/ 5852 h 6838"/>
                <a:gd name="T76" fmla="*/ 750 w 6796"/>
                <a:gd name="T77" fmla="*/ 5782 h 6838"/>
                <a:gd name="T78" fmla="*/ 1285 w 6796"/>
                <a:gd name="T79" fmla="*/ 4735 h 6838"/>
                <a:gd name="T80" fmla="*/ 1353 w 6796"/>
                <a:gd name="T81" fmla="*/ 4628 h 6838"/>
                <a:gd name="T82" fmla="*/ 1430 w 6796"/>
                <a:gd name="T83" fmla="*/ 4511 h 6838"/>
                <a:gd name="T84" fmla="*/ 2828 w 6796"/>
                <a:gd name="T85" fmla="*/ 2828 h 6838"/>
                <a:gd name="T86" fmla="*/ 4511 w 6796"/>
                <a:gd name="T87" fmla="*/ 1430 h 6838"/>
                <a:gd name="T88" fmla="*/ 4627 w 6796"/>
                <a:gd name="T89" fmla="*/ 1354 h 6838"/>
                <a:gd name="T90" fmla="*/ 4735 w 6796"/>
                <a:gd name="T91" fmla="*/ 1285 h 6838"/>
                <a:gd name="T92" fmla="*/ 5781 w 6796"/>
                <a:gd name="T93" fmla="*/ 750 h 6838"/>
                <a:gd name="T94" fmla="*/ 5851 w 6796"/>
                <a:gd name="T95" fmla="*/ 724 h 6838"/>
                <a:gd name="T96" fmla="*/ 5918 w 6796"/>
                <a:gd name="T97" fmla="*/ 700 h 6838"/>
                <a:gd name="T98" fmla="*/ 6501 w 6796"/>
                <a:gd name="T99" fmla="*/ 561 h 6838"/>
                <a:gd name="T100" fmla="*/ 6560 w 6796"/>
                <a:gd name="T101" fmla="*/ 556 h 6838"/>
                <a:gd name="T102" fmla="*/ 6620 w 6796"/>
                <a:gd name="T103" fmla="*/ 551 h 6838"/>
                <a:gd name="T104" fmla="*/ 6702 w 6796"/>
                <a:gd name="T105" fmla="*/ 548 h 6838"/>
                <a:gd name="T106" fmla="*/ 6796 w 6796"/>
                <a:gd name="T107" fmla="*/ 552 h 6838"/>
                <a:gd name="T108" fmla="*/ 6710 w 6796"/>
                <a:gd name="T109" fmla="*/ 461 h 6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796" h="6838">
                  <a:moveTo>
                    <a:pt x="6710" y="461"/>
                  </a:moveTo>
                  <a:cubicBezTo>
                    <a:pt x="6680" y="431"/>
                    <a:pt x="6649" y="403"/>
                    <a:pt x="6619" y="375"/>
                  </a:cubicBezTo>
                  <a:cubicBezTo>
                    <a:pt x="6597" y="354"/>
                    <a:pt x="6575" y="332"/>
                    <a:pt x="6553" y="312"/>
                  </a:cubicBezTo>
                  <a:cubicBezTo>
                    <a:pt x="6530" y="291"/>
                    <a:pt x="6507" y="272"/>
                    <a:pt x="6484" y="252"/>
                  </a:cubicBezTo>
                  <a:cubicBezTo>
                    <a:pt x="6382" y="163"/>
                    <a:pt x="6278" y="79"/>
                    <a:pt x="6170" y="1"/>
                  </a:cubicBezTo>
                  <a:cubicBezTo>
                    <a:pt x="6155" y="1"/>
                    <a:pt x="6140" y="0"/>
                    <a:pt x="6125" y="0"/>
                  </a:cubicBezTo>
                  <a:cubicBezTo>
                    <a:pt x="6082" y="0"/>
                    <a:pt x="6037" y="2"/>
                    <a:pt x="5991" y="6"/>
                  </a:cubicBezTo>
                  <a:cubicBezTo>
                    <a:pt x="5972" y="7"/>
                    <a:pt x="5953" y="9"/>
                    <a:pt x="5933" y="11"/>
                  </a:cubicBezTo>
                  <a:cubicBezTo>
                    <a:pt x="5914" y="13"/>
                    <a:pt x="5894" y="15"/>
                    <a:pt x="5874" y="18"/>
                  </a:cubicBezTo>
                  <a:cubicBezTo>
                    <a:pt x="5664" y="47"/>
                    <a:pt x="5432" y="110"/>
                    <a:pt x="5184" y="205"/>
                  </a:cubicBezTo>
                  <a:cubicBezTo>
                    <a:pt x="5162" y="214"/>
                    <a:pt x="5141" y="222"/>
                    <a:pt x="5119" y="231"/>
                  </a:cubicBezTo>
                  <a:cubicBezTo>
                    <a:pt x="5096" y="240"/>
                    <a:pt x="5073" y="249"/>
                    <a:pt x="5050" y="259"/>
                  </a:cubicBezTo>
                  <a:cubicBezTo>
                    <a:pt x="4649" y="427"/>
                    <a:pt x="4210" y="673"/>
                    <a:pt x="3758" y="987"/>
                  </a:cubicBezTo>
                  <a:cubicBezTo>
                    <a:pt x="3714" y="1018"/>
                    <a:pt x="3670" y="1049"/>
                    <a:pt x="3625" y="1081"/>
                  </a:cubicBezTo>
                  <a:cubicBezTo>
                    <a:pt x="3576" y="1116"/>
                    <a:pt x="3528" y="1152"/>
                    <a:pt x="3479" y="1189"/>
                  </a:cubicBezTo>
                  <a:cubicBezTo>
                    <a:pt x="3071" y="1494"/>
                    <a:pt x="2657" y="1851"/>
                    <a:pt x="2254" y="2254"/>
                  </a:cubicBezTo>
                  <a:cubicBezTo>
                    <a:pt x="1851" y="2657"/>
                    <a:pt x="1494" y="3071"/>
                    <a:pt x="1188" y="3479"/>
                  </a:cubicBezTo>
                  <a:cubicBezTo>
                    <a:pt x="1151" y="3528"/>
                    <a:pt x="1116" y="3577"/>
                    <a:pt x="1081" y="3626"/>
                  </a:cubicBezTo>
                  <a:cubicBezTo>
                    <a:pt x="1049" y="3670"/>
                    <a:pt x="1017" y="3714"/>
                    <a:pt x="987" y="3758"/>
                  </a:cubicBezTo>
                  <a:cubicBezTo>
                    <a:pt x="673" y="4210"/>
                    <a:pt x="427" y="4649"/>
                    <a:pt x="259" y="5050"/>
                  </a:cubicBezTo>
                  <a:cubicBezTo>
                    <a:pt x="249" y="5073"/>
                    <a:pt x="240" y="5096"/>
                    <a:pt x="231" y="5119"/>
                  </a:cubicBezTo>
                  <a:cubicBezTo>
                    <a:pt x="222" y="5141"/>
                    <a:pt x="214" y="5162"/>
                    <a:pt x="205" y="5184"/>
                  </a:cubicBezTo>
                  <a:cubicBezTo>
                    <a:pt x="110" y="5432"/>
                    <a:pt x="47" y="5665"/>
                    <a:pt x="18" y="5874"/>
                  </a:cubicBezTo>
                  <a:cubicBezTo>
                    <a:pt x="15" y="5894"/>
                    <a:pt x="13" y="5914"/>
                    <a:pt x="11" y="5933"/>
                  </a:cubicBezTo>
                  <a:cubicBezTo>
                    <a:pt x="8" y="5953"/>
                    <a:pt x="7" y="5972"/>
                    <a:pt x="6" y="5991"/>
                  </a:cubicBezTo>
                  <a:cubicBezTo>
                    <a:pt x="2" y="6037"/>
                    <a:pt x="0" y="6082"/>
                    <a:pt x="0" y="6125"/>
                  </a:cubicBezTo>
                  <a:cubicBezTo>
                    <a:pt x="0" y="6157"/>
                    <a:pt x="1" y="6189"/>
                    <a:pt x="3" y="6220"/>
                  </a:cubicBezTo>
                  <a:cubicBezTo>
                    <a:pt x="67" y="6307"/>
                    <a:pt x="136" y="6392"/>
                    <a:pt x="208" y="6475"/>
                  </a:cubicBezTo>
                  <a:cubicBezTo>
                    <a:pt x="228" y="6499"/>
                    <a:pt x="249" y="6524"/>
                    <a:pt x="270" y="6547"/>
                  </a:cubicBezTo>
                  <a:cubicBezTo>
                    <a:pt x="290" y="6570"/>
                    <a:pt x="312" y="6592"/>
                    <a:pt x="332" y="6615"/>
                  </a:cubicBezTo>
                  <a:cubicBezTo>
                    <a:pt x="368" y="6653"/>
                    <a:pt x="404" y="6692"/>
                    <a:pt x="442" y="6729"/>
                  </a:cubicBezTo>
                  <a:cubicBezTo>
                    <a:pt x="479" y="6767"/>
                    <a:pt x="517" y="6802"/>
                    <a:pt x="556" y="6838"/>
                  </a:cubicBezTo>
                  <a:cubicBezTo>
                    <a:pt x="551" y="6794"/>
                    <a:pt x="548" y="6749"/>
                    <a:pt x="548" y="6702"/>
                  </a:cubicBezTo>
                  <a:cubicBezTo>
                    <a:pt x="548" y="6675"/>
                    <a:pt x="550" y="6647"/>
                    <a:pt x="551" y="6619"/>
                  </a:cubicBezTo>
                  <a:cubicBezTo>
                    <a:pt x="552" y="6600"/>
                    <a:pt x="554" y="6580"/>
                    <a:pt x="556" y="6560"/>
                  </a:cubicBezTo>
                  <a:cubicBezTo>
                    <a:pt x="557" y="6541"/>
                    <a:pt x="559" y="6521"/>
                    <a:pt x="561" y="6501"/>
                  </a:cubicBezTo>
                  <a:cubicBezTo>
                    <a:pt x="582" y="6322"/>
                    <a:pt x="629" y="6126"/>
                    <a:pt x="700" y="5918"/>
                  </a:cubicBezTo>
                  <a:cubicBezTo>
                    <a:pt x="708" y="5896"/>
                    <a:pt x="716" y="5874"/>
                    <a:pt x="724" y="5852"/>
                  </a:cubicBezTo>
                  <a:cubicBezTo>
                    <a:pt x="733" y="5828"/>
                    <a:pt x="741" y="5805"/>
                    <a:pt x="750" y="5782"/>
                  </a:cubicBezTo>
                  <a:cubicBezTo>
                    <a:pt x="875" y="5455"/>
                    <a:pt x="1056" y="5102"/>
                    <a:pt x="1285" y="4735"/>
                  </a:cubicBezTo>
                  <a:cubicBezTo>
                    <a:pt x="1308" y="4699"/>
                    <a:pt x="1330" y="4664"/>
                    <a:pt x="1353" y="4628"/>
                  </a:cubicBezTo>
                  <a:cubicBezTo>
                    <a:pt x="1378" y="4589"/>
                    <a:pt x="1404" y="4550"/>
                    <a:pt x="1430" y="4511"/>
                  </a:cubicBezTo>
                  <a:cubicBezTo>
                    <a:pt x="1799" y="3961"/>
                    <a:pt x="2271" y="3385"/>
                    <a:pt x="2828" y="2828"/>
                  </a:cubicBezTo>
                  <a:cubicBezTo>
                    <a:pt x="3385" y="2271"/>
                    <a:pt x="3960" y="1799"/>
                    <a:pt x="4511" y="1430"/>
                  </a:cubicBezTo>
                  <a:cubicBezTo>
                    <a:pt x="4550" y="1404"/>
                    <a:pt x="4589" y="1379"/>
                    <a:pt x="4627" y="1354"/>
                  </a:cubicBezTo>
                  <a:cubicBezTo>
                    <a:pt x="4663" y="1330"/>
                    <a:pt x="4699" y="1308"/>
                    <a:pt x="4735" y="1285"/>
                  </a:cubicBezTo>
                  <a:cubicBezTo>
                    <a:pt x="5102" y="1056"/>
                    <a:pt x="5455" y="875"/>
                    <a:pt x="5781" y="750"/>
                  </a:cubicBezTo>
                  <a:cubicBezTo>
                    <a:pt x="5805" y="741"/>
                    <a:pt x="5828" y="733"/>
                    <a:pt x="5851" y="724"/>
                  </a:cubicBezTo>
                  <a:cubicBezTo>
                    <a:pt x="5874" y="716"/>
                    <a:pt x="5896" y="708"/>
                    <a:pt x="5918" y="700"/>
                  </a:cubicBezTo>
                  <a:cubicBezTo>
                    <a:pt x="6126" y="629"/>
                    <a:pt x="6322" y="582"/>
                    <a:pt x="6501" y="561"/>
                  </a:cubicBezTo>
                  <a:cubicBezTo>
                    <a:pt x="6521" y="559"/>
                    <a:pt x="6541" y="557"/>
                    <a:pt x="6560" y="556"/>
                  </a:cubicBezTo>
                  <a:cubicBezTo>
                    <a:pt x="6580" y="554"/>
                    <a:pt x="6600" y="552"/>
                    <a:pt x="6620" y="551"/>
                  </a:cubicBezTo>
                  <a:cubicBezTo>
                    <a:pt x="6647" y="550"/>
                    <a:pt x="6675" y="549"/>
                    <a:pt x="6702" y="548"/>
                  </a:cubicBezTo>
                  <a:cubicBezTo>
                    <a:pt x="6734" y="548"/>
                    <a:pt x="6765" y="550"/>
                    <a:pt x="6796" y="552"/>
                  </a:cubicBezTo>
                  <a:cubicBezTo>
                    <a:pt x="6767" y="521"/>
                    <a:pt x="6739" y="491"/>
                    <a:pt x="6710" y="4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8" name="Freeform 10">
              <a:extLst>
                <a:ext uri="{FF2B5EF4-FFF2-40B4-BE49-F238E27FC236}">
                  <a16:creationId xmlns:a16="http://schemas.microsoft.com/office/drawing/2014/main" id="{54CE5925-9480-4C02-A7F9-3B31E37C904C}"/>
                </a:ext>
              </a:extLst>
            </p:cNvPr>
            <p:cNvSpPr>
              <a:spLocks/>
            </p:cNvSpPr>
            <p:nvPr/>
          </p:nvSpPr>
          <p:spPr bwMode="auto">
            <a:xfrm>
              <a:off x="3956348" y="740943"/>
              <a:ext cx="4194616" cy="4225990"/>
            </a:xfrm>
            <a:custGeom>
              <a:avLst/>
              <a:gdLst>
                <a:gd name="T0" fmla="*/ 1126 w 6312"/>
                <a:gd name="T1" fmla="*/ 4101 h 6355"/>
                <a:gd name="T2" fmla="*/ 1212 w 6312"/>
                <a:gd name="T3" fmla="*/ 3976 h 6355"/>
                <a:gd name="T4" fmla="*/ 2479 w 6312"/>
                <a:gd name="T5" fmla="*/ 2477 h 6355"/>
                <a:gd name="T6" fmla="*/ 3978 w 6312"/>
                <a:gd name="T7" fmla="*/ 1210 h 6355"/>
                <a:gd name="T8" fmla="*/ 4103 w 6312"/>
                <a:gd name="T9" fmla="*/ 1124 h 6355"/>
                <a:gd name="T10" fmla="*/ 4216 w 6312"/>
                <a:gd name="T11" fmla="*/ 1049 h 6355"/>
                <a:gd name="T12" fmla="*/ 5392 w 6312"/>
                <a:gd name="T13" fmla="*/ 423 h 6355"/>
                <a:gd name="T14" fmla="*/ 5456 w 6312"/>
                <a:gd name="T15" fmla="*/ 399 h 6355"/>
                <a:gd name="T16" fmla="*/ 5518 w 6312"/>
                <a:gd name="T17" fmla="*/ 376 h 6355"/>
                <a:gd name="T18" fmla="*/ 6164 w 6312"/>
                <a:gd name="T19" fmla="*/ 208 h 6355"/>
                <a:gd name="T20" fmla="*/ 6222 w 6312"/>
                <a:gd name="T21" fmla="*/ 201 h 6355"/>
                <a:gd name="T22" fmla="*/ 6281 w 6312"/>
                <a:gd name="T23" fmla="*/ 195 h 6355"/>
                <a:gd name="T24" fmla="*/ 6312 w 6312"/>
                <a:gd name="T25" fmla="*/ 193 h 6355"/>
                <a:gd name="T26" fmla="*/ 6276 w 6312"/>
                <a:gd name="T27" fmla="*/ 170 h 6355"/>
                <a:gd name="T28" fmla="*/ 6203 w 6312"/>
                <a:gd name="T29" fmla="*/ 124 h 6355"/>
                <a:gd name="T30" fmla="*/ 6122 w 6312"/>
                <a:gd name="T31" fmla="*/ 74 h 6355"/>
                <a:gd name="T32" fmla="*/ 5988 w 6312"/>
                <a:gd name="T33" fmla="*/ 0 h 6355"/>
                <a:gd name="T34" fmla="*/ 5542 w 6312"/>
                <a:gd name="T35" fmla="*/ 68 h 6355"/>
                <a:gd name="T36" fmla="*/ 5484 w 6312"/>
                <a:gd name="T37" fmla="*/ 83 h 6355"/>
                <a:gd name="T38" fmla="*/ 5425 w 6312"/>
                <a:gd name="T39" fmla="*/ 101 h 6355"/>
                <a:gd name="T40" fmla="*/ 4488 w 6312"/>
                <a:gd name="T41" fmla="*/ 508 h 6355"/>
                <a:gd name="T42" fmla="*/ 4405 w 6312"/>
                <a:gd name="T43" fmla="*/ 555 h 6355"/>
                <a:gd name="T44" fmla="*/ 4316 w 6312"/>
                <a:gd name="T45" fmla="*/ 606 h 6355"/>
                <a:gd name="T46" fmla="*/ 2245 w 6312"/>
                <a:gd name="T47" fmla="*/ 2243 h 6355"/>
                <a:gd name="T48" fmla="*/ 608 w 6312"/>
                <a:gd name="T49" fmla="*/ 4314 h 6355"/>
                <a:gd name="T50" fmla="*/ 557 w 6312"/>
                <a:gd name="T51" fmla="*/ 4404 h 6355"/>
                <a:gd name="T52" fmla="*/ 510 w 6312"/>
                <a:gd name="T53" fmla="*/ 4486 h 6355"/>
                <a:gd name="T54" fmla="*/ 103 w 6312"/>
                <a:gd name="T55" fmla="*/ 5423 h 6355"/>
                <a:gd name="T56" fmla="*/ 85 w 6312"/>
                <a:gd name="T57" fmla="*/ 5482 h 6355"/>
                <a:gd name="T58" fmla="*/ 70 w 6312"/>
                <a:gd name="T59" fmla="*/ 5540 h 6355"/>
                <a:gd name="T60" fmla="*/ 1 w 6312"/>
                <a:gd name="T61" fmla="*/ 6034 h 6355"/>
                <a:gd name="T62" fmla="*/ 1 w 6312"/>
                <a:gd name="T63" fmla="*/ 6039 h 6355"/>
                <a:gd name="T64" fmla="*/ 36 w 6312"/>
                <a:gd name="T65" fmla="*/ 6102 h 6355"/>
                <a:gd name="T66" fmla="*/ 85 w 6312"/>
                <a:gd name="T67" fmla="*/ 6186 h 6355"/>
                <a:gd name="T68" fmla="*/ 134 w 6312"/>
                <a:gd name="T69" fmla="*/ 6264 h 6355"/>
                <a:gd name="T70" fmla="*/ 192 w 6312"/>
                <a:gd name="T71" fmla="*/ 6355 h 6355"/>
                <a:gd name="T72" fmla="*/ 197 w 6312"/>
                <a:gd name="T73" fmla="*/ 6279 h 6355"/>
                <a:gd name="T74" fmla="*/ 203 w 6312"/>
                <a:gd name="T75" fmla="*/ 6220 h 6355"/>
                <a:gd name="T76" fmla="*/ 210 w 6312"/>
                <a:gd name="T77" fmla="*/ 6162 h 6355"/>
                <a:gd name="T78" fmla="*/ 378 w 6312"/>
                <a:gd name="T79" fmla="*/ 5516 h 6355"/>
                <a:gd name="T80" fmla="*/ 400 w 6312"/>
                <a:gd name="T81" fmla="*/ 5454 h 6355"/>
                <a:gd name="T82" fmla="*/ 425 w 6312"/>
                <a:gd name="T83" fmla="*/ 5390 h 6355"/>
                <a:gd name="T84" fmla="*/ 1050 w 6312"/>
                <a:gd name="T85" fmla="*/ 4214 h 6355"/>
                <a:gd name="T86" fmla="*/ 1126 w 6312"/>
                <a:gd name="T87" fmla="*/ 4101 h 6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2" h="6355">
                  <a:moveTo>
                    <a:pt x="1126" y="4101"/>
                  </a:moveTo>
                  <a:cubicBezTo>
                    <a:pt x="1154" y="4060"/>
                    <a:pt x="1183" y="4018"/>
                    <a:pt x="1212" y="3976"/>
                  </a:cubicBezTo>
                  <a:cubicBezTo>
                    <a:pt x="1559" y="3480"/>
                    <a:pt x="1986" y="2971"/>
                    <a:pt x="2479" y="2477"/>
                  </a:cubicBezTo>
                  <a:cubicBezTo>
                    <a:pt x="2973" y="1984"/>
                    <a:pt x="3482" y="1557"/>
                    <a:pt x="3978" y="1210"/>
                  </a:cubicBezTo>
                  <a:cubicBezTo>
                    <a:pt x="4020" y="1181"/>
                    <a:pt x="4061" y="1152"/>
                    <a:pt x="4103" y="1124"/>
                  </a:cubicBezTo>
                  <a:cubicBezTo>
                    <a:pt x="4141" y="1098"/>
                    <a:pt x="4179" y="1073"/>
                    <a:pt x="4216" y="1049"/>
                  </a:cubicBezTo>
                  <a:cubicBezTo>
                    <a:pt x="4626" y="780"/>
                    <a:pt x="5024" y="569"/>
                    <a:pt x="5392" y="423"/>
                  </a:cubicBezTo>
                  <a:cubicBezTo>
                    <a:pt x="5414" y="415"/>
                    <a:pt x="5435" y="407"/>
                    <a:pt x="5456" y="399"/>
                  </a:cubicBezTo>
                  <a:cubicBezTo>
                    <a:pt x="5477" y="391"/>
                    <a:pt x="5498" y="383"/>
                    <a:pt x="5518" y="376"/>
                  </a:cubicBezTo>
                  <a:cubicBezTo>
                    <a:pt x="5747" y="293"/>
                    <a:pt x="5964" y="236"/>
                    <a:pt x="6164" y="208"/>
                  </a:cubicBezTo>
                  <a:cubicBezTo>
                    <a:pt x="6183" y="206"/>
                    <a:pt x="6203" y="203"/>
                    <a:pt x="6222" y="201"/>
                  </a:cubicBezTo>
                  <a:cubicBezTo>
                    <a:pt x="6242" y="199"/>
                    <a:pt x="6262" y="197"/>
                    <a:pt x="6281" y="195"/>
                  </a:cubicBezTo>
                  <a:cubicBezTo>
                    <a:pt x="6292" y="194"/>
                    <a:pt x="6302" y="193"/>
                    <a:pt x="6312" y="193"/>
                  </a:cubicBezTo>
                  <a:cubicBezTo>
                    <a:pt x="6300" y="185"/>
                    <a:pt x="6288" y="178"/>
                    <a:pt x="6276" y="170"/>
                  </a:cubicBezTo>
                  <a:cubicBezTo>
                    <a:pt x="6252" y="155"/>
                    <a:pt x="6228" y="139"/>
                    <a:pt x="6203" y="124"/>
                  </a:cubicBezTo>
                  <a:cubicBezTo>
                    <a:pt x="6176" y="108"/>
                    <a:pt x="6149" y="90"/>
                    <a:pt x="6122" y="74"/>
                  </a:cubicBezTo>
                  <a:cubicBezTo>
                    <a:pt x="6077" y="49"/>
                    <a:pt x="6032" y="24"/>
                    <a:pt x="5988" y="0"/>
                  </a:cubicBezTo>
                  <a:cubicBezTo>
                    <a:pt x="5852" y="4"/>
                    <a:pt x="5703" y="27"/>
                    <a:pt x="5542" y="68"/>
                  </a:cubicBezTo>
                  <a:cubicBezTo>
                    <a:pt x="5523" y="73"/>
                    <a:pt x="5503" y="78"/>
                    <a:pt x="5484" y="83"/>
                  </a:cubicBezTo>
                  <a:cubicBezTo>
                    <a:pt x="5464" y="89"/>
                    <a:pt x="5445" y="95"/>
                    <a:pt x="5425" y="101"/>
                  </a:cubicBezTo>
                  <a:cubicBezTo>
                    <a:pt x="5140" y="186"/>
                    <a:pt x="4823" y="324"/>
                    <a:pt x="4488" y="508"/>
                  </a:cubicBezTo>
                  <a:cubicBezTo>
                    <a:pt x="4461" y="523"/>
                    <a:pt x="4433" y="539"/>
                    <a:pt x="4405" y="555"/>
                  </a:cubicBezTo>
                  <a:cubicBezTo>
                    <a:pt x="4376" y="572"/>
                    <a:pt x="4346" y="588"/>
                    <a:pt x="4316" y="606"/>
                  </a:cubicBezTo>
                  <a:cubicBezTo>
                    <a:pt x="3656" y="993"/>
                    <a:pt x="2935" y="1552"/>
                    <a:pt x="2245" y="2243"/>
                  </a:cubicBezTo>
                  <a:cubicBezTo>
                    <a:pt x="1554" y="2933"/>
                    <a:pt x="995" y="3654"/>
                    <a:pt x="608" y="4314"/>
                  </a:cubicBezTo>
                  <a:cubicBezTo>
                    <a:pt x="590" y="4344"/>
                    <a:pt x="573" y="4374"/>
                    <a:pt x="557" y="4404"/>
                  </a:cubicBezTo>
                  <a:cubicBezTo>
                    <a:pt x="541" y="4431"/>
                    <a:pt x="525" y="4459"/>
                    <a:pt x="510" y="4486"/>
                  </a:cubicBezTo>
                  <a:cubicBezTo>
                    <a:pt x="326" y="4822"/>
                    <a:pt x="188" y="5138"/>
                    <a:pt x="103" y="5423"/>
                  </a:cubicBezTo>
                  <a:cubicBezTo>
                    <a:pt x="97" y="5443"/>
                    <a:pt x="91" y="5462"/>
                    <a:pt x="85" y="5482"/>
                  </a:cubicBezTo>
                  <a:cubicBezTo>
                    <a:pt x="80" y="5501"/>
                    <a:pt x="75" y="5521"/>
                    <a:pt x="70" y="5540"/>
                  </a:cubicBezTo>
                  <a:cubicBezTo>
                    <a:pt x="24" y="5720"/>
                    <a:pt x="0" y="5886"/>
                    <a:pt x="1" y="6034"/>
                  </a:cubicBezTo>
                  <a:cubicBezTo>
                    <a:pt x="1" y="6035"/>
                    <a:pt x="1" y="6037"/>
                    <a:pt x="1" y="6039"/>
                  </a:cubicBezTo>
                  <a:cubicBezTo>
                    <a:pt x="12" y="6060"/>
                    <a:pt x="24" y="6081"/>
                    <a:pt x="36" y="6102"/>
                  </a:cubicBezTo>
                  <a:cubicBezTo>
                    <a:pt x="52" y="6130"/>
                    <a:pt x="68" y="6158"/>
                    <a:pt x="85" y="6186"/>
                  </a:cubicBezTo>
                  <a:cubicBezTo>
                    <a:pt x="101" y="6212"/>
                    <a:pt x="117" y="6238"/>
                    <a:pt x="134" y="6264"/>
                  </a:cubicBezTo>
                  <a:cubicBezTo>
                    <a:pt x="153" y="6294"/>
                    <a:pt x="172" y="6325"/>
                    <a:pt x="192" y="6355"/>
                  </a:cubicBezTo>
                  <a:cubicBezTo>
                    <a:pt x="193" y="6330"/>
                    <a:pt x="195" y="6305"/>
                    <a:pt x="197" y="6279"/>
                  </a:cubicBezTo>
                  <a:cubicBezTo>
                    <a:pt x="199" y="6260"/>
                    <a:pt x="201" y="6240"/>
                    <a:pt x="203" y="6220"/>
                  </a:cubicBezTo>
                  <a:cubicBezTo>
                    <a:pt x="205" y="6201"/>
                    <a:pt x="208" y="6181"/>
                    <a:pt x="210" y="6162"/>
                  </a:cubicBezTo>
                  <a:cubicBezTo>
                    <a:pt x="238" y="5962"/>
                    <a:pt x="295" y="5745"/>
                    <a:pt x="378" y="5516"/>
                  </a:cubicBezTo>
                  <a:cubicBezTo>
                    <a:pt x="385" y="5496"/>
                    <a:pt x="392" y="5475"/>
                    <a:pt x="400" y="5454"/>
                  </a:cubicBezTo>
                  <a:cubicBezTo>
                    <a:pt x="408" y="5433"/>
                    <a:pt x="417" y="5412"/>
                    <a:pt x="425" y="5390"/>
                  </a:cubicBezTo>
                  <a:cubicBezTo>
                    <a:pt x="571" y="5022"/>
                    <a:pt x="782" y="4624"/>
                    <a:pt x="1050" y="4214"/>
                  </a:cubicBezTo>
                  <a:cubicBezTo>
                    <a:pt x="1075" y="4177"/>
                    <a:pt x="1100" y="4139"/>
                    <a:pt x="1126" y="410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9" name="Freeform 11">
              <a:extLst>
                <a:ext uri="{FF2B5EF4-FFF2-40B4-BE49-F238E27FC236}">
                  <a16:creationId xmlns:a16="http://schemas.microsoft.com/office/drawing/2014/main" id="{9BF6A145-B04A-4D96-B42A-F9F9564194A0}"/>
                </a:ext>
              </a:extLst>
            </p:cNvPr>
            <p:cNvSpPr>
              <a:spLocks/>
            </p:cNvSpPr>
            <p:nvPr/>
          </p:nvSpPr>
          <p:spPr bwMode="auto">
            <a:xfrm>
              <a:off x="4604297" y="1387527"/>
              <a:ext cx="4412873" cy="4441519"/>
            </a:xfrm>
            <a:custGeom>
              <a:avLst/>
              <a:gdLst>
                <a:gd name="T0" fmla="*/ 4682 w 6640"/>
                <a:gd name="T1" fmla="*/ 1069 h 6679"/>
                <a:gd name="T2" fmla="*/ 4782 w 6640"/>
                <a:gd name="T3" fmla="*/ 1013 h 6679"/>
                <a:gd name="T4" fmla="*/ 4876 w 6640"/>
                <a:gd name="T5" fmla="*/ 962 h 6679"/>
                <a:gd name="T6" fmla="*/ 5665 w 6640"/>
                <a:gd name="T7" fmla="*/ 626 h 6679"/>
                <a:gd name="T8" fmla="*/ 5735 w 6640"/>
                <a:gd name="T9" fmla="*/ 605 h 6679"/>
                <a:gd name="T10" fmla="*/ 5804 w 6640"/>
                <a:gd name="T11" fmla="*/ 586 h 6679"/>
                <a:gd name="T12" fmla="*/ 6300 w 6640"/>
                <a:gd name="T13" fmla="*/ 507 h 6679"/>
                <a:gd name="T14" fmla="*/ 6355 w 6640"/>
                <a:gd name="T15" fmla="*/ 505 h 6679"/>
                <a:gd name="T16" fmla="*/ 6360 w 6640"/>
                <a:gd name="T17" fmla="*/ 505 h 6679"/>
                <a:gd name="T18" fmla="*/ 6419 w 6640"/>
                <a:gd name="T19" fmla="*/ 507 h 6679"/>
                <a:gd name="T20" fmla="*/ 6640 w 6640"/>
                <a:gd name="T21" fmla="*/ 536 h 6679"/>
                <a:gd name="T22" fmla="*/ 6443 w 6640"/>
                <a:gd name="T23" fmla="*/ 254 h 6679"/>
                <a:gd name="T24" fmla="*/ 6385 w 6640"/>
                <a:gd name="T25" fmla="*/ 179 h 6679"/>
                <a:gd name="T26" fmla="*/ 6323 w 6640"/>
                <a:gd name="T27" fmla="*/ 102 h 6679"/>
                <a:gd name="T28" fmla="*/ 6253 w 6640"/>
                <a:gd name="T29" fmla="*/ 21 h 6679"/>
                <a:gd name="T30" fmla="*/ 6036 w 6640"/>
                <a:gd name="T31" fmla="*/ 1 h 6679"/>
                <a:gd name="T32" fmla="*/ 5943 w 6640"/>
                <a:gd name="T33" fmla="*/ 3 h 6679"/>
                <a:gd name="T34" fmla="*/ 5884 w 6640"/>
                <a:gd name="T35" fmla="*/ 8 h 6679"/>
                <a:gd name="T36" fmla="*/ 5824 w 6640"/>
                <a:gd name="T37" fmla="*/ 15 h 6679"/>
                <a:gd name="T38" fmla="*/ 5212 w 6640"/>
                <a:gd name="T39" fmla="*/ 174 h 6679"/>
                <a:gd name="T40" fmla="*/ 5142 w 6640"/>
                <a:gd name="T41" fmla="*/ 200 h 6679"/>
                <a:gd name="T42" fmla="*/ 5070 w 6640"/>
                <a:gd name="T43" fmla="*/ 229 h 6679"/>
                <a:gd name="T44" fmla="*/ 3933 w 6640"/>
                <a:gd name="T45" fmla="*/ 848 h 6679"/>
                <a:gd name="T46" fmla="*/ 3812 w 6640"/>
                <a:gd name="T47" fmla="*/ 929 h 6679"/>
                <a:gd name="T48" fmla="*/ 3679 w 6640"/>
                <a:gd name="T49" fmla="*/ 1023 h 6679"/>
                <a:gd name="T50" fmla="*/ 2245 w 6640"/>
                <a:gd name="T51" fmla="*/ 2245 h 6679"/>
                <a:gd name="T52" fmla="*/ 1023 w 6640"/>
                <a:gd name="T53" fmla="*/ 3679 h 6679"/>
                <a:gd name="T54" fmla="*/ 929 w 6640"/>
                <a:gd name="T55" fmla="*/ 3812 h 6679"/>
                <a:gd name="T56" fmla="*/ 848 w 6640"/>
                <a:gd name="T57" fmla="*/ 3933 h 6679"/>
                <a:gd name="T58" fmla="*/ 229 w 6640"/>
                <a:gd name="T59" fmla="*/ 5070 h 6679"/>
                <a:gd name="T60" fmla="*/ 200 w 6640"/>
                <a:gd name="T61" fmla="*/ 5142 h 6679"/>
                <a:gd name="T62" fmla="*/ 174 w 6640"/>
                <a:gd name="T63" fmla="*/ 5212 h 6679"/>
                <a:gd name="T64" fmla="*/ 15 w 6640"/>
                <a:gd name="T65" fmla="*/ 5824 h 6679"/>
                <a:gd name="T66" fmla="*/ 8 w 6640"/>
                <a:gd name="T67" fmla="*/ 5884 h 6679"/>
                <a:gd name="T68" fmla="*/ 3 w 6640"/>
                <a:gd name="T69" fmla="*/ 5943 h 6679"/>
                <a:gd name="T70" fmla="*/ 1 w 6640"/>
                <a:gd name="T71" fmla="*/ 6036 h 6679"/>
                <a:gd name="T72" fmla="*/ 30 w 6640"/>
                <a:gd name="T73" fmla="*/ 6297 h 6679"/>
                <a:gd name="T74" fmla="*/ 54 w 6640"/>
                <a:gd name="T75" fmla="*/ 6318 h 6679"/>
                <a:gd name="T76" fmla="*/ 132 w 6640"/>
                <a:gd name="T77" fmla="*/ 6383 h 6679"/>
                <a:gd name="T78" fmla="*/ 211 w 6640"/>
                <a:gd name="T79" fmla="*/ 6444 h 6679"/>
                <a:gd name="T80" fmla="*/ 547 w 6640"/>
                <a:gd name="T81" fmla="*/ 6679 h 6679"/>
                <a:gd name="T82" fmla="*/ 507 w 6640"/>
                <a:gd name="T83" fmla="*/ 6419 h 6679"/>
                <a:gd name="T84" fmla="*/ 505 w 6640"/>
                <a:gd name="T85" fmla="*/ 6360 h 6679"/>
                <a:gd name="T86" fmla="*/ 505 w 6640"/>
                <a:gd name="T87" fmla="*/ 6356 h 6679"/>
                <a:gd name="T88" fmla="*/ 507 w 6640"/>
                <a:gd name="T89" fmla="*/ 6300 h 6679"/>
                <a:gd name="T90" fmla="*/ 586 w 6640"/>
                <a:gd name="T91" fmla="*/ 5804 h 6679"/>
                <a:gd name="T92" fmla="*/ 605 w 6640"/>
                <a:gd name="T93" fmla="*/ 5735 h 6679"/>
                <a:gd name="T94" fmla="*/ 626 w 6640"/>
                <a:gd name="T95" fmla="*/ 5665 h 6679"/>
                <a:gd name="T96" fmla="*/ 962 w 6640"/>
                <a:gd name="T97" fmla="*/ 4876 h 6679"/>
                <a:gd name="T98" fmla="*/ 1013 w 6640"/>
                <a:gd name="T99" fmla="*/ 4781 h 6679"/>
                <a:gd name="T100" fmla="*/ 1069 w 6640"/>
                <a:gd name="T101" fmla="*/ 4682 h 6679"/>
                <a:gd name="T102" fmla="*/ 2654 w 6640"/>
                <a:gd name="T103" fmla="*/ 2654 h 6679"/>
                <a:gd name="T104" fmla="*/ 4682 w 6640"/>
                <a:gd name="T105" fmla="*/ 1069 h 6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640" h="6679">
                  <a:moveTo>
                    <a:pt x="4682" y="1069"/>
                  </a:moveTo>
                  <a:cubicBezTo>
                    <a:pt x="4715" y="1050"/>
                    <a:pt x="4748" y="1031"/>
                    <a:pt x="4782" y="1013"/>
                  </a:cubicBezTo>
                  <a:cubicBezTo>
                    <a:pt x="4813" y="996"/>
                    <a:pt x="4845" y="979"/>
                    <a:pt x="4876" y="962"/>
                  </a:cubicBezTo>
                  <a:cubicBezTo>
                    <a:pt x="5153" y="816"/>
                    <a:pt x="5418" y="703"/>
                    <a:pt x="5665" y="626"/>
                  </a:cubicBezTo>
                  <a:cubicBezTo>
                    <a:pt x="5688" y="619"/>
                    <a:pt x="5712" y="612"/>
                    <a:pt x="5735" y="605"/>
                  </a:cubicBezTo>
                  <a:cubicBezTo>
                    <a:pt x="5758" y="599"/>
                    <a:pt x="5781" y="592"/>
                    <a:pt x="5804" y="586"/>
                  </a:cubicBezTo>
                  <a:cubicBezTo>
                    <a:pt x="5981" y="539"/>
                    <a:pt x="6147" y="513"/>
                    <a:pt x="6300" y="507"/>
                  </a:cubicBezTo>
                  <a:cubicBezTo>
                    <a:pt x="6318" y="506"/>
                    <a:pt x="6337" y="505"/>
                    <a:pt x="6355" y="505"/>
                  </a:cubicBezTo>
                  <a:cubicBezTo>
                    <a:pt x="6357" y="505"/>
                    <a:pt x="6358" y="505"/>
                    <a:pt x="6360" y="505"/>
                  </a:cubicBezTo>
                  <a:cubicBezTo>
                    <a:pt x="6380" y="505"/>
                    <a:pt x="6399" y="506"/>
                    <a:pt x="6419" y="507"/>
                  </a:cubicBezTo>
                  <a:cubicBezTo>
                    <a:pt x="6496" y="511"/>
                    <a:pt x="6571" y="520"/>
                    <a:pt x="6640" y="536"/>
                  </a:cubicBezTo>
                  <a:cubicBezTo>
                    <a:pt x="6579" y="440"/>
                    <a:pt x="6513" y="346"/>
                    <a:pt x="6443" y="254"/>
                  </a:cubicBezTo>
                  <a:cubicBezTo>
                    <a:pt x="6424" y="229"/>
                    <a:pt x="6404" y="204"/>
                    <a:pt x="6385" y="179"/>
                  </a:cubicBezTo>
                  <a:cubicBezTo>
                    <a:pt x="6364" y="153"/>
                    <a:pt x="6344" y="128"/>
                    <a:pt x="6323" y="102"/>
                  </a:cubicBezTo>
                  <a:cubicBezTo>
                    <a:pt x="6300" y="75"/>
                    <a:pt x="6276" y="48"/>
                    <a:pt x="6253" y="21"/>
                  </a:cubicBezTo>
                  <a:cubicBezTo>
                    <a:pt x="6186" y="8"/>
                    <a:pt x="6114" y="1"/>
                    <a:pt x="6036" y="1"/>
                  </a:cubicBezTo>
                  <a:cubicBezTo>
                    <a:pt x="6006" y="0"/>
                    <a:pt x="5975" y="2"/>
                    <a:pt x="5943" y="3"/>
                  </a:cubicBezTo>
                  <a:cubicBezTo>
                    <a:pt x="5924" y="4"/>
                    <a:pt x="5904" y="6"/>
                    <a:pt x="5884" y="8"/>
                  </a:cubicBezTo>
                  <a:cubicBezTo>
                    <a:pt x="5864" y="10"/>
                    <a:pt x="5844" y="13"/>
                    <a:pt x="5824" y="15"/>
                  </a:cubicBezTo>
                  <a:cubicBezTo>
                    <a:pt x="5639" y="39"/>
                    <a:pt x="5433" y="93"/>
                    <a:pt x="5212" y="174"/>
                  </a:cubicBezTo>
                  <a:cubicBezTo>
                    <a:pt x="5189" y="183"/>
                    <a:pt x="5166" y="191"/>
                    <a:pt x="5142" y="200"/>
                  </a:cubicBezTo>
                  <a:cubicBezTo>
                    <a:pt x="5118" y="210"/>
                    <a:pt x="5094" y="219"/>
                    <a:pt x="5070" y="229"/>
                  </a:cubicBezTo>
                  <a:cubicBezTo>
                    <a:pt x="4719" y="373"/>
                    <a:pt x="4334" y="582"/>
                    <a:pt x="3933" y="848"/>
                  </a:cubicBezTo>
                  <a:cubicBezTo>
                    <a:pt x="3893" y="874"/>
                    <a:pt x="3852" y="902"/>
                    <a:pt x="3812" y="929"/>
                  </a:cubicBezTo>
                  <a:cubicBezTo>
                    <a:pt x="3767" y="960"/>
                    <a:pt x="3723" y="991"/>
                    <a:pt x="3679" y="1023"/>
                  </a:cubicBezTo>
                  <a:cubicBezTo>
                    <a:pt x="3206" y="1360"/>
                    <a:pt x="2718" y="1771"/>
                    <a:pt x="2245" y="2245"/>
                  </a:cubicBezTo>
                  <a:cubicBezTo>
                    <a:pt x="1771" y="2718"/>
                    <a:pt x="1360" y="3206"/>
                    <a:pt x="1023" y="3679"/>
                  </a:cubicBezTo>
                  <a:cubicBezTo>
                    <a:pt x="991" y="3723"/>
                    <a:pt x="960" y="3768"/>
                    <a:pt x="929" y="3812"/>
                  </a:cubicBezTo>
                  <a:cubicBezTo>
                    <a:pt x="902" y="3852"/>
                    <a:pt x="874" y="3893"/>
                    <a:pt x="848" y="3933"/>
                  </a:cubicBezTo>
                  <a:cubicBezTo>
                    <a:pt x="582" y="4334"/>
                    <a:pt x="373" y="4719"/>
                    <a:pt x="229" y="5070"/>
                  </a:cubicBezTo>
                  <a:cubicBezTo>
                    <a:pt x="219" y="5094"/>
                    <a:pt x="210" y="5118"/>
                    <a:pt x="200" y="5142"/>
                  </a:cubicBezTo>
                  <a:cubicBezTo>
                    <a:pt x="191" y="5166"/>
                    <a:pt x="183" y="5189"/>
                    <a:pt x="174" y="5212"/>
                  </a:cubicBezTo>
                  <a:cubicBezTo>
                    <a:pt x="93" y="5433"/>
                    <a:pt x="39" y="5639"/>
                    <a:pt x="15" y="5824"/>
                  </a:cubicBezTo>
                  <a:cubicBezTo>
                    <a:pt x="12" y="5844"/>
                    <a:pt x="10" y="5864"/>
                    <a:pt x="8" y="5884"/>
                  </a:cubicBezTo>
                  <a:cubicBezTo>
                    <a:pt x="6" y="5904"/>
                    <a:pt x="5" y="5924"/>
                    <a:pt x="3" y="5943"/>
                  </a:cubicBezTo>
                  <a:cubicBezTo>
                    <a:pt x="2" y="5975"/>
                    <a:pt x="0" y="6006"/>
                    <a:pt x="1" y="6036"/>
                  </a:cubicBezTo>
                  <a:cubicBezTo>
                    <a:pt x="1" y="6131"/>
                    <a:pt x="10" y="6218"/>
                    <a:pt x="30" y="6297"/>
                  </a:cubicBezTo>
                  <a:cubicBezTo>
                    <a:pt x="38" y="6304"/>
                    <a:pt x="46" y="6311"/>
                    <a:pt x="54" y="6318"/>
                  </a:cubicBezTo>
                  <a:cubicBezTo>
                    <a:pt x="80" y="6340"/>
                    <a:pt x="106" y="6362"/>
                    <a:pt x="132" y="6383"/>
                  </a:cubicBezTo>
                  <a:cubicBezTo>
                    <a:pt x="158" y="6404"/>
                    <a:pt x="184" y="6424"/>
                    <a:pt x="211" y="6444"/>
                  </a:cubicBezTo>
                  <a:cubicBezTo>
                    <a:pt x="320" y="6528"/>
                    <a:pt x="432" y="6606"/>
                    <a:pt x="547" y="6679"/>
                  </a:cubicBezTo>
                  <a:cubicBezTo>
                    <a:pt x="524" y="6598"/>
                    <a:pt x="511" y="6511"/>
                    <a:pt x="507" y="6419"/>
                  </a:cubicBezTo>
                  <a:cubicBezTo>
                    <a:pt x="506" y="6399"/>
                    <a:pt x="505" y="6380"/>
                    <a:pt x="505" y="6360"/>
                  </a:cubicBezTo>
                  <a:cubicBezTo>
                    <a:pt x="505" y="6358"/>
                    <a:pt x="505" y="6357"/>
                    <a:pt x="505" y="6356"/>
                  </a:cubicBezTo>
                  <a:cubicBezTo>
                    <a:pt x="505" y="6337"/>
                    <a:pt x="506" y="6318"/>
                    <a:pt x="507" y="6300"/>
                  </a:cubicBezTo>
                  <a:cubicBezTo>
                    <a:pt x="512" y="6147"/>
                    <a:pt x="539" y="5981"/>
                    <a:pt x="586" y="5804"/>
                  </a:cubicBezTo>
                  <a:cubicBezTo>
                    <a:pt x="592" y="5781"/>
                    <a:pt x="599" y="5758"/>
                    <a:pt x="605" y="5735"/>
                  </a:cubicBezTo>
                  <a:cubicBezTo>
                    <a:pt x="612" y="5712"/>
                    <a:pt x="619" y="5688"/>
                    <a:pt x="626" y="5665"/>
                  </a:cubicBezTo>
                  <a:cubicBezTo>
                    <a:pt x="703" y="5418"/>
                    <a:pt x="817" y="5153"/>
                    <a:pt x="962" y="4876"/>
                  </a:cubicBezTo>
                  <a:cubicBezTo>
                    <a:pt x="979" y="4845"/>
                    <a:pt x="996" y="4813"/>
                    <a:pt x="1013" y="4781"/>
                  </a:cubicBezTo>
                  <a:cubicBezTo>
                    <a:pt x="1031" y="4748"/>
                    <a:pt x="1050" y="4715"/>
                    <a:pt x="1069" y="4682"/>
                  </a:cubicBezTo>
                  <a:cubicBezTo>
                    <a:pt x="1441" y="4031"/>
                    <a:pt x="1982" y="3328"/>
                    <a:pt x="2654" y="2654"/>
                  </a:cubicBezTo>
                  <a:cubicBezTo>
                    <a:pt x="3328" y="1982"/>
                    <a:pt x="4031" y="1441"/>
                    <a:pt x="4682" y="10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0" name="Freeform 12">
              <a:extLst>
                <a:ext uri="{FF2B5EF4-FFF2-40B4-BE49-F238E27FC236}">
                  <a16:creationId xmlns:a16="http://schemas.microsoft.com/office/drawing/2014/main" id="{6967A9C6-FB4D-4270-BB09-0FBE5B7A6E5E}"/>
                </a:ext>
              </a:extLst>
            </p:cNvPr>
            <p:cNvSpPr>
              <a:spLocks/>
            </p:cNvSpPr>
            <p:nvPr/>
          </p:nvSpPr>
          <p:spPr bwMode="auto">
            <a:xfrm>
              <a:off x="5525067" y="2309661"/>
              <a:ext cx="3917703" cy="3936801"/>
            </a:xfrm>
            <a:custGeom>
              <a:avLst/>
              <a:gdLst>
                <a:gd name="T0" fmla="*/ 3424 w 5896"/>
                <a:gd name="T1" fmla="*/ 1876 h 5920"/>
                <a:gd name="T2" fmla="*/ 3633 w 5896"/>
                <a:gd name="T3" fmla="*/ 1712 h 5920"/>
                <a:gd name="T4" fmla="*/ 3808 w 5896"/>
                <a:gd name="T5" fmla="*/ 1582 h 5920"/>
                <a:gd name="T6" fmla="*/ 4916 w 5896"/>
                <a:gd name="T7" fmla="*/ 937 h 5920"/>
                <a:gd name="T8" fmla="*/ 5004 w 5896"/>
                <a:gd name="T9" fmla="*/ 901 h 5920"/>
                <a:gd name="T10" fmla="*/ 5086 w 5896"/>
                <a:gd name="T11" fmla="*/ 873 h 5920"/>
                <a:gd name="T12" fmla="*/ 5614 w 5896"/>
                <a:gd name="T13" fmla="*/ 767 h 5920"/>
                <a:gd name="T14" fmla="*/ 5621 w 5896"/>
                <a:gd name="T15" fmla="*/ 767 h 5920"/>
                <a:gd name="T16" fmla="*/ 5682 w 5896"/>
                <a:gd name="T17" fmla="*/ 770 h 5920"/>
                <a:gd name="T18" fmla="*/ 5742 w 5896"/>
                <a:gd name="T19" fmla="*/ 777 h 5920"/>
                <a:gd name="T20" fmla="*/ 5896 w 5896"/>
                <a:gd name="T21" fmla="*/ 821 h 5920"/>
                <a:gd name="T22" fmla="*/ 5826 w 5896"/>
                <a:gd name="T23" fmla="*/ 476 h 5920"/>
                <a:gd name="T24" fmla="*/ 5792 w 5896"/>
                <a:gd name="T25" fmla="*/ 349 h 5920"/>
                <a:gd name="T26" fmla="*/ 5752 w 5896"/>
                <a:gd name="T27" fmla="*/ 214 h 5920"/>
                <a:gd name="T28" fmla="*/ 5714 w 5896"/>
                <a:gd name="T29" fmla="*/ 97 h 5920"/>
                <a:gd name="T30" fmla="*/ 5444 w 5896"/>
                <a:gd name="T31" fmla="*/ 9 h 5920"/>
                <a:gd name="T32" fmla="*/ 5385 w 5896"/>
                <a:gd name="T33" fmla="*/ 3 h 5920"/>
                <a:gd name="T34" fmla="*/ 5324 w 5896"/>
                <a:gd name="T35" fmla="*/ 1 h 5920"/>
                <a:gd name="T36" fmla="*/ 5312 w 5896"/>
                <a:gd name="T37" fmla="*/ 0 h 5920"/>
                <a:gd name="T38" fmla="*/ 5307 w 5896"/>
                <a:gd name="T39" fmla="*/ 0 h 5920"/>
                <a:gd name="T40" fmla="*/ 4713 w 5896"/>
                <a:gd name="T41" fmla="*/ 112 h 5920"/>
                <a:gd name="T42" fmla="*/ 4636 w 5896"/>
                <a:gd name="T43" fmla="*/ 137 h 5920"/>
                <a:gd name="T44" fmla="*/ 4555 w 5896"/>
                <a:gd name="T45" fmla="*/ 168 h 5920"/>
                <a:gd name="T46" fmla="*/ 3688 w 5896"/>
                <a:gd name="T47" fmla="*/ 607 h 5920"/>
                <a:gd name="T48" fmla="*/ 3564 w 5896"/>
                <a:gd name="T49" fmla="*/ 684 h 5920"/>
                <a:gd name="T50" fmla="*/ 3430 w 5896"/>
                <a:gd name="T51" fmla="*/ 773 h 5920"/>
                <a:gd name="T52" fmla="*/ 1980 w 5896"/>
                <a:gd name="T53" fmla="*/ 1980 h 5920"/>
                <a:gd name="T54" fmla="*/ 774 w 5896"/>
                <a:gd name="T55" fmla="*/ 3429 h 5920"/>
                <a:gd name="T56" fmla="*/ 685 w 5896"/>
                <a:gd name="T57" fmla="*/ 3563 h 5920"/>
                <a:gd name="T58" fmla="*/ 607 w 5896"/>
                <a:gd name="T59" fmla="*/ 3688 h 5920"/>
                <a:gd name="T60" fmla="*/ 169 w 5896"/>
                <a:gd name="T61" fmla="*/ 4554 h 5920"/>
                <a:gd name="T62" fmla="*/ 137 w 5896"/>
                <a:gd name="T63" fmla="*/ 4635 h 5920"/>
                <a:gd name="T64" fmla="*/ 113 w 5896"/>
                <a:gd name="T65" fmla="*/ 4712 h 5920"/>
                <a:gd name="T66" fmla="*/ 1 w 5896"/>
                <a:gd name="T67" fmla="*/ 5311 h 5920"/>
                <a:gd name="T68" fmla="*/ 2 w 5896"/>
                <a:gd name="T69" fmla="*/ 5323 h 5920"/>
                <a:gd name="T70" fmla="*/ 4 w 5896"/>
                <a:gd name="T71" fmla="*/ 5384 h 5920"/>
                <a:gd name="T72" fmla="*/ 10 w 5896"/>
                <a:gd name="T73" fmla="*/ 5443 h 5920"/>
                <a:gd name="T74" fmla="*/ 121 w 5896"/>
                <a:gd name="T75" fmla="*/ 5747 h 5920"/>
                <a:gd name="T76" fmla="*/ 150 w 5896"/>
                <a:gd name="T77" fmla="*/ 5756 h 5920"/>
                <a:gd name="T78" fmla="*/ 291 w 5896"/>
                <a:gd name="T79" fmla="*/ 5800 h 5920"/>
                <a:gd name="T80" fmla="*/ 425 w 5896"/>
                <a:gd name="T81" fmla="*/ 5836 h 5920"/>
                <a:gd name="T82" fmla="*/ 835 w 5896"/>
                <a:gd name="T83" fmla="*/ 5920 h 5920"/>
                <a:gd name="T84" fmla="*/ 778 w 5896"/>
                <a:gd name="T85" fmla="*/ 5741 h 5920"/>
                <a:gd name="T86" fmla="*/ 771 w 5896"/>
                <a:gd name="T87" fmla="*/ 5681 h 5920"/>
                <a:gd name="T88" fmla="*/ 769 w 5896"/>
                <a:gd name="T89" fmla="*/ 5620 h 5920"/>
                <a:gd name="T90" fmla="*/ 768 w 5896"/>
                <a:gd name="T91" fmla="*/ 5612 h 5920"/>
                <a:gd name="T92" fmla="*/ 874 w 5896"/>
                <a:gd name="T93" fmla="*/ 5084 h 5920"/>
                <a:gd name="T94" fmla="*/ 903 w 5896"/>
                <a:gd name="T95" fmla="*/ 5002 h 5920"/>
                <a:gd name="T96" fmla="*/ 938 w 5896"/>
                <a:gd name="T97" fmla="*/ 4915 h 5920"/>
                <a:gd name="T98" fmla="*/ 1583 w 5896"/>
                <a:gd name="T99" fmla="*/ 3807 h 5920"/>
                <a:gd name="T100" fmla="*/ 1713 w 5896"/>
                <a:gd name="T101" fmla="*/ 3632 h 5920"/>
                <a:gd name="T102" fmla="*/ 1877 w 5896"/>
                <a:gd name="T103" fmla="*/ 3424 h 5920"/>
                <a:gd name="T104" fmla="*/ 2610 w 5896"/>
                <a:gd name="T105" fmla="*/ 2610 h 5920"/>
                <a:gd name="T106" fmla="*/ 3424 w 5896"/>
                <a:gd name="T107" fmla="*/ 1876 h 5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96" h="5920">
                  <a:moveTo>
                    <a:pt x="3424" y="1876"/>
                  </a:moveTo>
                  <a:cubicBezTo>
                    <a:pt x="3494" y="1819"/>
                    <a:pt x="3564" y="1765"/>
                    <a:pt x="3633" y="1712"/>
                  </a:cubicBezTo>
                  <a:cubicBezTo>
                    <a:pt x="3692" y="1667"/>
                    <a:pt x="3750" y="1624"/>
                    <a:pt x="3808" y="1582"/>
                  </a:cubicBezTo>
                  <a:cubicBezTo>
                    <a:pt x="4204" y="1295"/>
                    <a:pt x="4581" y="1076"/>
                    <a:pt x="4916" y="937"/>
                  </a:cubicBezTo>
                  <a:cubicBezTo>
                    <a:pt x="4945" y="925"/>
                    <a:pt x="4975" y="912"/>
                    <a:pt x="5004" y="901"/>
                  </a:cubicBezTo>
                  <a:cubicBezTo>
                    <a:pt x="5032" y="891"/>
                    <a:pt x="5058" y="882"/>
                    <a:pt x="5086" y="873"/>
                  </a:cubicBezTo>
                  <a:cubicBezTo>
                    <a:pt x="5281" y="806"/>
                    <a:pt x="5460" y="768"/>
                    <a:pt x="5614" y="767"/>
                  </a:cubicBezTo>
                  <a:cubicBezTo>
                    <a:pt x="5616" y="767"/>
                    <a:pt x="5618" y="767"/>
                    <a:pt x="5621" y="767"/>
                  </a:cubicBezTo>
                  <a:cubicBezTo>
                    <a:pt x="5642" y="768"/>
                    <a:pt x="5662" y="768"/>
                    <a:pt x="5682" y="770"/>
                  </a:cubicBezTo>
                  <a:cubicBezTo>
                    <a:pt x="5702" y="771"/>
                    <a:pt x="5722" y="774"/>
                    <a:pt x="5742" y="777"/>
                  </a:cubicBezTo>
                  <a:cubicBezTo>
                    <a:pt x="5797" y="785"/>
                    <a:pt x="5849" y="800"/>
                    <a:pt x="5896" y="821"/>
                  </a:cubicBezTo>
                  <a:cubicBezTo>
                    <a:pt x="5877" y="705"/>
                    <a:pt x="5854" y="590"/>
                    <a:pt x="5826" y="476"/>
                  </a:cubicBezTo>
                  <a:cubicBezTo>
                    <a:pt x="5816" y="433"/>
                    <a:pt x="5804" y="391"/>
                    <a:pt x="5792" y="349"/>
                  </a:cubicBezTo>
                  <a:cubicBezTo>
                    <a:pt x="5779" y="304"/>
                    <a:pt x="5766" y="259"/>
                    <a:pt x="5752" y="214"/>
                  </a:cubicBezTo>
                  <a:cubicBezTo>
                    <a:pt x="5740" y="175"/>
                    <a:pt x="5728" y="136"/>
                    <a:pt x="5714" y="97"/>
                  </a:cubicBezTo>
                  <a:cubicBezTo>
                    <a:pt x="5639" y="51"/>
                    <a:pt x="5549" y="22"/>
                    <a:pt x="5444" y="9"/>
                  </a:cubicBezTo>
                  <a:cubicBezTo>
                    <a:pt x="5425" y="6"/>
                    <a:pt x="5405" y="4"/>
                    <a:pt x="5385" y="3"/>
                  </a:cubicBezTo>
                  <a:cubicBezTo>
                    <a:pt x="5365" y="1"/>
                    <a:pt x="5345" y="1"/>
                    <a:pt x="5324" y="1"/>
                  </a:cubicBezTo>
                  <a:cubicBezTo>
                    <a:pt x="5320" y="1"/>
                    <a:pt x="5316" y="0"/>
                    <a:pt x="5312" y="0"/>
                  </a:cubicBezTo>
                  <a:cubicBezTo>
                    <a:pt x="5311" y="0"/>
                    <a:pt x="5309" y="0"/>
                    <a:pt x="5307" y="0"/>
                  </a:cubicBezTo>
                  <a:cubicBezTo>
                    <a:pt x="5135" y="0"/>
                    <a:pt x="4934" y="40"/>
                    <a:pt x="4713" y="112"/>
                  </a:cubicBezTo>
                  <a:cubicBezTo>
                    <a:pt x="4687" y="120"/>
                    <a:pt x="4662" y="127"/>
                    <a:pt x="4636" y="137"/>
                  </a:cubicBezTo>
                  <a:cubicBezTo>
                    <a:pt x="4610" y="146"/>
                    <a:pt x="4582" y="158"/>
                    <a:pt x="4555" y="168"/>
                  </a:cubicBezTo>
                  <a:cubicBezTo>
                    <a:pt x="4287" y="270"/>
                    <a:pt x="3995" y="418"/>
                    <a:pt x="3688" y="607"/>
                  </a:cubicBezTo>
                  <a:cubicBezTo>
                    <a:pt x="3647" y="632"/>
                    <a:pt x="3606" y="657"/>
                    <a:pt x="3564" y="684"/>
                  </a:cubicBezTo>
                  <a:cubicBezTo>
                    <a:pt x="3520" y="713"/>
                    <a:pt x="3475" y="743"/>
                    <a:pt x="3430" y="773"/>
                  </a:cubicBezTo>
                  <a:cubicBezTo>
                    <a:pt x="2956" y="1092"/>
                    <a:pt x="2460" y="1499"/>
                    <a:pt x="1980" y="1980"/>
                  </a:cubicBezTo>
                  <a:cubicBezTo>
                    <a:pt x="1500" y="2459"/>
                    <a:pt x="1093" y="2956"/>
                    <a:pt x="774" y="3429"/>
                  </a:cubicBezTo>
                  <a:cubicBezTo>
                    <a:pt x="744" y="3474"/>
                    <a:pt x="714" y="3519"/>
                    <a:pt x="685" y="3563"/>
                  </a:cubicBezTo>
                  <a:cubicBezTo>
                    <a:pt x="658" y="3605"/>
                    <a:pt x="633" y="3646"/>
                    <a:pt x="607" y="3688"/>
                  </a:cubicBezTo>
                  <a:cubicBezTo>
                    <a:pt x="419" y="3994"/>
                    <a:pt x="271" y="4287"/>
                    <a:pt x="169" y="4554"/>
                  </a:cubicBezTo>
                  <a:cubicBezTo>
                    <a:pt x="158" y="4581"/>
                    <a:pt x="147" y="4609"/>
                    <a:pt x="137" y="4635"/>
                  </a:cubicBezTo>
                  <a:cubicBezTo>
                    <a:pt x="128" y="4661"/>
                    <a:pt x="121" y="4686"/>
                    <a:pt x="113" y="4712"/>
                  </a:cubicBezTo>
                  <a:cubicBezTo>
                    <a:pt x="40" y="4935"/>
                    <a:pt x="0" y="5138"/>
                    <a:pt x="1" y="5311"/>
                  </a:cubicBezTo>
                  <a:cubicBezTo>
                    <a:pt x="1" y="5315"/>
                    <a:pt x="1" y="5319"/>
                    <a:pt x="2" y="5323"/>
                  </a:cubicBezTo>
                  <a:cubicBezTo>
                    <a:pt x="2" y="5344"/>
                    <a:pt x="2" y="5364"/>
                    <a:pt x="4" y="5384"/>
                  </a:cubicBezTo>
                  <a:cubicBezTo>
                    <a:pt x="5" y="5404"/>
                    <a:pt x="7" y="5424"/>
                    <a:pt x="10" y="5443"/>
                  </a:cubicBezTo>
                  <a:cubicBezTo>
                    <a:pt x="25" y="5564"/>
                    <a:pt x="62" y="5665"/>
                    <a:pt x="121" y="5747"/>
                  </a:cubicBezTo>
                  <a:cubicBezTo>
                    <a:pt x="131" y="5750"/>
                    <a:pt x="140" y="5753"/>
                    <a:pt x="150" y="5756"/>
                  </a:cubicBezTo>
                  <a:cubicBezTo>
                    <a:pt x="197" y="5771"/>
                    <a:pt x="244" y="5786"/>
                    <a:pt x="291" y="5800"/>
                  </a:cubicBezTo>
                  <a:cubicBezTo>
                    <a:pt x="336" y="5813"/>
                    <a:pt x="380" y="5825"/>
                    <a:pt x="425" y="5836"/>
                  </a:cubicBezTo>
                  <a:cubicBezTo>
                    <a:pt x="560" y="5870"/>
                    <a:pt x="697" y="5898"/>
                    <a:pt x="835" y="5920"/>
                  </a:cubicBezTo>
                  <a:cubicBezTo>
                    <a:pt x="807" y="5866"/>
                    <a:pt x="788" y="5806"/>
                    <a:pt x="778" y="5741"/>
                  </a:cubicBezTo>
                  <a:cubicBezTo>
                    <a:pt x="775" y="5721"/>
                    <a:pt x="773" y="5701"/>
                    <a:pt x="771" y="5681"/>
                  </a:cubicBezTo>
                  <a:cubicBezTo>
                    <a:pt x="769" y="5661"/>
                    <a:pt x="769" y="5641"/>
                    <a:pt x="769" y="5620"/>
                  </a:cubicBezTo>
                  <a:cubicBezTo>
                    <a:pt x="769" y="5617"/>
                    <a:pt x="768" y="5615"/>
                    <a:pt x="768" y="5612"/>
                  </a:cubicBezTo>
                  <a:cubicBezTo>
                    <a:pt x="769" y="5459"/>
                    <a:pt x="807" y="5280"/>
                    <a:pt x="874" y="5084"/>
                  </a:cubicBezTo>
                  <a:cubicBezTo>
                    <a:pt x="884" y="5057"/>
                    <a:pt x="892" y="5030"/>
                    <a:pt x="903" y="5002"/>
                  </a:cubicBezTo>
                  <a:cubicBezTo>
                    <a:pt x="913" y="4974"/>
                    <a:pt x="926" y="4944"/>
                    <a:pt x="938" y="4915"/>
                  </a:cubicBezTo>
                  <a:cubicBezTo>
                    <a:pt x="1077" y="4580"/>
                    <a:pt x="1296" y="4203"/>
                    <a:pt x="1583" y="3807"/>
                  </a:cubicBezTo>
                  <a:cubicBezTo>
                    <a:pt x="1625" y="3749"/>
                    <a:pt x="1668" y="3691"/>
                    <a:pt x="1713" y="3632"/>
                  </a:cubicBezTo>
                  <a:cubicBezTo>
                    <a:pt x="1765" y="3563"/>
                    <a:pt x="1820" y="3493"/>
                    <a:pt x="1877" y="3424"/>
                  </a:cubicBezTo>
                  <a:cubicBezTo>
                    <a:pt x="2095" y="3154"/>
                    <a:pt x="2341" y="2880"/>
                    <a:pt x="2610" y="2610"/>
                  </a:cubicBezTo>
                  <a:cubicBezTo>
                    <a:pt x="2881" y="2340"/>
                    <a:pt x="3155" y="2095"/>
                    <a:pt x="3424" y="187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1" name="Freeform 13">
              <a:extLst>
                <a:ext uri="{FF2B5EF4-FFF2-40B4-BE49-F238E27FC236}">
                  <a16:creationId xmlns:a16="http://schemas.microsoft.com/office/drawing/2014/main" id="{85D81FB3-8A4F-49F2-A164-8A0BF5C67920}"/>
                </a:ext>
              </a:extLst>
            </p:cNvPr>
            <p:cNvSpPr>
              <a:spLocks/>
            </p:cNvSpPr>
            <p:nvPr/>
          </p:nvSpPr>
          <p:spPr bwMode="auto">
            <a:xfrm>
              <a:off x="6849611" y="3634205"/>
              <a:ext cx="2613621" cy="2625898"/>
            </a:xfrm>
            <a:custGeom>
              <a:avLst/>
              <a:gdLst>
                <a:gd name="T0" fmla="*/ 3902 w 3934"/>
                <a:gd name="T1" fmla="*/ 32 h 3950"/>
                <a:gd name="T2" fmla="*/ 3727 w 3934"/>
                <a:gd name="T3" fmla="*/ 0 h 3950"/>
                <a:gd name="T4" fmla="*/ 3687 w 3934"/>
                <a:gd name="T5" fmla="*/ 3 h 3950"/>
                <a:gd name="T6" fmla="*/ 3616 w 3934"/>
                <a:gd name="T7" fmla="*/ 8 h 3950"/>
                <a:gd name="T8" fmla="*/ 3541 w 3934"/>
                <a:gd name="T9" fmla="*/ 21 h 3950"/>
                <a:gd name="T10" fmla="*/ 3005 w 3934"/>
                <a:gd name="T11" fmla="*/ 222 h 3950"/>
                <a:gd name="T12" fmla="*/ 2891 w 3934"/>
                <a:gd name="T13" fmla="*/ 283 h 3950"/>
                <a:gd name="T14" fmla="*/ 2768 w 3934"/>
                <a:gd name="T15" fmla="*/ 353 h 3950"/>
                <a:gd name="T16" fmla="*/ 1424 w 3934"/>
                <a:gd name="T17" fmla="*/ 1424 h 3950"/>
                <a:gd name="T18" fmla="*/ 353 w 3934"/>
                <a:gd name="T19" fmla="*/ 2768 h 3950"/>
                <a:gd name="T20" fmla="*/ 283 w 3934"/>
                <a:gd name="T21" fmla="*/ 2891 h 3950"/>
                <a:gd name="T22" fmla="*/ 222 w 3934"/>
                <a:gd name="T23" fmla="*/ 3005 h 3950"/>
                <a:gd name="T24" fmla="*/ 22 w 3934"/>
                <a:gd name="T25" fmla="*/ 3540 h 3950"/>
                <a:gd name="T26" fmla="*/ 8 w 3934"/>
                <a:gd name="T27" fmla="*/ 3616 h 3950"/>
                <a:gd name="T28" fmla="*/ 3 w 3934"/>
                <a:gd name="T29" fmla="*/ 3686 h 3950"/>
                <a:gd name="T30" fmla="*/ 1 w 3934"/>
                <a:gd name="T31" fmla="*/ 3727 h 3950"/>
                <a:gd name="T32" fmla="*/ 32 w 3934"/>
                <a:gd name="T33" fmla="*/ 3902 h 3950"/>
                <a:gd name="T34" fmla="*/ 56 w 3934"/>
                <a:gd name="T35" fmla="*/ 3950 h 3950"/>
                <a:gd name="T36" fmla="*/ 79 w 3934"/>
                <a:gd name="T37" fmla="*/ 3947 h 3950"/>
                <a:gd name="T38" fmla="*/ 282 w 3934"/>
                <a:gd name="T39" fmla="*/ 3917 h 3950"/>
                <a:gd name="T40" fmla="*/ 1127 w 3934"/>
                <a:gd name="T41" fmla="*/ 3685 h 3950"/>
                <a:gd name="T42" fmla="*/ 1020 w 3934"/>
                <a:gd name="T43" fmla="*/ 3624 h 3950"/>
                <a:gd name="T44" fmla="*/ 959 w 3934"/>
                <a:gd name="T45" fmla="*/ 3517 h 3950"/>
                <a:gd name="T46" fmla="*/ 946 w 3934"/>
                <a:gd name="T47" fmla="*/ 3454 h 3950"/>
                <a:gd name="T48" fmla="*/ 943 w 3934"/>
                <a:gd name="T49" fmla="*/ 3410 h 3950"/>
                <a:gd name="T50" fmla="*/ 945 w 3934"/>
                <a:gd name="T51" fmla="*/ 3382 h 3950"/>
                <a:gd name="T52" fmla="*/ 1060 w 3934"/>
                <a:gd name="T53" fmla="*/ 2995 h 3950"/>
                <a:gd name="T54" fmla="*/ 1123 w 3934"/>
                <a:gd name="T55" fmla="*/ 2873 h 3950"/>
                <a:gd name="T56" fmla="*/ 1207 w 3934"/>
                <a:gd name="T57" fmla="*/ 2729 h 3950"/>
                <a:gd name="T58" fmla="*/ 1890 w 3934"/>
                <a:gd name="T59" fmla="*/ 1890 h 3950"/>
                <a:gd name="T60" fmla="*/ 2729 w 3934"/>
                <a:gd name="T61" fmla="*/ 1207 h 3950"/>
                <a:gd name="T62" fmla="*/ 2873 w 3934"/>
                <a:gd name="T63" fmla="*/ 1123 h 3950"/>
                <a:gd name="T64" fmla="*/ 2994 w 3934"/>
                <a:gd name="T65" fmla="*/ 1061 h 3950"/>
                <a:gd name="T66" fmla="*/ 3382 w 3934"/>
                <a:gd name="T67" fmla="*/ 946 h 3950"/>
                <a:gd name="T68" fmla="*/ 3410 w 3934"/>
                <a:gd name="T69" fmla="*/ 943 h 3950"/>
                <a:gd name="T70" fmla="*/ 3454 w 3934"/>
                <a:gd name="T71" fmla="*/ 947 h 3950"/>
                <a:gd name="T72" fmla="*/ 3517 w 3934"/>
                <a:gd name="T73" fmla="*/ 959 h 3950"/>
                <a:gd name="T74" fmla="*/ 3624 w 3934"/>
                <a:gd name="T75" fmla="*/ 1020 h 3950"/>
                <a:gd name="T76" fmla="*/ 3679 w 3934"/>
                <a:gd name="T77" fmla="*/ 1109 h 3950"/>
                <a:gd name="T78" fmla="*/ 3893 w 3934"/>
                <a:gd name="T79" fmla="*/ 331 h 3950"/>
                <a:gd name="T80" fmla="*/ 3924 w 3934"/>
                <a:gd name="T81" fmla="*/ 131 h 3950"/>
                <a:gd name="T82" fmla="*/ 3934 w 3934"/>
                <a:gd name="T83" fmla="*/ 47 h 3950"/>
                <a:gd name="T84" fmla="*/ 3902 w 3934"/>
                <a:gd name="T85" fmla="*/ 32 h 3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34" h="3950">
                  <a:moveTo>
                    <a:pt x="3902" y="32"/>
                  </a:moveTo>
                  <a:cubicBezTo>
                    <a:pt x="3854" y="12"/>
                    <a:pt x="3797" y="1"/>
                    <a:pt x="3727" y="0"/>
                  </a:cubicBezTo>
                  <a:cubicBezTo>
                    <a:pt x="3714" y="0"/>
                    <a:pt x="3700" y="2"/>
                    <a:pt x="3687" y="3"/>
                  </a:cubicBezTo>
                  <a:cubicBezTo>
                    <a:pt x="3664" y="4"/>
                    <a:pt x="3641" y="5"/>
                    <a:pt x="3616" y="8"/>
                  </a:cubicBezTo>
                  <a:cubicBezTo>
                    <a:pt x="3592" y="12"/>
                    <a:pt x="3567" y="16"/>
                    <a:pt x="3541" y="21"/>
                  </a:cubicBezTo>
                  <a:cubicBezTo>
                    <a:pt x="3386" y="53"/>
                    <a:pt x="3204" y="121"/>
                    <a:pt x="3005" y="222"/>
                  </a:cubicBezTo>
                  <a:cubicBezTo>
                    <a:pt x="2967" y="241"/>
                    <a:pt x="2929" y="262"/>
                    <a:pt x="2891" y="283"/>
                  </a:cubicBezTo>
                  <a:cubicBezTo>
                    <a:pt x="2851" y="305"/>
                    <a:pt x="2810" y="329"/>
                    <a:pt x="2768" y="353"/>
                  </a:cubicBezTo>
                  <a:cubicBezTo>
                    <a:pt x="2350" y="601"/>
                    <a:pt x="1878" y="968"/>
                    <a:pt x="1424" y="1424"/>
                  </a:cubicBezTo>
                  <a:cubicBezTo>
                    <a:pt x="967" y="1878"/>
                    <a:pt x="601" y="2350"/>
                    <a:pt x="353" y="2768"/>
                  </a:cubicBezTo>
                  <a:cubicBezTo>
                    <a:pt x="329" y="2810"/>
                    <a:pt x="305" y="2851"/>
                    <a:pt x="283" y="2891"/>
                  </a:cubicBezTo>
                  <a:cubicBezTo>
                    <a:pt x="261" y="2930"/>
                    <a:pt x="241" y="2968"/>
                    <a:pt x="222" y="3005"/>
                  </a:cubicBezTo>
                  <a:cubicBezTo>
                    <a:pt x="121" y="3204"/>
                    <a:pt x="53" y="3386"/>
                    <a:pt x="22" y="3540"/>
                  </a:cubicBezTo>
                  <a:cubicBezTo>
                    <a:pt x="16" y="3566"/>
                    <a:pt x="12" y="3592"/>
                    <a:pt x="8" y="3616"/>
                  </a:cubicBezTo>
                  <a:cubicBezTo>
                    <a:pt x="5" y="3641"/>
                    <a:pt x="4" y="3664"/>
                    <a:pt x="3" y="3686"/>
                  </a:cubicBezTo>
                  <a:cubicBezTo>
                    <a:pt x="2" y="3700"/>
                    <a:pt x="0" y="3714"/>
                    <a:pt x="1" y="3727"/>
                  </a:cubicBezTo>
                  <a:cubicBezTo>
                    <a:pt x="1" y="3797"/>
                    <a:pt x="12" y="3854"/>
                    <a:pt x="32" y="3902"/>
                  </a:cubicBezTo>
                  <a:cubicBezTo>
                    <a:pt x="39" y="3919"/>
                    <a:pt x="47" y="3935"/>
                    <a:pt x="56" y="3950"/>
                  </a:cubicBezTo>
                  <a:cubicBezTo>
                    <a:pt x="64" y="3949"/>
                    <a:pt x="71" y="3948"/>
                    <a:pt x="79" y="3947"/>
                  </a:cubicBezTo>
                  <a:cubicBezTo>
                    <a:pt x="147" y="3939"/>
                    <a:pt x="214" y="3929"/>
                    <a:pt x="282" y="3917"/>
                  </a:cubicBezTo>
                  <a:cubicBezTo>
                    <a:pt x="569" y="3868"/>
                    <a:pt x="852" y="3791"/>
                    <a:pt x="1127" y="3685"/>
                  </a:cubicBezTo>
                  <a:cubicBezTo>
                    <a:pt x="1087" y="3673"/>
                    <a:pt x="1050" y="3653"/>
                    <a:pt x="1020" y="3624"/>
                  </a:cubicBezTo>
                  <a:cubicBezTo>
                    <a:pt x="990" y="3594"/>
                    <a:pt x="971" y="3557"/>
                    <a:pt x="959" y="3517"/>
                  </a:cubicBezTo>
                  <a:cubicBezTo>
                    <a:pt x="953" y="3497"/>
                    <a:pt x="949" y="3476"/>
                    <a:pt x="946" y="3454"/>
                  </a:cubicBezTo>
                  <a:cubicBezTo>
                    <a:pt x="945" y="3440"/>
                    <a:pt x="943" y="3425"/>
                    <a:pt x="943" y="3410"/>
                  </a:cubicBezTo>
                  <a:cubicBezTo>
                    <a:pt x="944" y="3401"/>
                    <a:pt x="945" y="3392"/>
                    <a:pt x="945" y="3382"/>
                  </a:cubicBezTo>
                  <a:cubicBezTo>
                    <a:pt x="952" y="3271"/>
                    <a:pt x="992" y="3140"/>
                    <a:pt x="1060" y="2995"/>
                  </a:cubicBezTo>
                  <a:cubicBezTo>
                    <a:pt x="1079" y="2955"/>
                    <a:pt x="1100" y="2914"/>
                    <a:pt x="1123" y="2873"/>
                  </a:cubicBezTo>
                  <a:cubicBezTo>
                    <a:pt x="1148" y="2826"/>
                    <a:pt x="1176" y="2778"/>
                    <a:pt x="1207" y="2729"/>
                  </a:cubicBezTo>
                  <a:cubicBezTo>
                    <a:pt x="1371" y="2466"/>
                    <a:pt x="1606" y="2176"/>
                    <a:pt x="1890" y="1890"/>
                  </a:cubicBezTo>
                  <a:cubicBezTo>
                    <a:pt x="2176" y="1606"/>
                    <a:pt x="2466" y="1372"/>
                    <a:pt x="2729" y="1207"/>
                  </a:cubicBezTo>
                  <a:cubicBezTo>
                    <a:pt x="2778" y="1176"/>
                    <a:pt x="2825" y="1149"/>
                    <a:pt x="2873" y="1123"/>
                  </a:cubicBezTo>
                  <a:cubicBezTo>
                    <a:pt x="2914" y="1100"/>
                    <a:pt x="2955" y="1079"/>
                    <a:pt x="2994" y="1061"/>
                  </a:cubicBezTo>
                  <a:cubicBezTo>
                    <a:pt x="3140" y="992"/>
                    <a:pt x="3271" y="953"/>
                    <a:pt x="3382" y="946"/>
                  </a:cubicBezTo>
                  <a:cubicBezTo>
                    <a:pt x="3392" y="945"/>
                    <a:pt x="3401" y="944"/>
                    <a:pt x="3410" y="943"/>
                  </a:cubicBezTo>
                  <a:cubicBezTo>
                    <a:pt x="3425" y="943"/>
                    <a:pt x="3440" y="945"/>
                    <a:pt x="3454" y="947"/>
                  </a:cubicBezTo>
                  <a:cubicBezTo>
                    <a:pt x="3476" y="949"/>
                    <a:pt x="3497" y="953"/>
                    <a:pt x="3517" y="959"/>
                  </a:cubicBezTo>
                  <a:cubicBezTo>
                    <a:pt x="3557" y="971"/>
                    <a:pt x="3594" y="990"/>
                    <a:pt x="3624" y="1020"/>
                  </a:cubicBezTo>
                  <a:cubicBezTo>
                    <a:pt x="3649" y="1045"/>
                    <a:pt x="3667" y="1076"/>
                    <a:pt x="3679" y="1109"/>
                  </a:cubicBezTo>
                  <a:cubicBezTo>
                    <a:pt x="3774" y="856"/>
                    <a:pt x="3846" y="595"/>
                    <a:pt x="3893" y="331"/>
                  </a:cubicBezTo>
                  <a:cubicBezTo>
                    <a:pt x="3905" y="265"/>
                    <a:pt x="3915" y="198"/>
                    <a:pt x="3924" y="131"/>
                  </a:cubicBezTo>
                  <a:cubicBezTo>
                    <a:pt x="3928" y="103"/>
                    <a:pt x="3931" y="75"/>
                    <a:pt x="3934" y="47"/>
                  </a:cubicBezTo>
                  <a:cubicBezTo>
                    <a:pt x="3924" y="41"/>
                    <a:pt x="3913" y="37"/>
                    <a:pt x="3902" y="3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sp>
        <p:nvSpPr>
          <p:cNvPr id="8" name="Platshållare för bild 7"/>
          <p:cNvSpPr>
            <a:spLocks noGrp="1"/>
          </p:cNvSpPr>
          <p:nvPr>
            <p:ph type="pic" sz="quarter" idx="15" hasCustomPrompt="1"/>
          </p:nvPr>
        </p:nvSpPr>
        <p:spPr>
          <a:xfrm>
            <a:off x="4584700" y="952575"/>
            <a:ext cx="4156148" cy="3289235"/>
          </a:xfrm>
          <a:prstGeom prst="rect">
            <a:avLst/>
          </a:prstGeom>
        </p:spPr>
        <p:txBody>
          <a:bodyPr/>
          <a:lstStyle>
            <a:lvl1pPr marL="0" indent="0">
              <a:buNone/>
              <a:defRPr/>
            </a:lvl1pPr>
          </a:lstStyle>
          <a:p>
            <a:r>
              <a:rPr lang="sv-SE"/>
              <a:t> </a:t>
            </a:r>
          </a:p>
        </p:txBody>
      </p:sp>
      <p:sp>
        <p:nvSpPr>
          <p:cNvPr id="34" name="Rubrik 33"/>
          <p:cNvSpPr>
            <a:spLocks noGrp="1"/>
          </p:cNvSpPr>
          <p:nvPr>
            <p:ph type="title" hasCustomPrompt="1"/>
          </p:nvPr>
        </p:nvSpPr>
        <p:spPr>
          <a:xfrm>
            <a:off x="381000" y="231140"/>
            <a:ext cx="7401639" cy="2007664"/>
          </a:xfrm>
          <a:prstGeom prst="rect">
            <a:avLst/>
          </a:prstGeom>
        </p:spPr>
        <p:txBody>
          <a:bodyPr lIns="0" tIns="0" rIns="0" bIns="0" anchor="t" anchorCtr="0">
            <a:normAutofit/>
          </a:bodyPr>
          <a:lstStyle>
            <a:lvl1pPr algn="l">
              <a:defRPr sz="3600">
                <a:solidFill>
                  <a:schemeClr val="tx1"/>
                </a:solidFill>
                <a:latin typeface="Calibri"/>
                <a:cs typeface="Calibri"/>
              </a:defRPr>
            </a:lvl1pPr>
          </a:lstStyle>
          <a:p>
            <a:r>
              <a:rPr lang="en-GB"/>
              <a:t>Heading</a:t>
            </a:r>
            <a:endParaRPr lang="sv-SE"/>
          </a:p>
        </p:txBody>
      </p:sp>
      <p:sp>
        <p:nvSpPr>
          <p:cNvPr id="36" name="Platshållare för text 35"/>
          <p:cNvSpPr>
            <a:spLocks noGrp="1"/>
          </p:cNvSpPr>
          <p:nvPr>
            <p:ph type="body" sz="quarter" idx="13" hasCustomPrompt="1"/>
          </p:nvPr>
        </p:nvSpPr>
        <p:spPr>
          <a:xfrm>
            <a:off x="381000" y="2502477"/>
            <a:ext cx="4203700" cy="1206396"/>
          </a:xfrm>
          <a:prstGeom prst="rect">
            <a:avLst/>
          </a:prstGeom>
        </p:spPr>
        <p:txBody>
          <a:bodyPr lIns="0" tIns="0" rIns="0" bIns="0">
            <a:noAutofit/>
          </a:bodyPr>
          <a:lstStyle>
            <a:lvl1pPr marL="0" indent="0">
              <a:buNone/>
              <a:defRPr sz="2000">
                <a:solidFill>
                  <a:schemeClr val="tx1"/>
                </a:solidFill>
              </a:defRPr>
            </a:lvl1pPr>
            <a:lvl2pPr marL="0" indent="0">
              <a:buNone/>
              <a:defRPr sz="2000">
                <a:solidFill>
                  <a:srgbClr val="FFFFFF"/>
                </a:solidFill>
              </a:defRPr>
            </a:lvl2pPr>
            <a:lvl3pPr marL="0" indent="0">
              <a:buNone/>
              <a:defRPr sz="2000">
                <a:solidFill>
                  <a:srgbClr val="FFFFFF"/>
                </a:solidFill>
              </a:defRPr>
            </a:lvl3pPr>
            <a:lvl4pPr marL="0" indent="0">
              <a:buNone/>
              <a:defRPr sz="2000">
                <a:solidFill>
                  <a:srgbClr val="FFFFFF"/>
                </a:solidFill>
              </a:defRPr>
            </a:lvl4pPr>
            <a:lvl5pPr marL="0" indent="0">
              <a:buNone/>
              <a:defRPr sz="2000">
                <a:solidFill>
                  <a:srgbClr val="FFFFFF"/>
                </a:solidFill>
              </a:defRPr>
            </a:lvl5pPr>
          </a:lstStyle>
          <a:p>
            <a:pPr lvl="0"/>
            <a:r>
              <a:rPr lang="en-GB"/>
              <a:t>Text</a:t>
            </a:r>
          </a:p>
        </p:txBody>
      </p:sp>
      <p:pic>
        <p:nvPicPr>
          <p:cNvPr id="32" name="Bildobjekt 3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0201" y="4398480"/>
            <a:ext cx="1411510" cy="510907"/>
          </a:xfrm>
          <a:prstGeom prst="rect">
            <a:avLst/>
          </a:prstGeom>
        </p:spPr>
      </p:pic>
      <p:sp>
        <p:nvSpPr>
          <p:cNvPr id="38" name="Platshållare för sidfot 4">
            <a:extLst>
              <a:ext uri="{FF2B5EF4-FFF2-40B4-BE49-F238E27FC236}">
                <a16:creationId xmlns:a16="http://schemas.microsoft.com/office/drawing/2014/main" id="{4C61164A-5B55-46CA-B533-B7A7F626BED3}"/>
              </a:ext>
            </a:extLst>
          </p:cNvPr>
          <p:cNvSpPr>
            <a:spLocks noGrp="1"/>
          </p:cNvSpPr>
          <p:nvPr>
            <p:ph type="ftr" sz="quarter" idx="11"/>
          </p:nvPr>
        </p:nvSpPr>
        <p:spPr>
          <a:xfrm>
            <a:off x="5824413" y="4483997"/>
            <a:ext cx="2509889" cy="382813"/>
          </a:xfrm>
          <a:prstGeom prst="rect">
            <a:avLst/>
          </a:prstGeom>
        </p:spPr>
        <p:txBody>
          <a:bodyPr lIns="0" tIns="0" rIns="0" bIns="0" anchor="b" anchorCtr="0"/>
          <a:lstStyle>
            <a:lvl1pPr algn="r">
              <a:defRPr sz="900" b="0">
                <a:solidFill>
                  <a:schemeClr val="tx1"/>
                </a:solidFill>
              </a:defRPr>
            </a:lvl1pPr>
          </a:lstStyle>
          <a:p>
            <a:r>
              <a:rPr lang="en-US"/>
              <a:t>Stakeholder Forum Agenda - Classification: External</a:t>
            </a:r>
            <a:endParaRPr lang="sv-SE"/>
          </a:p>
        </p:txBody>
      </p:sp>
      <p:sp>
        <p:nvSpPr>
          <p:cNvPr id="39" name="Platshållare för datum 3">
            <a:extLst>
              <a:ext uri="{FF2B5EF4-FFF2-40B4-BE49-F238E27FC236}">
                <a16:creationId xmlns:a16="http://schemas.microsoft.com/office/drawing/2014/main" id="{F503E302-28CB-4D6E-9E56-9D2423C51EBC}"/>
              </a:ext>
            </a:extLst>
          </p:cNvPr>
          <p:cNvSpPr>
            <a:spLocks noGrp="1"/>
          </p:cNvSpPr>
          <p:nvPr>
            <p:ph type="dt" sz="half" idx="10"/>
          </p:nvPr>
        </p:nvSpPr>
        <p:spPr>
          <a:xfrm>
            <a:off x="4734099" y="4495861"/>
            <a:ext cx="1018558" cy="370949"/>
          </a:xfrm>
          <a:prstGeom prst="rect">
            <a:avLst/>
          </a:prstGeom>
        </p:spPr>
        <p:txBody>
          <a:bodyPr lIns="0" tIns="0" rIns="0" bIns="0" anchor="b" anchorCtr="0"/>
          <a:lstStyle>
            <a:lvl1pPr algn="l">
              <a:defRPr sz="900" b="0" i="0" cap="all">
                <a:solidFill>
                  <a:schemeClr val="tx1"/>
                </a:solidFill>
              </a:defRPr>
            </a:lvl1pPr>
          </a:lstStyle>
          <a:p>
            <a:r>
              <a:rPr lang="sv-SE"/>
              <a:t>26/03/2026</a:t>
            </a:r>
          </a:p>
        </p:txBody>
      </p:sp>
      <p:sp>
        <p:nvSpPr>
          <p:cNvPr id="40" name="Platshållare för bildnummer 5">
            <a:extLst>
              <a:ext uri="{FF2B5EF4-FFF2-40B4-BE49-F238E27FC236}">
                <a16:creationId xmlns:a16="http://schemas.microsoft.com/office/drawing/2014/main" id="{92146712-3C90-42BC-A4DB-CF686BEA695E}"/>
              </a:ext>
            </a:extLst>
          </p:cNvPr>
          <p:cNvSpPr>
            <a:spLocks noGrp="1"/>
          </p:cNvSpPr>
          <p:nvPr>
            <p:ph type="sldNum" sz="quarter" idx="12"/>
          </p:nvPr>
        </p:nvSpPr>
        <p:spPr>
          <a:xfrm>
            <a:off x="8383230" y="4469824"/>
            <a:ext cx="368658" cy="396987"/>
          </a:xfrm>
          <a:prstGeom prst="rect">
            <a:avLst/>
          </a:prstGeom>
          <a:noFill/>
        </p:spPr>
        <p:txBody>
          <a:bodyPr lIns="25400" tIns="0" rIns="0" bIns="0" anchor="b" anchorCtr="0"/>
          <a:lstStyle>
            <a:lvl1pPr algn="r">
              <a:defRPr sz="900">
                <a:solidFill>
                  <a:schemeClr val="tx1"/>
                </a:solidFill>
              </a:defRPr>
            </a:lvl1pPr>
          </a:lstStyle>
          <a:p>
            <a:fld id="{394EE31B-4DFC-CF4D-9A18-3F5D4D7C7302}" type="slidenum">
              <a:rPr lang="sv-SE" smtClean="0"/>
              <a:pPr/>
              <a:t>‹#›</a:t>
            </a:fld>
            <a:endParaRPr lang="sv-SE"/>
          </a:p>
        </p:txBody>
      </p:sp>
    </p:spTree>
    <p:extLst>
      <p:ext uri="{BB962C8B-B14F-4D97-AF65-F5344CB8AC3E}">
        <p14:creationId xmlns:p14="http://schemas.microsoft.com/office/powerpoint/2010/main" val="5292337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Omsla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175562D-8BE4-4E07-BD9B-7CEBE40A1A7F}"/>
              </a:ext>
            </a:extLst>
          </p:cNvPr>
          <p:cNvSpPr>
            <a:spLocks noGrp="1"/>
          </p:cNvSpPr>
          <p:nvPr>
            <p:ph type="ctrTitle"/>
          </p:nvPr>
        </p:nvSpPr>
        <p:spPr>
          <a:xfrm>
            <a:off x="1014822" y="254000"/>
            <a:ext cx="4881152" cy="2317750"/>
          </a:xfrm>
        </p:spPr>
        <p:txBody>
          <a:bodyPr lIns="0" tIns="0" rIns="0" bIns="0" anchor="b" anchorCtr="0"/>
          <a:lstStyle>
            <a:lvl1pPr algn="l">
              <a:lnSpc>
                <a:spcPct val="100000"/>
              </a:lnSpc>
              <a:defRPr sz="2800"/>
            </a:lvl1pPr>
          </a:lstStyle>
          <a:p>
            <a:r>
              <a:rPr lang="sv-SE"/>
              <a:t>Klicka här för att ändra mall för rubrikformat</a:t>
            </a:r>
          </a:p>
        </p:txBody>
      </p:sp>
      <p:sp>
        <p:nvSpPr>
          <p:cNvPr id="3" name="Underrubrik 2">
            <a:extLst>
              <a:ext uri="{FF2B5EF4-FFF2-40B4-BE49-F238E27FC236}">
                <a16:creationId xmlns:a16="http://schemas.microsoft.com/office/drawing/2014/main" id="{2DB9F56F-2AD1-42EA-A8BF-E10C61A55E2D}"/>
              </a:ext>
            </a:extLst>
          </p:cNvPr>
          <p:cNvSpPr>
            <a:spLocks noGrp="1"/>
          </p:cNvSpPr>
          <p:nvPr>
            <p:ph type="subTitle" idx="1"/>
          </p:nvPr>
        </p:nvSpPr>
        <p:spPr>
          <a:xfrm>
            <a:off x="1036638" y="2698749"/>
            <a:ext cx="4165600" cy="1501535"/>
          </a:xfrm>
        </p:spPr>
        <p:txBody>
          <a:bodyPr lIns="0" tIns="127000" rIns="0" bIns="0" anchor="t" anchorCtr="0">
            <a:noAutofit/>
          </a:bodyPr>
          <a:lstStyle>
            <a:lvl1pPr marL="0" indent="0" algn="l">
              <a:buNone/>
              <a:defRPr sz="14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Klicka här för att ändra mall för underrubrikformat</a:t>
            </a:r>
          </a:p>
        </p:txBody>
      </p:sp>
      <p:sp>
        <p:nvSpPr>
          <p:cNvPr id="14" name="Platshållare för bild 12">
            <a:extLst>
              <a:ext uri="{FF2B5EF4-FFF2-40B4-BE49-F238E27FC236}">
                <a16:creationId xmlns:a16="http://schemas.microsoft.com/office/drawing/2014/main" id="{440E45C1-8119-40D6-9263-EAC57AB3744D}"/>
              </a:ext>
            </a:extLst>
          </p:cNvPr>
          <p:cNvSpPr>
            <a:spLocks noGrp="1"/>
          </p:cNvSpPr>
          <p:nvPr>
            <p:ph type="pic" sz="quarter" idx="10"/>
          </p:nvPr>
        </p:nvSpPr>
        <p:spPr>
          <a:xfrm>
            <a:off x="5545138" y="496888"/>
            <a:ext cx="3344862" cy="4220307"/>
          </a:xfrm>
          <a:custGeom>
            <a:avLst/>
            <a:gdLst>
              <a:gd name="connsiteX0" fmla="*/ 0 w 3115338"/>
              <a:gd name="connsiteY0" fmla="*/ 1620501 h 3241002"/>
              <a:gd name="connsiteX1" fmla="*/ 778835 w 3115338"/>
              <a:gd name="connsiteY1" fmla="*/ 1 h 3241002"/>
              <a:gd name="connsiteX2" fmla="*/ 2336504 w 3115338"/>
              <a:gd name="connsiteY2" fmla="*/ 1 h 3241002"/>
              <a:gd name="connsiteX3" fmla="*/ 3115338 w 3115338"/>
              <a:gd name="connsiteY3" fmla="*/ 1620501 h 3241002"/>
              <a:gd name="connsiteX4" fmla="*/ 2336504 w 3115338"/>
              <a:gd name="connsiteY4" fmla="*/ 3241001 h 3241002"/>
              <a:gd name="connsiteX5" fmla="*/ 778835 w 3115338"/>
              <a:gd name="connsiteY5" fmla="*/ 3241001 h 3241002"/>
              <a:gd name="connsiteX6" fmla="*/ 0 w 3115338"/>
              <a:gd name="connsiteY6" fmla="*/ 1620501 h 3241002"/>
              <a:gd name="connsiteX0" fmla="*/ 0 w 3093822"/>
              <a:gd name="connsiteY0" fmla="*/ 706100 h 3241000"/>
              <a:gd name="connsiteX1" fmla="*/ 757319 w 3093822"/>
              <a:gd name="connsiteY1" fmla="*/ 0 h 3241000"/>
              <a:gd name="connsiteX2" fmla="*/ 2314988 w 3093822"/>
              <a:gd name="connsiteY2" fmla="*/ 0 h 3241000"/>
              <a:gd name="connsiteX3" fmla="*/ 3093822 w 3093822"/>
              <a:gd name="connsiteY3" fmla="*/ 1620500 h 3241000"/>
              <a:gd name="connsiteX4" fmla="*/ 2314988 w 3093822"/>
              <a:gd name="connsiteY4" fmla="*/ 3241000 h 3241000"/>
              <a:gd name="connsiteX5" fmla="*/ 757319 w 3093822"/>
              <a:gd name="connsiteY5" fmla="*/ 3241000 h 3241000"/>
              <a:gd name="connsiteX6" fmla="*/ 0 w 3093822"/>
              <a:gd name="connsiteY6" fmla="*/ 706100 h 3241000"/>
              <a:gd name="connsiteX0" fmla="*/ 0 w 3093822"/>
              <a:gd name="connsiteY0" fmla="*/ 1157921 h 3692821"/>
              <a:gd name="connsiteX1" fmla="*/ 1542627 w 3093822"/>
              <a:gd name="connsiteY1" fmla="*/ 0 h 3692821"/>
              <a:gd name="connsiteX2" fmla="*/ 2314988 w 3093822"/>
              <a:gd name="connsiteY2" fmla="*/ 451821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093822"/>
              <a:gd name="connsiteY0" fmla="*/ 1157921 h 3692821"/>
              <a:gd name="connsiteX1" fmla="*/ 1542627 w 3093822"/>
              <a:gd name="connsiteY1" fmla="*/ 0 h 3692821"/>
              <a:gd name="connsiteX2" fmla="*/ 3089538 w 3093822"/>
              <a:gd name="connsiteY2" fmla="*/ 1151068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104579"/>
              <a:gd name="connsiteY0" fmla="*/ 1157921 h 3692821"/>
              <a:gd name="connsiteX1" fmla="*/ 1542627 w 3104579"/>
              <a:gd name="connsiteY1" fmla="*/ 0 h 3692821"/>
              <a:gd name="connsiteX2" fmla="*/ 3089538 w 3104579"/>
              <a:gd name="connsiteY2" fmla="*/ 1151068 h 3692821"/>
              <a:gd name="connsiteX3" fmla="*/ 3104579 w 3104579"/>
              <a:gd name="connsiteY3" fmla="*/ 2814598 h 3692821"/>
              <a:gd name="connsiteX4" fmla="*/ 2314988 w 3104579"/>
              <a:gd name="connsiteY4" fmla="*/ 3692821 h 3692821"/>
              <a:gd name="connsiteX5" fmla="*/ 757319 w 3104579"/>
              <a:gd name="connsiteY5" fmla="*/ 3692821 h 3692821"/>
              <a:gd name="connsiteX6" fmla="*/ 0 w 3104579"/>
              <a:gd name="connsiteY6" fmla="*/ 1157921 h 3692821"/>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757319 w 3104579"/>
              <a:gd name="connsiteY5" fmla="*/ 3692821 h 3994035"/>
              <a:gd name="connsiteX6" fmla="*/ 0 w 3104579"/>
              <a:gd name="connsiteY6" fmla="*/ 1157921 h 3994035"/>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57921 h 3994035"/>
              <a:gd name="connsiteX0" fmla="*/ 0 w 3104579"/>
              <a:gd name="connsiteY0" fmla="*/ 1168679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 name="connsiteX0" fmla="*/ 0 w 3104579"/>
              <a:gd name="connsiteY0" fmla="*/ 1168679 h 3994035"/>
              <a:gd name="connsiteX1" fmla="*/ 1542627 w 3104579"/>
              <a:gd name="connsiteY1" fmla="*/ 0 h 3994035"/>
              <a:gd name="connsiteX2" fmla="*/ 3100295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04579" h="3994035">
                <a:moveTo>
                  <a:pt x="0" y="1168679"/>
                </a:moveTo>
                <a:lnTo>
                  <a:pt x="1542627" y="0"/>
                </a:lnTo>
                <a:lnTo>
                  <a:pt x="3100295" y="1151068"/>
                </a:lnTo>
                <a:lnTo>
                  <a:pt x="3104579" y="2814598"/>
                </a:lnTo>
                <a:lnTo>
                  <a:pt x="1540438" y="3994035"/>
                </a:lnTo>
                <a:lnTo>
                  <a:pt x="4284" y="2853725"/>
                </a:lnTo>
                <a:lnTo>
                  <a:pt x="0" y="1168679"/>
                </a:lnTo>
                <a:close/>
              </a:path>
            </a:pathLst>
          </a:custGeom>
          <a:solidFill>
            <a:schemeClr val="bg1"/>
          </a:solidFill>
        </p:spPr>
        <p:txBody>
          <a:bodyPr>
            <a:normAutofit/>
          </a:bodyPr>
          <a:lstStyle/>
          <a:p>
            <a:endParaRPr lang="sv-SE"/>
          </a:p>
        </p:txBody>
      </p:sp>
    </p:spTree>
    <p:extLst>
      <p:ext uri="{BB962C8B-B14F-4D97-AF65-F5344CB8AC3E}">
        <p14:creationId xmlns:p14="http://schemas.microsoft.com/office/powerpoint/2010/main" val="26994163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C8CC16F-FE87-46A6-845F-963ABBB68E15}"/>
              </a:ext>
            </a:extLst>
          </p:cNvPr>
          <p:cNvSpPr>
            <a:spLocks noGrp="1"/>
          </p:cNvSpPr>
          <p:nvPr>
            <p:ph type="title" hasCustomPrompt="1"/>
          </p:nvPr>
        </p:nvSpPr>
        <p:spPr/>
        <p:txBody>
          <a:bodyPr/>
          <a:lstStyle>
            <a:lvl1pPr>
              <a:defRPr/>
            </a:lvl1pPr>
          </a:lstStyle>
          <a:p>
            <a:r>
              <a:rPr lang="sv-SE"/>
              <a:t>Rubrik på en eller två rader </a:t>
            </a:r>
            <a:endParaRPr lang="en-GB"/>
          </a:p>
        </p:txBody>
      </p:sp>
      <p:sp>
        <p:nvSpPr>
          <p:cNvPr id="13" name="Platshållare för text 12">
            <a:extLst>
              <a:ext uri="{FF2B5EF4-FFF2-40B4-BE49-F238E27FC236}">
                <a16:creationId xmlns:a16="http://schemas.microsoft.com/office/drawing/2014/main" id="{256830FB-BAB3-432C-AEEA-5244C9EB6C9F}"/>
              </a:ext>
            </a:extLst>
          </p:cNvPr>
          <p:cNvSpPr>
            <a:spLocks noGrp="1"/>
          </p:cNvSpPr>
          <p:nvPr>
            <p:ph type="body" sz="quarter" idx="17" hasCustomPrompt="1"/>
          </p:nvPr>
        </p:nvSpPr>
        <p:spPr>
          <a:xfrm>
            <a:off x="1547813" y="1423988"/>
            <a:ext cx="6451997" cy="2687241"/>
          </a:xfrm>
        </p:spPr>
        <p:txBody>
          <a:bodyPr/>
          <a:lstStyle>
            <a:lvl1pPr>
              <a:defRPr/>
            </a:lvl1pPr>
          </a:lstStyle>
          <a:p>
            <a:pPr lvl="0"/>
            <a:r>
              <a:rPr lang="sv-SE"/>
              <a:t>Skriv text här</a:t>
            </a:r>
            <a:endParaRPr lang="en-GB"/>
          </a:p>
        </p:txBody>
      </p:sp>
      <p:sp>
        <p:nvSpPr>
          <p:cNvPr id="14" name="Platshållare för datum 13">
            <a:extLst>
              <a:ext uri="{FF2B5EF4-FFF2-40B4-BE49-F238E27FC236}">
                <a16:creationId xmlns:a16="http://schemas.microsoft.com/office/drawing/2014/main" id="{F5CF9B49-BD9B-4F14-A860-BADFAFCFA0B5}"/>
              </a:ext>
            </a:extLst>
          </p:cNvPr>
          <p:cNvSpPr>
            <a:spLocks noGrp="1"/>
          </p:cNvSpPr>
          <p:nvPr>
            <p:ph type="dt" sz="half" idx="18"/>
          </p:nvPr>
        </p:nvSpPr>
        <p:spPr/>
        <p:txBody>
          <a:bodyPr/>
          <a:lstStyle/>
          <a:p>
            <a:r>
              <a:rPr lang="sv-SE"/>
              <a:t>26/03/2026</a:t>
            </a:r>
            <a:endParaRPr lang="en-GB"/>
          </a:p>
        </p:txBody>
      </p:sp>
      <p:sp>
        <p:nvSpPr>
          <p:cNvPr id="15" name="Platshållare för sidfot 14">
            <a:extLst>
              <a:ext uri="{FF2B5EF4-FFF2-40B4-BE49-F238E27FC236}">
                <a16:creationId xmlns:a16="http://schemas.microsoft.com/office/drawing/2014/main" id="{A986E620-64F0-4BD2-8644-D1B199BC41EE}"/>
              </a:ext>
            </a:extLst>
          </p:cNvPr>
          <p:cNvSpPr>
            <a:spLocks noGrp="1"/>
          </p:cNvSpPr>
          <p:nvPr>
            <p:ph type="ftr" sz="quarter" idx="19"/>
          </p:nvPr>
        </p:nvSpPr>
        <p:spPr/>
        <p:txBody>
          <a:bodyPr/>
          <a:lstStyle/>
          <a:p>
            <a:r>
              <a:rPr lang="en-US"/>
              <a:t>Stakeholder Forum Agenda - Classification: External</a:t>
            </a:r>
            <a:endParaRPr lang="en-GB"/>
          </a:p>
        </p:txBody>
      </p:sp>
      <p:sp>
        <p:nvSpPr>
          <p:cNvPr id="16" name="Platshållare för bildnummer 15">
            <a:extLst>
              <a:ext uri="{FF2B5EF4-FFF2-40B4-BE49-F238E27FC236}">
                <a16:creationId xmlns:a16="http://schemas.microsoft.com/office/drawing/2014/main" id="{875C81E0-4DB5-4F1A-ACBA-D33DC0BE0128}"/>
              </a:ext>
            </a:extLst>
          </p:cNvPr>
          <p:cNvSpPr>
            <a:spLocks noGrp="1"/>
          </p:cNvSpPr>
          <p:nvPr>
            <p:ph type="sldNum" sz="quarter" idx="20"/>
          </p:nvPr>
        </p:nvSpPr>
        <p:spPr/>
        <p:txBody>
          <a:bodyPr/>
          <a:lstStyle/>
          <a:p>
            <a:endParaRPr lang="en-GB"/>
          </a:p>
        </p:txBody>
      </p:sp>
    </p:spTree>
    <p:extLst>
      <p:ext uri="{BB962C8B-B14F-4D97-AF65-F5344CB8AC3E}">
        <p14:creationId xmlns:p14="http://schemas.microsoft.com/office/powerpoint/2010/main" val="22254247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Omslag">
    <p:bg>
      <p:bgPr>
        <a:blipFill dpi="0" rotWithShape="1">
          <a:blip r:embed="rId2">
            <a:alphaModFix amt="96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175562D-8BE4-4E07-BD9B-7CEBE40A1A7F}"/>
              </a:ext>
            </a:extLst>
          </p:cNvPr>
          <p:cNvSpPr>
            <a:spLocks noGrp="1"/>
          </p:cNvSpPr>
          <p:nvPr>
            <p:ph type="ctrTitle"/>
          </p:nvPr>
        </p:nvSpPr>
        <p:spPr>
          <a:xfrm>
            <a:off x="1014822" y="254000"/>
            <a:ext cx="4881152" cy="2317750"/>
          </a:xfrm>
        </p:spPr>
        <p:txBody>
          <a:bodyPr lIns="0" tIns="0" rIns="0" bIns="0" anchor="b" anchorCtr="0"/>
          <a:lstStyle>
            <a:lvl1pPr algn="l">
              <a:lnSpc>
                <a:spcPct val="100000"/>
              </a:lnSpc>
              <a:defRPr sz="2800"/>
            </a:lvl1pPr>
          </a:lstStyle>
          <a:p>
            <a:r>
              <a:rPr lang="sv-SE"/>
              <a:t>Klicka här för att ändra mall för rubrikformat</a:t>
            </a:r>
          </a:p>
        </p:txBody>
      </p:sp>
      <p:sp>
        <p:nvSpPr>
          <p:cNvPr id="3" name="Underrubrik 2">
            <a:extLst>
              <a:ext uri="{FF2B5EF4-FFF2-40B4-BE49-F238E27FC236}">
                <a16:creationId xmlns:a16="http://schemas.microsoft.com/office/drawing/2014/main" id="{2DB9F56F-2AD1-42EA-A8BF-E10C61A55E2D}"/>
              </a:ext>
            </a:extLst>
          </p:cNvPr>
          <p:cNvSpPr>
            <a:spLocks noGrp="1"/>
          </p:cNvSpPr>
          <p:nvPr>
            <p:ph type="subTitle" idx="1"/>
          </p:nvPr>
        </p:nvSpPr>
        <p:spPr>
          <a:xfrm>
            <a:off x="1036638" y="2698749"/>
            <a:ext cx="4165600" cy="1501535"/>
          </a:xfrm>
        </p:spPr>
        <p:txBody>
          <a:bodyPr lIns="0" tIns="127000" rIns="0" bIns="0" anchor="t" anchorCtr="0">
            <a:noAutofit/>
          </a:bodyPr>
          <a:lstStyle>
            <a:lvl1pPr marL="0" indent="0" algn="l">
              <a:buNone/>
              <a:defRPr sz="14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Klicka här för att ändra mall för underrubrikformat</a:t>
            </a:r>
          </a:p>
        </p:txBody>
      </p:sp>
      <p:sp>
        <p:nvSpPr>
          <p:cNvPr id="14" name="Platshållare för bild 12">
            <a:extLst>
              <a:ext uri="{FF2B5EF4-FFF2-40B4-BE49-F238E27FC236}">
                <a16:creationId xmlns:a16="http://schemas.microsoft.com/office/drawing/2014/main" id="{440E45C1-8119-40D6-9263-EAC57AB3744D}"/>
              </a:ext>
            </a:extLst>
          </p:cNvPr>
          <p:cNvSpPr>
            <a:spLocks noGrp="1"/>
          </p:cNvSpPr>
          <p:nvPr>
            <p:ph type="pic" sz="quarter" idx="10"/>
          </p:nvPr>
        </p:nvSpPr>
        <p:spPr>
          <a:xfrm>
            <a:off x="5545138" y="496888"/>
            <a:ext cx="3344862" cy="4220307"/>
          </a:xfrm>
          <a:custGeom>
            <a:avLst/>
            <a:gdLst>
              <a:gd name="connsiteX0" fmla="*/ 0 w 3115338"/>
              <a:gd name="connsiteY0" fmla="*/ 1620501 h 3241002"/>
              <a:gd name="connsiteX1" fmla="*/ 778835 w 3115338"/>
              <a:gd name="connsiteY1" fmla="*/ 1 h 3241002"/>
              <a:gd name="connsiteX2" fmla="*/ 2336504 w 3115338"/>
              <a:gd name="connsiteY2" fmla="*/ 1 h 3241002"/>
              <a:gd name="connsiteX3" fmla="*/ 3115338 w 3115338"/>
              <a:gd name="connsiteY3" fmla="*/ 1620501 h 3241002"/>
              <a:gd name="connsiteX4" fmla="*/ 2336504 w 3115338"/>
              <a:gd name="connsiteY4" fmla="*/ 3241001 h 3241002"/>
              <a:gd name="connsiteX5" fmla="*/ 778835 w 3115338"/>
              <a:gd name="connsiteY5" fmla="*/ 3241001 h 3241002"/>
              <a:gd name="connsiteX6" fmla="*/ 0 w 3115338"/>
              <a:gd name="connsiteY6" fmla="*/ 1620501 h 3241002"/>
              <a:gd name="connsiteX0" fmla="*/ 0 w 3093822"/>
              <a:gd name="connsiteY0" fmla="*/ 706100 h 3241000"/>
              <a:gd name="connsiteX1" fmla="*/ 757319 w 3093822"/>
              <a:gd name="connsiteY1" fmla="*/ 0 h 3241000"/>
              <a:gd name="connsiteX2" fmla="*/ 2314988 w 3093822"/>
              <a:gd name="connsiteY2" fmla="*/ 0 h 3241000"/>
              <a:gd name="connsiteX3" fmla="*/ 3093822 w 3093822"/>
              <a:gd name="connsiteY3" fmla="*/ 1620500 h 3241000"/>
              <a:gd name="connsiteX4" fmla="*/ 2314988 w 3093822"/>
              <a:gd name="connsiteY4" fmla="*/ 3241000 h 3241000"/>
              <a:gd name="connsiteX5" fmla="*/ 757319 w 3093822"/>
              <a:gd name="connsiteY5" fmla="*/ 3241000 h 3241000"/>
              <a:gd name="connsiteX6" fmla="*/ 0 w 3093822"/>
              <a:gd name="connsiteY6" fmla="*/ 706100 h 3241000"/>
              <a:gd name="connsiteX0" fmla="*/ 0 w 3093822"/>
              <a:gd name="connsiteY0" fmla="*/ 1157921 h 3692821"/>
              <a:gd name="connsiteX1" fmla="*/ 1542627 w 3093822"/>
              <a:gd name="connsiteY1" fmla="*/ 0 h 3692821"/>
              <a:gd name="connsiteX2" fmla="*/ 2314988 w 3093822"/>
              <a:gd name="connsiteY2" fmla="*/ 451821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093822"/>
              <a:gd name="connsiteY0" fmla="*/ 1157921 h 3692821"/>
              <a:gd name="connsiteX1" fmla="*/ 1542627 w 3093822"/>
              <a:gd name="connsiteY1" fmla="*/ 0 h 3692821"/>
              <a:gd name="connsiteX2" fmla="*/ 3089538 w 3093822"/>
              <a:gd name="connsiteY2" fmla="*/ 1151068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104579"/>
              <a:gd name="connsiteY0" fmla="*/ 1157921 h 3692821"/>
              <a:gd name="connsiteX1" fmla="*/ 1542627 w 3104579"/>
              <a:gd name="connsiteY1" fmla="*/ 0 h 3692821"/>
              <a:gd name="connsiteX2" fmla="*/ 3089538 w 3104579"/>
              <a:gd name="connsiteY2" fmla="*/ 1151068 h 3692821"/>
              <a:gd name="connsiteX3" fmla="*/ 3104579 w 3104579"/>
              <a:gd name="connsiteY3" fmla="*/ 2814598 h 3692821"/>
              <a:gd name="connsiteX4" fmla="*/ 2314988 w 3104579"/>
              <a:gd name="connsiteY4" fmla="*/ 3692821 h 3692821"/>
              <a:gd name="connsiteX5" fmla="*/ 757319 w 3104579"/>
              <a:gd name="connsiteY5" fmla="*/ 3692821 h 3692821"/>
              <a:gd name="connsiteX6" fmla="*/ 0 w 3104579"/>
              <a:gd name="connsiteY6" fmla="*/ 1157921 h 3692821"/>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757319 w 3104579"/>
              <a:gd name="connsiteY5" fmla="*/ 3692821 h 3994035"/>
              <a:gd name="connsiteX6" fmla="*/ 0 w 3104579"/>
              <a:gd name="connsiteY6" fmla="*/ 1157921 h 3994035"/>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57921 h 3994035"/>
              <a:gd name="connsiteX0" fmla="*/ 0 w 3104579"/>
              <a:gd name="connsiteY0" fmla="*/ 1168679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 name="connsiteX0" fmla="*/ 0 w 3104579"/>
              <a:gd name="connsiteY0" fmla="*/ 1168679 h 3994035"/>
              <a:gd name="connsiteX1" fmla="*/ 1542627 w 3104579"/>
              <a:gd name="connsiteY1" fmla="*/ 0 h 3994035"/>
              <a:gd name="connsiteX2" fmla="*/ 3100295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04579" h="3994035">
                <a:moveTo>
                  <a:pt x="0" y="1168679"/>
                </a:moveTo>
                <a:lnTo>
                  <a:pt x="1542627" y="0"/>
                </a:lnTo>
                <a:lnTo>
                  <a:pt x="3100295" y="1151068"/>
                </a:lnTo>
                <a:lnTo>
                  <a:pt x="3104579" y="2814598"/>
                </a:lnTo>
                <a:lnTo>
                  <a:pt x="1540438" y="3994035"/>
                </a:lnTo>
                <a:lnTo>
                  <a:pt x="4284" y="2853725"/>
                </a:lnTo>
                <a:lnTo>
                  <a:pt x="0" y="1168679"/>
                </a:lnTo>
                <a:close/>
              </a:path>
            </a:pathLst>
          </a:custGeom>
          <a:solidFill>
            <a:schemeClr val="bg1"/>
          </a:solidFill>
        </p:spPr>
        <p:txBody>
          <a:bodyPr>
            <a:normAutofit/>
          </a:bodyPr>
          <a:lstStyle/>
          <a:p>
            <a:endParaRPr lang="sv-SE"/>
          </a:p>
        </p:txBody>
      </p:sp>
    </p:spTree>
    <p:extLst>
      <p:ext uri="{BB962C8B-B14F-4D97-AF65-F5344CB8AC3E}">
        <p14:creationId xmlns:p14="http://schemas.microsoft.com/office/powerpoint/2010/main" val="34113794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Omsla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175562D-8BE4-4E07-BD9B-7CEBE40A1A7F}"/>
              </a:ext>
            </a:extLst>
          </p:cNvPr>
          <p:cNvSpPr>
            <a:spLocks noGrp="1"/>
          </p:cNvSpPr>
          <p:nvPr>
            <p:ph type="ctrTitle"/>
          </p:nvPr>
        </p:nvSpPr>
        <p:spPr>
          <a:xfrm>
            <a:off x="1014822" y="254000"/>
            <a:ext cx="4881152" cy="2317750"/>
          </a:xfrm>
        </p:spPr>
        <p:txBody>
          <a:bodyPr lIns="0" tIns="0" rIns="0" bIns="0" anchor="b" anchorCtr="0"/>
          <a:lstStyle>
            <a:lvl1pPr algn="l">
              <a:lnSpc>
                <a:spcPct val="100000"/>
              </a:lnSpc>
              <a:defRPr sz="2800"/>
            </a:lvl1pPr>
          </a:lstStyle>
          <a:p>
            <a:r>
              <a:rPr lang="sv-SE"/>
              <a:t>Klicka här för att ändra mall för rubrikformat</a:t>
            </a:r>
          </a:p>
        </p:txBody>
      </p:sp>
      <p:sp>
        <p:nvSpPr>
          <p:cNvPr id="3" name="Underrubrik 2">
            <a:extLst>
              <a:ext uri="{FF2B5EF4-FFF2-40B4-BE49-F238E27FC236}">
                <a16:creationId xmlns:a16="http://schemas.microsoft.com/office/drawing/2014/main" id="{2DB9F56F-2AD1-42EA-A8BF-E10C61A55E2D}"/>
              </a:ext>
            </a:extLst>
          </p:cNvPr>
          <p:cNvSpPr>
            <a:spLocks noGrp="1"/>
          </p:cNvSpPr>
          <p:nvPr>
            <p:ph type="subTitle" idx="1"/>
          </p:nvPr>
        </p:nvSpPr>
        <p:spPr>
          <a:xfrm>
            <a:off x="1036638" y="2698749"/>
            <a:ext cx="4165600" cy="1501535"/>
          </a:xfrm>
        </p:spPr>
        <p:txBody>
          <a:bodyPr lIns="0" tIns="127000" rIns="0" bIns="0" anchor="t" anchorCtr="0">
            <a:noAutofit/>
          </a:bodyPr>
          <a:lstStyle>
            <a:lvl1pPr marL="0" indent="0" algn="l">
              <a:buNone/>
              <a:defRPr sz="14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Klicka här för att ändra mall för underrubrikformat</a:t>
            </a:r>
          </a:p>
        </p:txBody>
      </p:sp>
      <p:sp>
        <p:nvSpPr>
          <p:cNvPr id="14" name="Platshållare för bild 12">
            <a:extLst>
              <a:ext uri="{FF2B5EF4-FFF2-40B4-BE49-F238E27FC236}">
                <a16:creationId xmlns:a16="http://schemas.microsoft.com/office/drawing/2014/main" id="{440E45C1-8119-40D6-9263-EAC57AB3744D}"/>
              </a:ext>
            </a:extLst>
          </p:cNvPr>
          <p:cNvSpPr>
            <a:spLocks noGrp="1"/>
          </p:cNvSpPr>
          <p:nvPr>
            <p:ph type="pic" sz="quarter" idx="10"/>
          </p:nvPr>
        </p:nvSpPr>
        <p:spPr>
          <a:xfrm>
            <a:off x="5545138" y="496888"/>
            <a:ext cx="3344862" cy="4220307"/>
          </a:xfrm>
          <a:custGeom>
            <a:avLst/>
            <a:gdLst>
              <a:gd name="connsiteX0" fmla="*/ 0 w 3115338"/>
              <a:gd name="connsiteY0" fmla="*/ 1620501 h 3241002"/>
              <a:gd name="connsiteX1" fmla="*/ 778835 w 3115338"/>
              <a:gd name="connsiteY1" fmla="*/ 1 h 3241002"/>
              <a:gd name="connsiteX2" fmla="*/ 2336504 w 3115338"/>
              <a:gd name="connsiteY2" fmla="*/ 1 h 3241002"/>
              <a:gd name="connsiteX3" fmla="*/ 3115338 w 3115338"/>
              <a:gd name="connsiteY3" fmla="*/ 1620501 h 3241002"/>
              <a:gd name="connsiteX4" fmla="*/ 2336504 w 3115338"/>
              <a:gd name="connsiteY4" fmla="*/ 3241001 h 3241002"/>
              <a:gd name="connsiteX5" fmla="*/ 778835 w 3115338"/>
              <a:gd name="connsiteY5" fmla="*/ 3241001 h 3241002"/>
              <a:gd name="connsiteX6" fmla="*/ 0 w 3115338"/>
              <a:gd name="connsiteY6" fmla="*/ 1620501 h 3241002"/>
              <a:gd name="connsiteX0" fmla="*/ 0 w 3093822"/>
              <a:gd name="connsiteY0" fmla="*/ 706100 h 3241000"/>
              <a:gd name="connsiteX1" fmla="*/ 757319 w 3093822"/>
              <a:gd name="connsiteY1" fmla="*/ 0 h 3241000"/>
              <a:gd name="connsiteX2" fmla="*/ 2314988 w 3093822"/>
              <a:gd name="connsiteY2" fmla="*/ 0 h 3241000"/>
              <a:gd name="connsiteX3" fmla="*/ 3093822 w 3093822"/>
              <a:gd name="connsiteY3" fmla="*/ 1620500 h 3241000"/>
              <a:gd name="connsiteX4" fmla="*/ 2314988 w 3093822"/>
              <a:gd name="connsiteY4" fmla="*/ 3241000 h 3241000"/>
              <a:gd name="connsiteX5" fmla="*/ 757319 w 3093822"/>
              <a:gd name="connsiteY5" fmla="*/ 3241000 h 3241000"/>
              <a:gd name="connsiteX6" fmla="*/ 0 w 3093822"/>
              <a:gd name="connsiteY6" fmla="*/ 706100 h 3241000"/>
              <a:gd name="connsiteX0" fmla="*/ 0 w 3093822"/>
              <a:gd name="connsiteY0" fmla="*/ 1157921 h 3692821"/>
              <a:gd name="connsiteX1" fmla="*/ 1542627 w 3093822"/>
              <a:gd name="connsiteY1" fmla="*/ 0 h 3692821"/>
              <a:gd name="connsiteX2" fmla="*/ 2314988 w 3093822"/>
              <a:gd name="connsiteY2" fmla="*/ 451821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093822"/>
              <a:gd name="connsiteY0" fmla="*/ 1157921 h 3692821"/>
              <a:gd name="connsiteX1" fmla="*/ 1542627 w 3093822"/>
              <a:gd name="connsiteY1" fmla="*/ 0 h 3692821"/>
              <a:gd name="connsiteX2" fmla="*/ 3089538 w 3093822"/>
              <a:gd name="connsiteY2" fmla="*/ 1151068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104579"/>
              <a:gd name="connsiteY0" fmla="*/ 1157921 h 3692821"/>
              <a:gd name="connsiteX1" fmla="*/ 1542627 w 3104579"/>
              <a:gd name="connsiteY1" fmla="*/ 0 h 3692821"/>
              <a:gd name="connsiteX2" fmla="*/ 3089538 w 3104579"/>
              <a:gd name="connsiteY2" fmla="*/ 1151068 h 3692821"/>
              <a:gd name="connsiteX3" fmla="*/ 3104579 w 3104579"/>
              <a:gd name="connsiteY3" fmla="*/ 2814598 h 3692821"/>
              <a:gd name="connsiteX4" fmla="*/ 2314988 w 3104579"/>
              <a:gd name="connsiteY4" fmla="*/ 3692821 h 3692821"/>
              <a:gd name="connsiteX5" fmla="*/ 757319 w 3104579"/>
              <a:gd name="connsiteY5" fmla="*/ 3692821 h 3692821"/>
              <a:gd name="connsiteX6" fmla="*/ 0 w 3104579"/>
              <a:gd name="connsiteY6" fmla="*/ 1157921 h 3692821"/>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757319 w 3104579"/>
              <a:gd name="connsiteY5" fmla="*/ 3692821 h 3994035"/>
              <a:gd name="connsiteX6" fmla="*/ 0 w 3104579"/>
              <a:gd name="connsiteY6" fmla="*/ 1157921 h 3994035"/>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57921 h 3994035"/>
              <a:gd name="connsiteX0" fmla="*/ 0 w 3104579"/>
              <a:gd name="connsiteY0" fmla="*/ 1168679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 name="connsiteX0" fmla="*/ 0 w 3104579"/>
              <a:gd name="connsiteY0" fmla="*/ 1168679 h 3994035"/>
              <a:gd name="connsiteX1" fmla="*/ 1542627 w 3104579"/>
              <a:gd name="connsiteY1" fmla="*/ 0 h 3994035"/>
              <a:gd name="connsiteX2" fmla="*/ 3100295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04579" h="3994035">
                <a:moveTo>
                  <a:pt x="0" y="1168679"/>
                </a:moveTo>
                <a:lnTo>
                  <a:pt x="1542627" y="0"/>
                </a:lnTo>
                <a:lnTo>
                  <a:pt x="3100295" y="1151068"/>
                </a:lnTo>
                <a:lnTo>
                  <a:pt x="3104579" y="2814598"/>
                </a:lnTo>
                <a:lnTo>
                  <a:pt x="1540438" y="3994035"/>
                </a:lnTo>
                <a:lnTo>
                  <a:pt x="4284" y="2853725"/>
                </a:lnTo>
                <a:lnTo>
                  <a:pt x="0" y="1168679"/>
                </a:lnTo>
                <a:close/>
              </a:path>
            </a:pathLst>
          </a:custGeom>
          <a:solidFill>
            <a:schemeClr val="bg1"/>
          </a:solidFill>
        </p:spPr>
        <p:txBody>
          <a:bodyPr>
            <a:normAutofit/>
          </a:bodyPr>
          <a:lstStyle/>
          <a:p>
            <a:endParaRPr lang="sv-SE"/>
          </a:p>
        </p:txBody>
      </p:sp>
    </p:spTree>
    <p:extLst>
      <p:ext uri="{BB962C8B-B14F-4D97-AF65-F5344CB8AC3E}">
        <p14:creationId xmlns:p14="http://schemas.microsoft.com/office/powerpoint/2010/main" val="13896344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_Omsla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175562D-8BE4-4E07-BD9B-7CEBE40A1A7F}"/>
              </a:ext>
            </a:extLst>
          </p:cNvPr>
          <p:cNvSpPr>
            <a:spLocks noGrp="1"/>
          </p:cNvSpPr>
          <p:nvPr>
            <p:ph type="ctrTitle"/>
          </p:nvPr>
        </p:nvSpPr>
        <p:spPr>
          <a:xfrm>
            <a:off x="1014822" y="254000"/>
            <a:ext cx="4881152" cy="2317750"/>
          </a:xfrm>
        </p:spPr>
        <p:txBody>
          <a:bodyPr lIns="0" tIns="0" rIns="0" bIns="0" anchor="b" anchorCtr="0"/>
          <a:lstStyle>
            <a:lvl1pPr algn="l">
              <a:lnSpc>
                <a:spcPct val="100000"/>
              </a:lnSpc>
              <a:defRPr sz="2800"/>
            </a:lvl1pPr>
          </a:lstStyle>
          <a:p>
            <a:r>
              <a:rPr lang="sv-SE"/>
              <a:t>Klicka här för att ändra mall för rubrikformat</a:t>
            </a:r>
          </a:p>
        </p:txBody>
      </p:sp>
      <p:sp>
        <p:nvSpPr>
          <p:cNvPr id="3" name="Underrubrik 2">
            <a:extLst>
              <a:ext uri="{FF2B5EF4-FFF2-40B4-BE49-F238E27FC236}">
                <a16:creationId xmlns:a16="http://schemas.microsoft.com/office/drawing/2014/main" id="{2DB9F56F-2AD1-42EA-A8BF-E10C61A55E2D}"/>
              </a:ext>
            </a:extLst>
          </p:cNvPr>
          <p:cNvSpPr>
            <a:spLocks noGrp="1"/>
          </p:cNvSpPr>
          <p:nvPr>
            <p:ph type="subTitle" idx="1"/>
          </p:nvPr>
        </p:nvSpPr>
        <p:spPr>
          <a:xfrm>
            <a:off x="1036638" y="2698749"/>
            <a:ext cx="4165600" cy="1501535"/>
          </a:xfrm>
        </p:spPr>
        <p:txBody>
          <a:bodyPr lIns="0" tIns="127000" rIns="0" bIns="0" anchor="t" anchorCtr="0">
            <a:noAutofit/>
          </a:bodyPr>
          <a:lstStyle>
            <a:lvl1pPr marL="0" indent="0" algn="l">
              <a:buNone/>
              <a:defRPr sz="14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Klicka här för att ändra mall för underrubrikformat</a:t>
            </a:r>
          </a:p>
        </p:txBody>
      </p:sp>
      <p:sp>
        <p:nvSpPr>
          <p:cNvPr id="14" name="Platshållare för bild 12">
            <a:extLst>
              <a:ext uri="{FF2B5EF4-FFF2-40B4-BE49-F238E27FC236}">
                <a16:creationId xmlns:a16="http://schemas.microsoft.com/office/drawing/2014/main" id="{440E45C1-8119-40D6-9263-EAC57AB3744D}"/>
              </a:ext>
            </a:extLst>
          </p:cNvPr>
          <p:cNvSpPr>
            <a:spLocks noGrp="1"/>
          </p:cNvSpPr>
          <p:nvPr>
            <p:ph type="pic" sz="quarter" idx="10"/>
          </p:nvPr>
        </p:nvSpPr>
        <p:spPr>
          <a:xfrm>
            <a:off x="5545138" y="496888"/>
            <a:ext cx="3344862" cy="4220307"/>
          </a:xfrm>
          <a:custGeom>
            <a:avLst/>
            <a:gdLst>
              <a:gd name="connsiteX0" fmla="*/ 0 w 3115338"/>
              <a:gd name="connsiteY0" fmla="*/ 1620501 h 3241002"/>
              <a:gd name="connsiteX1" fmla="*/ 778835 w 3115338"/>
              <a:gd name="connsiteY1" fmla="*/ 1 h 3241002"/>
              <a:gd name="connsiteX2" fmla="*/ 2336504 w 3115338"/>
              <a:gd name="connsiteY2" fmla="*/ 1 h 3241002"/>
              <a:gd name="connsiteX3" fmla="*/ 3115338 w 3115338"/>
              <a:gd name="connsiteY3" fmla="*/ 1620501 h 3241002"/>
              <a:gd name="connsiteX4" fmla="*/ 2336504 w 3115338"/>
              <a:gd name="connsiteY4" fmla="*/ 3241001 h 3241002"/>
              <a:gd name="connsiteX5" fmla="*/ 778835 w 3115338"/>
              <a:gd name="connsiteY5" fmla="*/ 3241001 h 3241002"/>
              <a:gd name="connsiteX6" fmla="*/ 0 w 3115338"/>
              <a:gd name="connsiteY6" fmla="*/ 1620501 h 3241002"/>
              <a:gd name="connsiteX0" fmla="*/ 0 w 3093822"/>
              <a:gd name="connsiteY0" fmla="*/ 706100 h 3241000"/>
              <a:gd name="connsiteX1" fmla="*/ 757319 w 3093822"/>
              <a:gd name="connsiteY1" fmla="*/ 0 h 3241000"/>
              <a:gd name="connsiteX2" fmla="*/ 2314988 w 3093822"/>
              <a:gd name="connsiteY2" fmla="*/ 0 h 3241000"/>
              <a:gd name="connsiteX3" fmla="*/ 3093822 w 3093822"/>
              <a:gd name="connsiteY3" fmla="*/ 1620500 h 3241000"/>
              <a:gd name="connsiteX4" fmla="*/ 2314988 w 3093822"/>
              <a:gd name="connsiteY4" fmla="*/ 3241000 h 3241000"/>
              <a:gd name="connsiteX5" fmla="*/ 757319 w 3093822"/>
              <a:gd name="connsiteY5" fmla="*/ 3241000 h 3241000"/>
              <a:gd name="connsiteX6" fmla="*/ 0 w 3093822"/>
              <a:gd name="connsiteY6" fmla="*/ 706100 h 3241000"/>
              <a:gd name="connsiteX0" fmla="*/ 0 w 3093822"/>
              <a:gd name="connsiteY0" fmla="*/ 1157921 h 3692821"/>
              <a:gd name="connsiteX1" fmla="*/ 1542627 w 3093822"/>
              <a:gd name="connsiteY1" fmla="*/ 0 h 3692821"/>
              <a:gd name="connsiteX2" fmla="*/ 2314988 w 3093822"/>
              <a:gd name="connsiteY2" fmla="*/ 451821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093822"/>
              <a:gd name="connsiteY0" fmla="*/ 1157921 h 3692821"/>
              <a:gd name="connsiteX1" fmla="*/ 1542627 w 3093822"/>
              <a:gd name="connsiteY1" fmla="*/ 0 h 3692821"/>
              <a:gd name="connsiteX2" fmla="*/ 3089538 w 3093822"/>
              <a:gd name="connsiteY2" fmla="*/ 1151068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104579"/>
              <a:gd name="connsiteY0" fmla="*/ 1157921 h 3692821"/>
              <a:gd name="connsiteX1" fmla="*/ 1542627 w 3104579"/>
              <a:gd name="connsiteY1" fmla="*/ 0 h 3692821"/>
              <a:gd name="connsiteX2" fmla="*/ 3089538 w 3104579"/>
              <a:gd name="connsiteY2" fmla="*/ 1151068 h 3692821"/>
              <a:gd name="connsiteX3" fmla="*/ 3104579 w 3104579"/>
              <a:gd name="connsiteY3" fmla="*/ 2814598 h 3692821"/>
              <a:gd name="connsiteX4" fmla="*/ 2314988 w 3104579"/>
              <a:gd name="connsiteY4" fmla="*/ 3692821 h 3692821"/>
              <a:gd name="connsiteX5" fmla="*/ 757319 w 3104579"/>
              <a:gd name="connsiteY5" fmla="*/ 3692821 h 3692821"/>
              <a:gd name="connsiteX6" fmla="*/ 0 w 3104579"/>
              <a:gd name="connsiteY6" fmla="*/ 1157921 h 3692821"/>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757319 w 3104579"/>
              <a:gd name="connsiteY5" fmla="*/ 3692821 h 3994035"/>
              <a:gd name="connsiteX6" fmla="*/ 0 w 3104579"/>
              <a:gd name="connsiteY6" fmla="*/ 1157921 h 3994035"/>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57921 h 3994035"/>
              <a:gd name="connsiteX0" fmla="*/ 0 w 3104579"/>
              <a:gd name="connsiteY0" fmla="*/ 1168679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 name="connsiteX0" fmla="*/ 0 w 3104579"/>
              <a:gd name="connsiteY0" fmla="*/ 1168679 h 3994035"/>
              <a:gd name="connsiteX1" fmla="*/ 1542627 w 3104579"/>
              <a:gd name="connsiteY1" fmla="*/ 0 h 3994035"/>
              <a:gd name="connsiteX2" fmla="*/ 3100295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04579" h="3994035">
                <a:moveTo>
                  <a:pt x="0" y="1168679"/>
                </a:moveTo>
                <a:lnTo>
                  <a:pt x="1542627" y="0"/>
                </a:lnTo>
                <a:lnTo>
                  <a:pt x="3100295" y="1151068"/>
                </a:lnTo>
                <a:lnTo>
                  <a:pt x="3104579" y="2814598"/>
                </a:lnTo>
                <a:lnTo>
                  <a:pt x="1540438" y="3994035"/>
                </a:lnTo>
                <a:lnTo>
                  <a:pt x="4284" y="2853725"/>
                </a:lnTo>
                <a:lnTo>
                  <a:pt x="0" y="1168679"/>
                </a:lnTo>
                <a:close/>
              </a:path>
            </a:pathLst>
          </a:custGeom>
          <a:solidFill>
            <a:schemeClr val="bg1"/>
          </a:solidFill>
        </p:spPr>
        <p:txBody>
          <a:bodyPr>
            <a:normAutofit/>
          </a:bodyPr>
          <a:lstStyle/>
          <a:p>
            <a:endParaRPr lang="sv-SE"/>
          </a:p>
        </p:txBody>
      </p:sp>
    </p:spTree>
    <p:extLst>
      <p:ext uri="{BB962C8B-B14F-4D97-AF65-F5344CB8AC3E}">
        <p14:creationId xmlns:p14="http://schemas.microsoft.com/office/powerpoint/2010/main" val="41223356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Omsla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175562D-8BE4-4E07-BD9B-7CEBE40A1A7F}"/>
              </a:ext>
            </a:extLst>
          </p:cNvPr>
          <p:cNvSpPr>
            <a:spLocks noGrp="1"/>
          </p:cNvSpPr>
          <p:nvPr>
            <p:ph type="ctrTitle"/>
          </p:nvPr>
        </p:nvSpPr>
        <p:spPr>
          <a:xfrm>
            <a:off x="1014822" y="254000"/>
            <a:ext cx="4881152" cy="2317750"/>
          </a:xfrm>
        </p:spPr>
        <p:txBody>
          <a:bodyPr lIns="0" tIns="0" rIns="0" bIns="0" anchor="b" anchorCtr="0"/>
          <a:lstStyle>
            <a:lvl1pPr algn="l">
              <a:lnSpc>
                <a:spcPct val="100000"/>
              </a:lnSpc>
              <a:defRPr sz="2800"/>
            </a:lvl1pPr>
          </a:lstStyle>
          <a:p>
            <a:r>
              <a:rPr lang="sv-SE"/>
              <a:t>Klicka här för att ändra mall för rubrikformat</a:t>
            </a:r>
          </a:p>
        </p:txBody>
      </p:sp>
      <p:sp>
        <p:nvSpPr>
          <p:cNvPr id="3" name="Underrubrik 2">
            <a:extLst>
              <a:ext uri="{FF2B5EF4-FFF2-40B4-BE49-F238E27FC236}">
                <a16:creationId xmlns:a16="http://schemas.microsoft.com/office/drawing/2014/main" id="{2DB9F56F-2AD1-42EA-A8BF-E10C61A55E2D}"/>
              </a:ext>
            </a:extLst>
          </p:cNvPr>
          <p:cNvSpPr>
            <a:spLocks noGrp="1"/>
          </p:cNvSpPr>
          <p:nvPr>
            <p:ph type="subTitle" idx="1"/>
          </p:nvPr>
        </p:nvSpPr>
        <p:spPr>
          <a:xfrm>
            <a:off x="1036638" y="2698749"/>
            <a:ext cx="4165600" cy="1501535"/>
          </a:xfrm>
        </p:spPr>
        <p:txBody>
          <a:bodyPr lIns="0" tIns="127000" rIns="0" bIns="0" anchor="t" anchorCtr="0">
            <a:noAutofit/>
          </a:bodyPr>
          <a:lstStyle>
            <a:lvl1pPr marL="0" indent="0" algn="l">
              <a:buNone/>
              <a:defRPr sz="14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Klicka här för att ändra mall för underrubrikformat</a:t>
            </a:r>
          </a:p>
        </p:txBody>
      </p:sp>
      <p:sp>
        <p:nvSpPr>
          <p:cNvPr id="14" name="Platshållare för bild 12">
            <a:extLst>
              <a:ext uri="{FF2B5EF4-FFF2-40B4-BE49-F238E27FC236}">
                <a16:creationId xmlns:a16="http://schemas.microsoft.com/office/drawing/2014/main" id="{440E45C1-8119-40D6-9263-EAC57AB3744D}"/>
              </a:ext>
            </a:extLst>
          </p:cNvPr>
          <p:cNvSpPr>
            <a:spLocks noGrp="1"/>
          </p:cNvSpPr>
          <p:nvPr>
            <p:ph type="pic" sz="quarter" idx="10"/>
          </p:nvPr>
        </p:nvSpPr>
        <p:spPr>
          <a:xfrm>
            <a:off x="5545138" y="496888"/>
            <a:ext cx="3344862" cy="4220307"/>
          </a:xfrm>
          <a:custGeom>
            <a:avLst/>
            <a:gdLst>
              <a:gd name="connsiteX0" fmla="*/ 0 w 3115338"/>
              <a:gd name="connsiteY0" fmla="*/ 1620501 h 3241002"/>
              <a:gd name="connsiteX1" fmla="*/ 778835 w 3115338"/>
              <a:gd name="connsiteY1" fmla="*/ 1 h 3241002"/>
              <a:gd name="connsiteX2" fmla="*/ 2336504 w 3115338"/>
              <a:gd name="connsiteY2" fmla="*/ 1 h 3241002"/>
              <a:gd name="connsiteX3" fmla="*/ 3115338 w 3115338"/>
              <a:gd name="connsiteY3" fmla="*/ 1620501 h 3241002"/>
              <a:gd name="connsiteX4" fmla="*/ 2336504 w 3115338"/>
              <a:gd name="connsiteY4" fmla="*/ 3241001 h 3241002"/>
              <a:gd name="connsiteX5" fmla="*/ 778835 w 3115338"/>
              <a:gd name="connsiteY5" fmla="*/ 3241001 h 3241002"/>
              <a:gd name="connsiteX6" fmla="*/ 0 w 3115338"/>
              <a:gd name="connsiteY6" fmla="*/ 1620501 h 3241002"/>
              <a:gd name="connsiteX0" fmla="*/ 0 w 3093822"/>
              <a:gd name="connsiteY0" fmla="*/ 706100 h 3241000"/>
              <a:gd name="connsiteX1" fmla="*/ 757319 w 3093822"/>
              <a:gd name="connsiteY1" fmla="*/ 0 h 3241000"/>
              <a:gd name="connsiteX2" fmla="*/ 2314988 w 3093822"/>
              <a:gd name="connsiteY2" fmla="*/ 0 h 3241000"/>
              <a:gd name="connsiteX3" fmla="*/ 3093822 w 3093822"/>
              <a:gd name="connsiteY3" fmla="*/ 1620500 h 3241000"/>
              <a:gd name="connsiteX4" fmla="*/ 2314988 w 3093822"/>
              <a:gd name="connsiteY4" fmla="*/ 3241000 h 3241000"/>
              <a:gd name="connsiteX5" fmla="*/ 757319 w 3093822"/>
              <a:gd name="connsiteY5" fmla="*/ 3241000 h 3241000"/>
              <a:gd name="connsiteX6" fmla="*/ 0 w 3093822"/>
              <a:gd name="connsiteY6" fmla="*/ 706100 h 3241000"/>
              <a:gd name="connsiteX0" fmla="*/ 0 w 3093822"/>
              <a:gd name="connsiteY0" fmla="*/ 1157921 h 3692821"/>
              <a:gd name="connsiteX1" fmla="*/ 1542627 w 3093822"/>
              <a:gd name="connsiteY1" fmla="*/ 0 h 3692821"/>
              <a:gd name="connsiteX2" fmla="*/ 2314988 w 3093822"/>
              <a:gd name="connsiteY2" fmla="*/ 451821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093822"/>
              <a:gd name="connsiteY0" fmla="*/ 1157921 h 3692821"/>
              <a:gd name="connsiteX1" fmla="*/ 1542627 w 3093822"/>
              <a:gd name="connsiteY1" fmla="*/ 0 h 3692821"/>
              <a:gd name="connsiteX2" fmla="*/ 3089538 w 3093822"/>
              <a:gd name="connsiteY2" fmla="*/ 1151068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104579"/>
              <a:gd name="connsiteY0" fmla="*/ 1157921 h 3692821"/>
              <a:gd name="connsiteX1" fmla="*/ 1542627 w 3104579"/>
              <a:gd name="connsiteY1" fmla="*/ 0 h 3692821"/>
              <a:gd name="connsiteX2" fmla="*/ 3089538 w 3104579"/>
              <a:gd name="connsiteY2" fmla="*/ 1151068 h 3692821"/>
              <a:gd name="connsiteX3" fmla="*/ 3104579 w 3104579"/>
              <a:gd name="connsiteY3" fmla="*/ 2814598 h 3692821"/>
              <a:gd name="connsiteX4" fmla="*/ 2314988 w 3104579"/>
              <a:gd name="connsiteY4" fmla="*/ 3692821 h 3692821"/>
              <a:gd name="connsiteX5" fmla="*/ 757319 w 3104579"/>
              <a:gd name="connsiteY5" fmla="*/ 3692821 h 3692821"/>
              <a:gd name="connsiteX6" fmla="*/ 0 w 3104579"/>
              <a:gd name="connsiteY6" fmla="*/ 1157921 h 3692821"/>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757319 w 3104579"/>
              <a:gd name="connsiteY5" fmla="*/ 3692821 h 3994035"/>
              <a:gd name="connsiteX6" fmla="*/ 0 w 3104579"/>
              <a:gd name="connsiteY6" fmla="*/ 1157921 h 3994035"/>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57921 h 3994035"/>
              <a:gd name="connsiteX0" fmla="*/ 0 w 3104579"/>
              <a:gd name="connsiteY0" fmla="*/ 1168679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 name="connsiteX0" fmla="*/ 0 w 3104579"/>
              <a:gd name="connsiteY0" fmla="*/ 1168679 h 3994035"/>
              <a:gd name="connsiteX1" fmla="*/ 1542627 w 3104579"/>
              <a:gd name="connsiteY1" fmla="*/ 0 h 3994035"/>
              <a:gd name="connsiteX2" fmla="*/ 3100295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04579" h="3994035">
                <a:moveTo>
                  <a:pt x="0" y="1168679"/>
                </a:moveTo>
                <a:lnTo>
                  <a:pt x="1542627" y="0"/>
                </a:lnTo>
                <a:lnTo>
                  <a:pt x="3100295" y="1151068"/>
                </a:lnTo>
                <a:lnTo>
                  <a:pt x="3104579" y="2814598"/>
                </a:lnTo>
                <a:lnTo>
                  <a:pt x="1540438" y="3994035"/>
                </a:lnTo>
                <a:lnTo>
                  <a:pt x="4284" y="2853725"/>
                </a:lnTo>
                <a:lnTo>
                  <a:pt x="0" y="1168679"/>
                </a:lnTo>
                <a:close/>
              </a:path>
            </a:pathLst>
          </a:custGeom>
          <a:solidFill>
            <a:schemeClr val="bg1"/>
          </a:solidFill>
        </p:spPr>
        <p:txBody>
          <a:bodyPr>
            <a:normAutofit/>
          </a:bodyPr>
          <a:lstStyle/>
          <a:p>
            <a:endParaRPr lang="sv-SE"/>
          </a:p>
        </p:txBody>
      </p:sp>
    </p:spTree>
    <p:extLst>
      <p:ext uri="{BB962C8B-B14F-4D97-AF65-F5344CB8AC3E}">
        <p14:creationId xmlns:p14="http://schemas.microsoft.com/office/powerpoint/2010/main" val="35982771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Avsnit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175562D-8BE4-4E07-BD9B-7CEBE40A1A7F}"/>
              </a:ext>
            </a:extLst>
          </p:cNvPr>
          <p:cNvSpPr>
            <a:spLocks noGrp="1"/>
          </p:cNvSpPr>
          <p:nvPr>
            <p:ph type="ctrTitle"/>
          </p:nvPr>
        </p:nvSpPr>
        <p:spPr>
          <a:xfrm>
            <a:off x="1036638" y="1947982"/>
            <a:ext cx="4881152" cy="1438156"/>
          </a:xfrm>
        </p:spPr>
        <p:txBody>
          <a:bodyPr lIns="0" tIns="0" rIns="0" bIns="0" anchor="b" anchorCtr="0"/>
          <a:lstStyle>
            <a:lvl1pPr algn="l">
              <a:lnSpc>
                <a:spcPct val="100000"/>
              </a:lnSpc>
              <a:defRPr sz="2200"/>
            </a:lvl1pPr>
          </a:lstStyle>
          <a:p>
            <a:r>
              <a:rPr lang="sv-SE"/>
              <a:t>Klicka här för att ändra mall för rubrikformat</a:t>
            </a:r>
          </a:p>
        </p:txBody>
      </p:sp>
      <p:sp>
        <p:nvSpPr>
          <p:cNvPr id="3" name="Underrubrik 2">
            <a:extLst>
              <a:ext uri="{FF2B5EF4-FFF2-40B4-BE49-F238E27FC236}">
                <a16:creationId xmlns:a16="http://schemas.microsoft.com/office/drawing/2014/main" id="{2DB9F56F-2AD1-42EA-A8BF-E10C61A55E2D}"/>
              </a:ext>
            </a:extLst>
          </p:cNvPr>
          <p:cNvSpPr>
            <a:spLocks noGrp="1"/>
          </p:cNvSpPr>
          <p:nvPr>
            <p:ph type="subTitle" idx="1"/>
          </p:nvPr>
        </p:nvSpPr>
        <p:spPr>
          <a:xfrm>
            <a:off x="1036638" y="3513138"/>
            <a:ext cx="4187416" cy="814386"/>
          </a:xfrm>
        </p:spPr>
        <p:txBody>
          <a:bodyPr lIns="0" tIns="127000" rIns="0" bIns="0" anchor="t" anchorCtr="0">
            <a:noAutofit/>
          </a:bodyPr>
          <a:lstStyle>
            <a:lvl1pPr marL="0" indent="0" algn="l">
              <a:buNone/>
              <a:defRPr sz="14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Klicka här för att ändra mall för underrubrikformat</a:t>
            </a:r>
          </a:p>
        </p:txBody>
      </p:sp>
      <p:sp>
        <p:nvSpPr>
          <p:cNvPr id="14" name="Platshållare för bild 12">
            <a:extLst>
              <a:ext uri="{FF2B5EF4-FFF2-40B4-BE49-F238E27FC236}">
                <a16:creationId xmlns:a16="http://schemas.microsoft.com/office/drawing/2014/main" id="{440E45C1-8119-40D6-9263-EAC57AB3744D}"/>
              </a:ext>
            </a:extLst>
          </p:cNvPr>
          <p:cNvSpPr>
            <a:spLocks noGrp="1"/>
          </p:cNvSpPr>
          <p:nvPr>
            <p:ph type="pic" sz="quarter" idx="10" hasCustomPrompt="1"/>
          </p:nvPr>
        </p:nvSpPr>
        <p:spPr>
          <a:xfrm>
            <a:off x="5312954" y="-7620"/>
            <a:ext cx="3344862" cy="3288983"/>
          </a:xfrm>
          <a:custGeom>
            <a:avLst/>
            <a:gdLst>
              <a:gd name="connsiteX0" fmla="*/ 0 w 3115338"/>
              <a:gd name="connsiteY0" fmla="*/ 1620501 h 3241002"/>
              <a:gd name="connsiteX1" fmla="*/ 778835 w 3115338"/>
              <a:gd name="connsiteY1" fmla="*/ 1 h 3241002"/>
              <a:gd name="connsiteX2" fmla="*/ 2336504 w 3115338"/>
              <a:gd name="connsiteY2" fmla="*/ 1 h 3241002"/>
              <a:gd name="connsiteX3" fmla="*/ 3115338 w 3115338"/>
              <a:gd name="connsiteY3" fmla="*/ 1620501 h 3241002"/>
              <a:gd name="connsiteX4" fmla="*/ 2336504 w 3115338"/>
              <a:gd name="connsiteY4" fmla="*/ 3241001 h 3241002"/>
              <a:gd name="connsiteX5" fmla="*/ 778835 w 3115338"/>
              <a:gd name="connsiteY5" fmla="*/ 3241001 h 3241002"/>
              <a:gd name="connsiteX6" fmla="*/ 0 w 3115338"/>
              <a:gd name="connsiteY6" fmla="*/ 1620501 h 3241002"/>
              <a:gd name="connsiteX0" fmla="*/ 0 w 3093822"/>
              <a:gd name="connsiteY0" fmla="*/ 706100 h 3241000"/>
              <a:gd name="connsiteX1" fmla="*/ 757319 w 3093822"/>
              <a:gd name="connsiteY1" fmla="*/ 0 h 3241000"/>
              <a:gd name="connsiteX2" fmla="*/ 2314988 w 3093822"/>
              <a:gd name="connsiteY2" fmla="*/ 0 h 3241000"/>
              <a:gd name="connsiteX3" fmla="*/ 3093822 w 3093822"/>
              <a:gd name="connsiteY3" fmla="*/ 1620500 h 3241000"/>
              <a:gd name="connsiteX4" fmla="*/ 2314988 w 3093822"/>
              <a:gd name="connsiteY4" fmla="*/ 3241000 h 3241000"/>
              <a:gd name="connsiteX5" fmla="*/ 757319 w 3093822"/>
              <a:gd name="connsiteY5" fmla="*/ 3241000 h 3241000"/>
              <a:gd name="connsiteX6" fmla="*/ 0 w 3093822"/>
              <a:gd name="connsiteY6" fmla="*/ 706100 h 3241000"/>
              <a:gd name="connsiteX0" fmla="*/ 0 w 3093822"/>
              <a:gd name="connsiteY0" fmla="*/ 1157921 h 3692821"/>
              <a:gd name="connsiteX1" fmla="*/ 1542627 w 3093822"/>
              <a:gd name="connsiteY1" fmla="*/ 0 h 3692821"/>
              <a:gd name="connsiteX2" fmla="*/ 2314988 w 3093822"/>
              <a:gd name="connsiteY2" fmla="*/ 451821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093822"/>
              <a:gd name="connsiteY0" fmla="*/ 1157921 h 3692821"/>
              <a:gd name="connsiteX1" fmla="*/ 1542627 w 3093822"/>
              <a:gd name="connsiteY1" fmla="*/ 0 h 3692821"/>
              <a:gd name="connsiteX2" fmla="*/ 3089538 w 3093822"/>
              <a:gd name="connsiteY2" fmla="*/ 1151068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104579"/>
              <a:gd name="connsiteY0" fmla="*/ 1157921 h 3692821"/>
              <a:gd name="connsiteX1" fmla="*/ 1542627 w 3104579"/>
              <a:gd name="connsiteY1" fmla="*/ 0 h 3692821"/>
              <a:gd name="connsiteX2" fmla="*/ 3089538 w 3104579"/>
              <a:gd name="connsiteY2" fmla="*/ 1151068 h 3692821"/>
              <a:gd name="connsiteX3" fmla="*/ 3104579 w 3104579"/>
              <a:gd name="connsiteY3" fmla="*/ 2814598 h 3692821"/>
              <a:gd name="connsiteX4" fmla="*/ 2314988 w 3104579"/>
              <a:gd name="connsiteY4" fmla="*/ 3692821 h 3692821"/>
              <a:gd name="connsiteX5" fmla="*/ 757319 w 3104579"/>
              <a:gd name="connsiteY5" fmla="*/ 3692821 h 3692821"/>
              <a:gd name="connsiteX6" fmla="*/ 0 w 3104579"/>
              <a:gd name="connsiteY6" fmla="*/ 1157921 h 3692821"/>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757319 w 3104579"/>
              <a:gd name="connsiteY5" fmla="*/ 3692821 h 3994035"/>
              <a:gd name="connsiteX6" fmla="*/ 0 w 3104579"/>
              <a:gd name="connsiteY6" fmla="*/ 1157921 h 3994035"/>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57921 h 3994035"/>
              <a:gd name="connsiteX0" fmla="*/ 0 w 3104579"/>
              <a:gd name="connsiteY0" fmla="*/ 1168679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 name="connsiteX0" fmla="*/ 0 w 3104579"/>
              <a:gd name="connsiteY0" fmla="*/ 1168679 h 3994035"/>
              <a:gd name="connsiteX1" fmla="*/ 1542627 w 3104579"/>
              <a:gd name="connsiteY1" fmla="*/ 0 h 3994035"/>
              <a:gd name="connsiteX2" fmla="*/ 3100295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 name="connsiteX0" fmla="*/ 0 w 3104579"/>
              <a:gd name="connsiteY0" fmla="*/ 1168679 h 3994035"/>
              <a:gd name="connsiteX1" fmla="*/ 387310 w 3104579"/>
              <a:gd name="connsiteY1" fmla="*/ 881391 h 3994035"/>
              <a:gd name="connsiteX2" fmla="*/ 1542627 w 3104579"/>
              <a:gd name="connsiteY2" fmla="*/ 0 h 3994035"/>
              <a:gd name="connsiteX3" fmla="*/ 3100295 w 3104579"/>
              <a:gd name="connsiteY3" fmla="*/ 1151068 h 3994035"/>
              <a:gd name="connsiteX4" fmla="*/ 3104579 w 3104579"/>
              <a:gd name="connsiteY4" fmla="*/ 2814598 h 3994035"/>
              <a:gd name="connsiteX5" fmla="*/ 1540438 w 3104579"/>
              <a:gd name="connsiteY5" fmla="*/ 3994035 h 3994035"/>
              <a:gd name="connsiteX6" fmla="*/ 4284 w 3104579"/>
              <a:gd name="connsiteY6" fmla="*/ 2853725 h 3994035"/>
              <a:gd name="connsiteX7" fmla="*/ 0 w 3104579"/>
              <a:gd name="connsiteY7" fmla="*/ 1168679 h 3994035"/>
              <a:gd name="connsiteX0" fmla="*/ 0 w 3104579"/>
              <a:gd name="connsiteY0" fmla="*/ 1168679 h 3994035"/>
              <a:gd name="connsiteX1" fmla="*/ 387310 w 3104579"/>
              <a:gd name="connsiteY1" fmla="*/ 881391 h 3994035"/>
              <a:gd name="connsiteX2" fmla="*/ 1542627 w 3104579"/>
              <a:gd name="connsiteY2" fmla="*/ 0 h 3994035"/>
              <a:gd name="connsiteX3" fmla="*/ 2735415 w 3104579"/>
              <a:gd name="connsiteY3" fmla="*/ 888602 h 3994035"/>
              <a:gd name="connsiteX4" fmla="*/ 3100295 w 3104579"/>
              <a:gd name="connsiteY4" fmla="*/ 1151068 h 3994035"/>
              <a:gd name="connsiteX5" fmla="*/ 3104579 w 3104579"/>
              <a:gd name="connsiteY5" fmla="*/ 2814598 h 3994035"/>
              <a:gd name="connsiteX6" fmla="*/ 1540438 w 3104579"/>
              <a:gd name="connsiteY6" fmla="*/ 3994035 h 3994035"/>
              <a:gd name="connsiteX7" fmla="*/ 4284 w 3104579"/>
              <a:gd name="connsiteY7" fmla="*/ 2853725 h 3994035"/>
              <a:gd name="connsiteX8" fmla="*/ 0 w 3104579"/>
              <a:gd name="connsiteY8" fmla="*/ 1168679 h 3994035"/>
              <a:gd name="connsiteX0" fmla="*/ 0 w 3104579"/>
              <a:gd name="connsiteY0" fmla="*/ 959547 h 3784903"/>
              <a:gd name="connsiteX1" fmla="*/ 387310 w 3104579"/>
              <a:gd name="connsiteY1" fmla="*/ 672259 h 3784903"/>
              <a:gd name="connsiteX2" fmla="*/ 1592136 w 3104579"/>
              <a:gd name="connsiteY2" fmla="*/ 0 h 3784903"/>
              <a:gd name="connsiteX3" fmla="*/ 2735415 w 3104579"/>
              <a:gd name="connsiteY3" fmla="*/ 679470 h 3784903"/>
              <a:gd name="connsiteX4" fmla="*/ 3100295 w 3104579"/>
              <a:gd name="connsiteY4" fmla="*/ 941936 h 3784903"/>
              <a:gd name="connsiteX5" fmla="*/ 3104579 w 3104579"/>
              <a:gd name="connsiteY5" fmla="*/ 2605466 h 3784903"/>
              <a:gd name="connsiteX6" fmla="*/ 1540438 w 3104579"/>
              <a:gd name="connsiteY6" fmla="*/ 3784903 h 3784903"/>
              <a:gd name="connsiteX7" fmla="*/ 4284 w 3104579"/>
              <a:gd name="connsiteY7" fmla="*/ 2644593 h 3784903"/>
              <a:gd name="connsiteX8" fmla="*/ 0 w 3104579"/>
              <a:gd name="connsiteY8" fmla="*/ 959547 h 3784903"/>
              <a:gd name="connsiteX0" fmla="*/ 0 w 3104579"/>
              <a:gd name="connsiteY0" fmla="*/ 287288 h 3112644"/>
              <a:gd name="connsiteX1" fmla="*/ 387310 w 3104579"/>
              <a:gd name="connsiteY1" fmla="*/ 0 h 3112644"/>
              <a:gd name="connsiteX2" fmla="*/ 2735415 w 3104579"/>
              <a:gd name="connsiteY2" fmla="*/ 7211 h 3112644"/>
              <a:gd name="connsiteX3" fmla="*/ 3100295 w 3104579"/>
              <a:gd name="connsiteY3" fmla="*/ 269677 h 3112644"/>
              <a:gd name="connsiteX4" fmla="*/ 3104579 w 3104579"/>
              <a:gd name="connsiteY4" fmla="*/ 1933207 h 3112644"/>
              <a:gd name="connsiteX5" fmla="*/ 1540438 w 3104579"/>
              <a:gd name="connsiteY5" fmla="*/ 3112644 h 3112644"/>
              <a:gd name="connsiteX6" fmla="*/ 4284 w 3104579"/>
              <a:gd name="connsiteY6" fmla="*/ 1972334 h 3112644"/>
              <a:gd name="connsiteX7" fmla="*/ 0 w 3104579"/>
              <a:gd name="connsiteY7" fmla="*/ 287288 h 3112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4579" h="3112644">
                <a:moveTo>
                  <a:pt x="0" y="287288"/>
                </a:moveTo>
                <a:lnTo>
                  <a:pt x="387310" y="0"/>
                </a:lnTo>
                <a:lnTo>
                  <a:pt x="2735415" y="7211"/>
                </a:lnTo>
                <a:lnTo>
                  <a:pt x="3100295" y="269677"/>
                </a:lnTo>
                <a:lnTo>
                  <a:pt x="3104579" y="1933207"/>
                </a:lnTo>
                <a:lnTo>
                  <a:pt x="1540438" y="3112644"/>
                </a:lnTo>
                <a:lnTo>
                  <a:pt x="4284" y="1972334"/>
                </a:lnTo>
                <a:lnTo>
                  <a:pt x="0" y="287288"/>
                </a:lnTo>
                <a:close/>
              </a:path>
            </a:pathLst>
          </a:custGeom>
          <a:solidFill>
            <a:schemeClr val="bg1"/>
          </a:solidFill>
        </p:spPr>
        <p:txBody>
          <a:bodyPr>
            <a:normAutofit/>
          </a:bodyPr>
          <a:lstStyle>
            <a:lvl1pPr marL="0" indent="0">
              <a:buNone/>
              <a:defRPr/>
            </a:lvl1pPr>
          </a:lstStyle>
          <a:p>
            <a:r>
              <a:rPr lang="en-GB"/>
              <a:t> </a:t>
            </a:r>
            <a:r>
              <a:rPr lang="sv-SE"/>
              <a:t> </a:t>
            </a:r>
          </a:p>
        </p:txBody>
      </p:sp>
    </p:spTree>
    <p:extLst>
      <p:ext uri="{BB962C8B-B14F-4D97-AF65-F5344CB8AC3E}">
        <p14:creationId xmlns:p14="http://schemas.microsoft.com/office/powerpoint/2010/main" val="41166271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Avsnit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175562D-8BE4-4E07-BD9B-7CEBE40A1A7F}"/>
              </a:ext>
            </a:extLst>
          </p:cNvPr>
          <p:cNvSpPr>
            <a:spLocks noGrp="1"/>
          </p:cNvSpPr>
          <p:nvPr>
            <p:ph type="ctrTitle"/>
          </p:nvPr>
        </p:nvSpPr>
        <p:spPr>
          <a:xfrm>
            <a:off x="1036638" y="1947983"/>
            <a:ext cx="4881152" cy="1438156"/>
          </a:xfrm>
        </p:spPr>
        <p:txBody>
          <a:bodyPr lIns="0" tIns="0" rIns="0" bIns="0" anchor="b" anchorCtr="0"/>
          <a:lstStyle>
            <a:lvl1pPr algn="l">
              <a:lnSpc>
                <a:spcPct val="100000"/>
              </a:lnSpc>
              <a:defRPr sz="2200"/>
            </a:lvl1pPr>
          </a:lstStyle>
          <a:p>
            <a:r>
              <a:rPr lang="sv-SE"/>
              <a:t>Klicka här för att ändra mall för rubrikformat</a:t>
            </a:r>
          </a:p>
        </p:txBody>
      </p:sp>
      <p:sp>
        <p:nvSpPr>
          <p:cNvPr id="3" name="Underrubrik 2">
            <a:extLst>
              <a:ext uri="{FF2B5EF4-FFF2-40B4-BE49-F238E27FC236}">
                <a16:creationId xmlns:a16="http://schemas.microsoft.com/office/drawing/2014/main" id="{2DB9F56F-2AD1-42EA-A8BF-E10C61A55E2D}"/>
              </a:ext>
            </a:extLst>
          </p:cNvPr>
          <p:cNvSpPr>
            <a:spLocks noGrp="1"/>
          </p:cNvSpPr>
          <p:nvPr>
            <p:ph type="subTitle" idx="1"/>
          </p:nvPr>
        </p:nvSpPr>
        <p:spPr>
          <a:xfrm>
            <a:off x="1036638" y="3513139"/>
            <a:ext cx="4187416" cy="814386"/>
          </a:xfrm>
        </p:spPr>
        <p:txBody>
          <a:bodyPr lIns="0" tIns="127000" rIns="0" bIns="0" anchor="t" anchorCtr="0">
            <a:noAutofit/>
          </a:bodyPr>
          <a:lstStyle>
            <a:lvl1pPr marL="0" indent="0" algn="l">
              <a:buNone/>
              <a:defRPr sz="14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Klicka här för att ändra mall för underrubrikformat</a:t>
            </a:r>
          </a:p>
        </p:txBody>
      </p:sp>
      <p:sp>
        <p:nvSpPr>
          <p:cNvPr id="5" name="Platshållare för bild 12">
            <a:extLst>
              <a:ext uri="{FF2B5EF4-FFF2-40B4-BE49-F238E27FC236}">
                <a16:creationId xmlns:a16="http://schemas.microsoft.com/office/drawing/2014/main" id="{0A5BD08F-4921-4A09-9FBD-CDB9A9F49C3B}"/>
              </a:ext>
            </a:extLst>
          </p:cNvPr>
          <p:cNvSpPr>
            <a:spLocks noGrp="1"/>
          </p:cNvSpPr>
          <p:nvPr>
            <p:ph type="pic" sz="quarter" idx="10" hasCustomPrompt="1"/>
          </p:nvPr>
        </p:nvSpPr>
        <p:spPr>
          <a:xfrm>
            <a:off x="5312954" y="-7620"/>
            <a:ext cx="3344862" cy="3288983"/>
          </a:xfrm>
          <a:custGeom>
            <a:avLst/>
            <a:gdLst>
              <a:gd name="connsiteX0" fmla="*/ 0 w 3115338"/>
              <a:gd name="connsiteY0" fmla="*/ 1620501 h 3241002"/>
              <a:gd name="connsiteX1" fmla="*/ 778835 w 3115338"/>
              <a:gd name="connsiteY1" fmla="*/ 1 h 3241002"/>
              <a:gd name="connsiteX2" fmla="*/ 2336504 w 3115338"/>
              <a:gd name="connsiteY2" fmla="*/ 1 h 3241002"/>
              <a:gd name="connsiteX3" fmla="*/ 3115338 w 3115338"/>
              <a:gd name="connsiteY3" fmla="*/ 1620501 h 3241002"/>
              <a:gd name="connsiteX4" fmla="*/ 2336504 w 3115338"/>
              <a:gd name="connsiteY4" fmla="*/ 3241001 h 3241002"/>
              <a:gd name="connsiteX5" fmla="*/ 778835 w 3115338"/>
              <a:gd name="connsiteY5" fmla="*/ 3241001 h 3241002"/>
              <a:gd name="connsiteX6" fmla="*/ 0 w 3115338"/>
              <a:gd name="connsiteY6" fmla="*/ 1620501 h 3241002"/>
              <a:gd name="connsiteX0" fmla="*/ 0 w 3093822"/>
              <a:gd name="connsiteY0" fmla="*/ 706100 h 3241000"/>
              <a:gd name="connsiteX1" fmla="*/ 757319 w 3093822"/>
              <a:gd name="connsiteY1" fmla="*/ 0 h 3241000"/>
              <a:gd name="connsiteX2" fmla="*/ 2314988 w 3093822"/>
              <a:gd name="connsiteY2" fmla="*/ 0 h 3241000"/>
              <a:gd name="connsiteX3" fmla="*/ 3093822 w 3093822"/>
              <a:gd name="connsiteY3" fmla="*/ 1620500 h 3241000"/>
              <a:gd name="connsiteX4" fmla="*/ 2314988 w 3093822"/>
              <a:gd name="connsiteY4" fmla="*/ 3241000 h 3241000"/>
              <a:gd name="connsiteX5" fmla="*/ 757319 w 3093822"/>
              <a:gd name="connsiteY5" fmla="*/ 3241000 h 3241000"/>
              <a:gd name="connsiteX6" fmla="*/ 0 w 3093822"/>
              <a:gd name="connsiteY6" fmla="*/ 706100 h 3241000"/>
              <a:gd name="connsiteX0" fmla="*/ 0 w 3093822"/>
              <a:gd name="connsiteY0" fmla="*/ 1157921 h 3692821"/>
              <a:gd name="connsiteX1" fmla="*/ 1542627 w 3093822"/>
              <a:gd name="connsiteY1" fmla="*/ 0 h 3692821"/>
              <a:gd name="connsiteX2" fmla="*/ 2314988 w 3093822"/>
              <a:gd name="connsiteY2" fmla="*/ 451821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093822"/>
              <a:gd name="connsiteY0" fmla="*/ 1157921 h 3692821"/>
              <a:gd name="connsiteX1" fmla="*/ 1542627 w 3093822"/>
              <a:gd name="connsiteY1" fmla="*/ 0 h 3692821"/>
              <a:gd name="connsiteX2" fmla="*/ 3089538 w 3093822"/>
              <a:gd name="connsiteY2" fmla="*/ 1151068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104579"/>
              <a:gd name="connsiteY0" fmla="*/ 1157921 h 3692821"/>
              <a:gd name="connsiteX1" fmla="*/ 1542627 w 3104579"/>
              <a:gd name="connsiteY1" fmla="*/ 0 h 3692821"/>
              <a:gd name="connsiteX2" fmla="*/ 3089538 w 3104579"/>
              <a:gd name="connsiteY2" fmla="*/ 1151068 h 3692821"/>
              <a:gd name="connsiteX3" fmla="*/ 3104579 w 3104579"/>
              <a:gd name="connsiteY3" fmla="*/ 2814598 h 3692821"/>
              <a:gd name="connsiteX4" fmla="*/ 2314988 w 3104579"/>
              <a:gd name="connsiteY4" fmla="*/ 3692821 h 3692821"/>
              <a:gd name="connsiteX5" fmla="*/ 757319 w 3104579"/>
              <a:gd name="connsiteY5" fmla="*/ 3692821 h 3692821"/>
              <a:gd name="connsiteX6" fmla="*/ 0 w 3104579"/>
              <a:gd name="connsiteY6" fmla="*/ 1157921 h 3692821"/>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757319 w 3104579"/>
              <a:gd name="connsiteY5" fmla="*/ 3692821 h 3994035"/>
              <a:gd name="connsiteX6" fmla="*/ 0 w 3104579"/>
              <a:gd name="connsiteY6" fmla="*/ 1157921 h 3994035"/>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57921 h 3994035"/>
              <a:gd name="connsiteX0" fmla="*/ 0 w 3104579"/>
              <a:gd name="connsiteY0" fmla="*/ 1168679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 name="connsiteX0" fmla="*/ 0 w 3104579"/>
              <a:gd name="connsiteY0" fmla="*/ 1168679 h 3994035"/>
              <a:gd name="connsiteX1" fmla="*/ 1542627 w 3104579"/>
              <a:gd name="connsiteY1" fmla="*/ 0 h 3994035"/>
              <a:gd name="connsiteX2" fmla="*/ 3100295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 name="connsiteX0" fmla="*/ 0 w 3104579"/>
              <a:gd name="connsiteY0" fmla="*/ 1168679 h 3994035"/>
              <a:gd name="connsiteX1" fmla="*/ 387310 w 3104579"/>
              <a:gd name="connsiteY1" fmla="*/ 881391 h 3994035"/>
              <a:gd name="connsiteX2" fmla="*/ 1542627 w 3104579"/>
              <a:gd name="connsiteY2" fmla="*/ 0 h 3994035"/>
              <a:gd name="connsiteX3" fmla="*/ 3100295 w 3104579"/>
              <a:gd name="connsiteY3" fmla="*/ 1151068 h 3994035"/>
              <a:gd name="connsiteX4" fmla="*/ 3104579 w 3104579"/>
              <a:gd name="connsiteY4" fmla="*/ 2814598 h 3994035"/>
              <a:gd name="connsiteX5" fmla="*/ 1540438 w 3104579"/>
              <a:gd name="connsiteY5" fmla="*/ 3994035 h 3994035"/>
              <a:gd name="connsiteX6" fmla="*/ 4284 w 3104579"/>
              <a:gd name="connsiteY6" fmla="*/ 2853725 h 3994035"/>
              <a:gd name="connsiteX7" fmla="*/ 0 w 3104579"/>
              <a:gd name="connsiteY7" fmla="*/ 1168679 h 3994035"/>
              <a:gd name="connsiteX0" fmla="*/ 0 w 3104579"/>
              <a:gd name="connsiteY0" fmla="*/ 1168679 h 3994035"/>
              <a:gd name="connsiteX1" fmla="*/ 387310 w 3104579"/>
              <a:gd name="connsiteY1" fmla="*/ 881391 h 3994035"/>
              <a:gd name="connsiteX2" fmla="*/ 1542627 w 3104579"/>
              <a:gd name="connsiteY2" fmla="*/ 0 h 3994035"/>
              <a:gd name="connsiteX3" fmla="*/ 2735415 w 3104579"/>
              <a:gd name="connsiteY3" fmla="*/ 888602 h 3994035"/>
              <a:gd name="connsiteX4" fmla="*/ 3100295 w 3104579"/>
              <a:gd name="connsiteY4" fmla="*/ 1151068 h 3994035"/>
              <a:gd name="connsiteX5" fmla="*/ 3104579 w 3104579"/>
              <a:gd name="connsiteY5" fmla="*/ 2814598 h 3994035"/>
              <a:gd name="connsiteX6" fmla="*/ 1540438 w 3104579"/>
              <a:gd name="connsiteY6" fmla="*/ 3994035 h 3994035"/>
              <a:gd name="connsiteX7" fmla="*/ 4284 w 3104579"/>
              <a:gd name="connsiteY7" fmla="*/ 2853725 h 3994035"/>
              <a:gd name="connsiteX8" fmla="*/ 0 w 3104579"/>
              <a:gd name="connsiteY8" fmla="*/ 1168679 h 3994035"/>
              <a:gd name="connsiteX0" fmla="*/ 0 w 3104579"/>
              <a:gd name="connsiteY0" fmla="*/ 959547 h 3784903"/>
              <a:gd name="connsiteX1" fmla="*/ 387310 w 3104579"/>
              <a:gd name="connsiteY1" fmla="*/ 672259 h 3784903"/>
              <a:gd name="connsiteX2" fmla="*/ 1592136 w 3104579"/>
              <a:gd name="connsiteY2" fmla="*/ 0 h 3784903"/>
              <a:gd name="connsiteX3" fmla="*/ 2735415 w 3104579"/>
              <a:gd name="connsiteY3" fmla="*/ 679470 h 3784903"/>
              <a:gd name="connsiteX4" fmla="*/ 3100295 w 3104579"/>
              <a:gd name="connsiteY4" fmla="*/ 941936 h 3784903"/>
              <a:gd name="connsiteX5" fmla="*/ 3104579 w 3104579"/>
              <a:gd name="connsiteY5" fmla="*/ 2605466 h 3784903"/>
              <a:gd name="connsiteX6" fmla="*/ 1540438 w 3104579"/>
              <a:gd name="connsiteY6" fmla="*/ 3784903 h 3784903"/>
              <a:gd name="connsiteX7" fmla="*/ 4284 w 3104579"/>
              <a:gd name="connsiteY7" fmla="*/ 2644593 h 3784903"/>
              <a:gd name="connsiteX8" fmla="*/ 0 w 3104579"/>
              <a:gd name="connsiteY8" fmla="*/ 959547 h 3784903"/>
              <a:gd name="connsiteX0" fmla="*/ 0 w 3104579"/>
              <a:gd name="connsiteY0" fmla="*/ 287288 h 3112644"/>
              <a:gd name="connsiteX1" fmla="*/ 387310 w 3104579"/>
              <a:gd name="connsiteY1" fmla="*/ 0 h 3112644"/>
              <a:gd name="connsiteX2" fmla="*/ 2735415 w 3104579"/>
              <a:gd name="connsiteY2" fmla="*/ 7211 h 3112644"/>
              <a:gd name="connsiteX3" fmla="*/ 3100295 w 3104579"/>
              <a:gd name="connsiteY3" fmla="*/ 269677 h 3112644"/>
              <a:gd name="connsiteX4" fmla="*/ 3104579 w 3104579"/>
              <a:gd name="connsiteY4" fmla="*/ 1933207 h 3112644"/>
              <a:gd name="connsiteX5" fmla="*/ 1540438 w 3104579"/>
              <a:gd name="connsiteY5" fmla="*/ 3112644 h 3112644"/>
              <a:gd name="connsiteX6" fmla="*/ 4284 w 3104579"/>
              <a:gd name="connsiteY6" fmla="*/ 1972334 h 3112644"/>
              <a:gd name="connsiteX7" fmla="*/ 0 w 3104579"/>
              <a:gd name="connsiteY7" fmla="*/ 287288 h 3112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4579" h="3112644">
                <a:moveTo>
                  <a:pt x="0" y="287288"/>
                </a:moveTo>
                <a:lnTo>
                  <a:pt x="387310" y="0"/>
                </a:lnTo>
                <a:lnTo>
                  <a:pt x="2735415" y="7211"/>
                </a:lnTo>
                <a:lnTo>
                  <a:pt x="3100295" y="269677"/>
                </a:lnTo>
                <a:lnTo>
                  <a:pt x="3104579" y="1933207"/>
                </a:lnTo>
                <a:lnTo>
                  <a:pt x="1540438" y="3112644"/>
                </a:lnTo>
                <a:lnTo>
                  <a:pt x="4284" y="1972334"/>
                </a:lnTo>
                <a:lnTo>
                  <a:pt x="0" y="287288"/>
                </a:lnTo>
                <a:close/>
              </a:path>
            </a:pathLst>
          </a:custGeom>
          <a:solidFill>
            <a:schemeClr val="bg1"/>
          </a:solidFill>
        </p:spPr>
        <p:txBody>
          <a:bodyPr>
            <a:normAutofit/>
          </a:bodyPr>
          <a:lstStyle>
            <a:lvl1pPr marL="0" indent="0">
              <a:buNone/>
              <a:defRPr/>
            </a:lvl1pPr>
          </a:lstStyle>
          <a:p>
            <a:r>
              <a:rPr lang="en-GB"/>
              <a:t> </a:t>
            </a:r>
            <a:r>
              <a:rPr lang="sv-SE"/>
              <a:t> </a:t>
            </a:r>
          </a:p>
        </p:txBody>
      </p:sp>
    </p:spTree>
    <p:extLst>
      <p:ext uri="{BB962C8B-B14F-4D97-AF65-F5344CB8AC3E}">
        <p14:creationId xmlns:p14="http://schemas.microsoft.com/office/powerpoint/2010/main" val="173822778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Avsnit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175562D-8BE4-4E07-BD9B-7CEBE40A1A7F}"/>
              </a:ext>
            </a:extLst>
          </p:cNvPr>
          <p:cNvSpPr>
            <a:spLocks noGrp="1"/>
          </p:cNvSpPr>
          <p:nvPr>
            <p:ph type="ctrTitle"/>
          </p:nvPr>
        </p:nvSpPr>
        <p:spPr>
          <a:xfrm>
            <a:off x="1036638" y="1947983"/>
            <a:ext cx="4881152" cy="1438156"/>
          </a:xfrm>
        </p:spPr>
        <p:txBody>
          <a:bodyPr lIns="0" tIns="0" rIns="0" bIns="0" anchor="b" anchorCtr="0"/>
          <a:lstStyle>
            <a:lvl1pPr algn="l">
              <a:lnSpc>
                <a:spcPct val="100000"/>
              </a:lnSpc>
              <a:defRPr sz="2200">
                <a:solidFill>
                  <a:schemeClr val="tx2"/>
                </a:solidFill>
              </a:defRPr>
            </a:lvl1pPr>
          </a:lstStyle>
          <a:p>
            <a:r>
              <a:rPr lang="sv-SE"/>
              <a:t>Klicka här för att ändra mall för rubrikformat</a:t>
            </a:r>
          </a:p>
        </p:txBody>
      </p:sp>
      <p:sp>
        <p:nvSpPr>
          <p:cNvPr id="3" name="Underrubrik 2">
            <a:extLst>
              <a:ext uri="{FF2B5EF4-FFF2-40B4-BE49-F238E27FC236}">
                <a16:creationId xmlns:a16="http://schemas.microsoft.com/office/drawing/2014/main" id="{2DB9F56F-2AD1-42EA-A8BF-E10C61A55E2D}"/>
              </a:ext>
            </a:extLst>
          </p:cNvPr>
          <p:cNvSpPr>
            <a:spLocks noGrp="1"/>
          </p:cNvSpPr>
          <p:nvPr>
            <p:ph type="subTitle" idx="1"/>
          </p:nvPr>
        </p:nvSpPr>
        <p:spPr>
          <a:xfrm>
            <a:off x="1036638" y="3513139"/>
            <a:ext cx="4187416" cy="814386"/>
          </a:xfrm>
        </p:spPr>
        <p:txBody>
          <a:bodyPr lIns="0" tIns="127000" rIns="0" bIns="0" anchor="t" anchorCtr="0">
            <a:noAutofit/>
          </a:bodyPr>
          <a:lstStyle>
            <a:lvl1pPr marL="0" indent="0" algn="l">
              <a:buNone/>
              <a:defRPr sz="140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Klicka här för att ändra mall för underrubrikformat</a:t>
            </a:r>
          </a:p>
        </p:txBody>
      </p:sp>
      <p:sp>
        <p:nvSpPr>
          <p:cNvPr id="8" name="Platshållare för bild 12">
            <a:extLst>
              <a:ext uri="{FF2B5EF4-FFF2-40B4-BE49-F238E27FC236}">
                <a16:creationId xmlns:a16="http://schemas.microsoft.com/office/drawing/2014/main" id="{612A0B56-6CEA-4855-9D29-F693E2E3F30E}"/>
              </a:ext>
            </a:extLst>
          </p:cNvPr>
          <p:cNvSpPr>
            <a:spLocks noGrp="1"/>
          </p:cNvSpPr>
          <p:nvPr>
            <p:ph type="pic" sz="quarter" idx="10" hasCustomPrompt="1"/>
          </p:nvPr>
        </p:nvSpPr>
        <p:spPr>
          <a:xfrm>
            <a:off x="5312954" y="-7620"/>
            <a:ext cx="3344862" cy="3288983"/>
          </a:xfrm>
          <a:custGeom>
            <a:avLst/>
            <a:gdLst>
              <a:gd name="connsiteX0" fmla="*/ 0 w 3115338"/>
              <a:gd name="connsiteY0" fmla="*/ 1620501 h 3241002"/>
              <a:gd name="connsiteX1" fmla="*/ 778835 w 3115338"/>
              <a:gd name="connsiteY1" fmla="*/ 1 h 3241002"/>
              <a:gd name="connsiteX2" fmla="*/ 2336504 w 3115338"/>
              <a:gd name="connsiteY2" fmla="*/ 1 h 3241002"/>
              <a:gd name="connsiteX3" fmla="*/ 3115338 w 3115338"/>
              <a:gd name="connsiteY3" fmla="*/ 1620501 h 3241002"/>
              <a:gd name="connsiteX4" fmla="*/ 2336504 w 3115338"/>
              <a:gd name="connsiteY4" fmla="*/ 3241001 h 3241002"/>
              <a:gd name="connsiteX5" fmla="*/ 778835 w 3115338"/>
              <a:gd name="connsiteY5" fmla="*/ 3241001 h 3241002"/>
              <a:gd name="connsiteX6" fmla="*/ 0 w 3115338"/>
              <a:gd name="connsiteY6" fmla="*/ 1620501 h 3241002"/>
              <a:gd name="connsiteX0" fmla="*/ 0 w 3093822"/>
              <a:gd name="connsiteY0" fmla="*/ 706100 h 3241000"/>
              <a:gd name="connsiteX1" fmla="*/ 757319 w 3093822"/>
              <a:gd name="connsiteY1" fmla="*/ 0 h 3241000"/>
              <a:gd name="connsiteX2" fmla="*/ 2314988 w 3093822"/>
              <a:gd name="connsiteY2" fmla="*/ 0 h 3241000"/>
              <a:gd name="connsiteX3" fmla="*/ 3093822 w 3093822"/>
              <a:gd name="connsiteY3" fmla="*/ 1620500 h 3241000"/>
              <a:gd name="connsiteX4" fmla="*/ 2314988 w 3093822"/>
              <a:gd name="connsiteY4" fmla="*/ 3241000 h 3241000"/>
              <a:gd name="connsiteX5" fmla="*/ 757319 w 3093822"/>
              <a:gd name="connsiteY5" fmla="*/ 3241000 h 3241000"/>
              <a:gd name="connsiteX6" fmla="*/ 0 w 3093822"/>
              <a:gd name="connsiteY6" fmla="*/ 706100 h 3241000"/>
              <a:gd name="connsiteX0" fmla="*/ 0 w 3093822"/>
              <a:gd name="connsiteY0" fmla="*/ 1157921 h 3692821"/>
              <a:gd name="connsiteX1" fmla="*/ 1542627 w 3093822"/>
              <a:gd name="connsiteY1" fmla="*/ 0 h 3692821"/>
              <a:gd name="connsiteX2" fmla="*/ 2314988 w 3093822"/>
              <a:gd name="connsiteY2" fmla="*/ 451821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093822"/>
              <a:gd name="connsiteY0" fmla="*/ 1157921 h 3692821"/>
              <a:gd name="connsiteX1" fmla="*/ 1542627 w 3093822"/>
              <a:gd name="connsiteY1" fmla="*/ 0 h 3692821"/>
              <a:gd name="connsiteX2" fmla="*/ 3089538 w 3093822"/>
              <a:gd name="connsiteY2" fmla="*/ 1151068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104579"/>
              <a:gd name="connsiteY0" fmla="*/ 1157921 h 3692821"/>
              <a:gd name="connsiteX1" fmla="*/ 1542627 w 3104579"/>
              <a:gd name="connsiteY1" fmla="*/ 0 h 3692821"/>
              <a:gd name="connsiteX2" fmla="*/ 3089538 w 3104579"/>
              <a:gd name="connsiteY2" fmla="*/ 1151068 h 3692821"/>
              <a:gd name="connsiteX3" fmla="*/ 3104579 w 3104579"/>
              <a:gd name="connsiteY3" fmla="*/ 2814598 h 3692821"/>
              <a:gd name="connsiteX4" fmla="*/ 2314988 w 3104579"/>
              <a:gd name="connsiteY4" fmla="*/ 3692821 h 3692821"/>
              <a:gd name="connsiteX5" fmla="*/ 757319 w 3104579"/>
              <a:gd name="connsiteY5" fmla="*/ 3692821 h 3692821"/>
              <a:gd name="connsiteX6" fmla="*/ 0 w 3104579"/>
              <a:gd name="connsiteY6" fmla="*/ 1157921 h 3692821"/>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757319 w 3104579"/>
              <a:gd name="connsiteY5" fmla="*/ 3692821 h 3994035"/>
              <a:gd name="connsiteX6" fmla="*/ 0 w 3104579"/>
              <a:gd name="connsiteY6" fmla="*/ 1157921 h 3994035"/>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57921 h 3994035"/>
              <a:gd name="connsiteX0" fmla="*/ 0 w 3104579"/>
              <a:gd name="connsiteY0" fmla="*/ 1168679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 name="connsiteX0" fmla="*/ 0 w 3104579"/>
              <a:gd name="connsiteY0" fmla="*/ 1168679 h 3994035"/>
              <a:gd name="connsiteX1" fmla="*/ 1542627 w 3104579"/>
              <a:gd name="connsiteY1" fmla="*/ 0 h 3994035"/>
              <a:gd name="connsiteX2" fmla="*/ 3100295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 name="connsiteX0" fmla="*/ 0 w 3104579"/>
              <a:gd name="connsiteY0" fmla="*/ 1168679 h 3994035"/>
              <a:gd name="connsiteX1" fmla="*/ 387310 w 3104579"/>
              <a:gd name="connsiteY1" fmla="*/ 881391 h 3994035"/>
              <a:gd name="connsiteX2" fmla="*/ 1542627 w 3104579"/>
              <a:gd name="connsiteY2" fmla="*/ 0 h 3994035"/>
              <a:gd name="connsiteX3" fmla="*/ 3100295 w 3104579"/>
              <a:gd name="connsiteY3" fmla="*/ 1151068 h 3994035"/>
              <a:gd name="connsiteX4" fmla="*/ 3104579 w 3104579"/>
              <a:gd name="connsiteY4" fmla="*/ 2814598 h 3994035"/>
              <a:gd name="connsiteX5" fmla="*/ 1540438 w 3104579"/>
              <a:gd name="connsiteY5" fmla="*/ 3994035 h 3994035"/>
              <a:gd name="connsiteX6" fmla="*/ 4284 w 3104579"/>
              <a:gd name="connsiteY6" fmla="*/ 2853725 h 3994035"/>
              <a:gd name="connsiteX7" fmla="*/ 0 w 3104579"/>
              <a:gd name="connsiteY7" fmla="*/ 1168679 h 3994035"/>
              <a:gd name="connsiteX0" fmla="*/ 0 w 3104579"/>
              <a:gd name="connsiteY0" fmla="*/ 1168679 h 3994035"/>
              <a:gd name="connsiteX1" fmla="*/ 387310 w 3104579"/>
              <a:gd name="connsiteY1" fmla="*/ 881391 h 3994035"/>
              <a:gd name="connsiteX2" fmla="*/ 1542627 w 3104579"/>
              <a:gd name="connsiteY2" fmla="*/ 0 h 3994035"/>
              <a:gd name="connsiteX3" fmla="*/ 2735415 w 3104579"/>
              <a:gd name="connsiteY3" fmla="*/ 888602 h 3994035"/>
              <a:gd name="connsiteX4" fmla="*/ 3100295 w 3104579"/>
              <a:gd name="connsiteY4" fmla="*/ 1151068 h 3994035"/>
              <a:gd name="connsiteX5" fmla="*/ 3104579 w 3104579"/>
              <a:gd name="connsiteY5" fmla="*/ 2814598 h 3994035"/>
              <a:gd name="connsiteX6" fmla="*/ 1540438 w 3104579"/>
              <a:gd name="connsiteY6" fmla="*/ 3994035 h 3994035"/>
              <a:gd name="connsiteX7" fmla="*/ 4284 w 3104579"/>
              <a:gd name="connsiteY7" fmla="*/ 2853725 h 3994035"/>
              <a:gd name="connsiteX8" fmla="*/ 0 w 3104579"/>
              <a:gd name="connsiteY8" fmla="*/ 1168679 h 3994035"/>
              <a:gd name="connsiteX0" fmla="*/ 0 w 3104579"/>
              <a:gd name="connsiteY0" fmla="*/ 959547 h 3784903"/>
              <a:gd name="connsiteX1" fmla="*/ 387310 w 3104579"/>
              <a:gd name="connsiteY1" fmla="*/ 672259 h 3784903"/>
              <a:gd name="connsiteX2" fmla="*/ 1592136 w 3104579"/>
              <a:gd name="connsiteY2" fmla="*/ 0 h 3784903"/>
              <a:gd name="connsiteX3" fmla="*/ 2735415 w 3104579"/>
              <a:gd name="connsiteY3" fmla="*/ 679470 h 3784903"/>
              <a:gd name="connsiteX4" fmla="*/ 3100295 w 3104579"/>
              <a:gd name="connsiteY4" fmla="*/ 941936 h 3784903"/>
              <a:gd name="connsiteX5" fmla="*/ 3104579 w 3104579"/>
              <a:gd name="connsiteY5" fmla="*/ 2605466 h 3784903"/>
              <a:gd name="connsiteX6" fmla="*/ 1540438 w 3104579"/>
              <a:gd name="connsiteY6" fmla="*/ 3784903 h 3784903"/>
              <a:gd name="connsiteX7" fmla="*/ 4284 w 3104579"/>
              <a:gd name="connsiteY7" fmla="*/ 2644593 h 3784903"/>
              <a:gd name="connsiteX8" fmla="*/ 0 w 3104579"/>
              <a:gd name="connsiteY8" fmla="*/ 959547 h 3784903"/>
              <a:gd name="connsiteX0" fmla="*/ 0 w 3104579"/>
              <a:gd name="connsiteY0" fmla="*/ 287288 h 3112644"/>
              <a:gd name="connsiteX1" fmla="*/ 387310 w 3104579"/>
              <a:gd name="connsiteY1" fmla="*/ 0 h 3112644"/>
              <a:gd name="connsiteX2" fmla="*/ 2735415 w 3104579"/>
              <a:gd name="connsiteY2" fmla="*/ 7211 h 3112644"/>
              <a:gd name="connsiteX3" fmla="*/ 3100295 w 3104579"/>
              <a:gd name="connsiteY3" fmla="*/ 269677 h 3112644"/>
              <a:gd name="connsiteX4" fmla="*/ 3104579 w 3104579"/>
              <a:gd name="connsiteY4" fmla="*/ 1933207 h 3112644"/>
              <a:gd name="connsiteX5" fmla="*/ 1540438 w 3104579"/>
              <a:gd name="connsiteY5" fmla="*/ 3112644 h 3112644"/>
              <a:gd name="connsiteX6" fmla="*/ 4284 w 3104579"/>
              <a:gd name="connsiteY6" fmla="*/ 1972334 h 3112644"/>
              <a:gd name="connsiteX7" fmla="*/ 0 w 3104579"/>
              <a:gd name="connsiteY7" fmla="*/ 287288 h 3112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4579" h="3112644">
                <a:moveTo>
                  <a:pt x="0" y="287288"/>
                </a:moveTo>
                <a:lnTo>
                  <a:pt x="387310" y="0"/>
                </a:lnTo>
                <a:lnTo>
                  <a:pt x="2735415" y="7211"/>
                </a:lnTo>
                <a:lnTo>
                  <a:pt x="3100295" y="269677"/>
                </a:lnTo>
                <a:lnTo>
                  <a:pt x="3104579" y="1933207"/>
                </a:lnTo>
                <a:lnTo>
                  <a:pt x="1540438" y="3112644"/>
                </a:lnTo>
                <a:lnTo>
                  <a:pt x="4284" y="1972334"/>
                </a:lnTo>
                <a:lnTo>
                  <a:pt x="0" y="287288"/>
                </a:lnTo>
                <a:close/>
              </a:path>
            </a:pathLst>
          </a:custGeom>
          <a:solidFill>
            <a:schemeClr val="bg1"/>
          </a:solidFill>
        </p:spPr>
        <p:txBody>
          <a:bodyPr>
            <a:normAutofit/>
          </a:bodyPr>
          <a:lstStyle>
            <a:lvl1pPr marL="0" indent="0">
              <a:buNone/>
              <a:defRPr/>
            </a:lvl1pPr>
          </a:lstStyle>
          <a:p>
            <a:r>
              <a:rPr lang="en-GB"/>
              <a:t> </a:t>
            </a:r>
            <a:r>
              <a:rPr lang="sv-SE"/>
              <a:t> </a:t>
            </a:r>
          </a:p>
        </p:txBody>
      </p:sp>
    </p:spTree>
    <p:extLst>
      <p:ext uri="{BB962C8B-B14F-4D97-AF65-F5344CB8AC3E}">
        <p14:creationId xmlns:p14="http://schemas.microsoft.com/office/powerpoint/2010/main" val="25875845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Avsnit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175562D-8BE4-4E07-BD9B-7CEBE40A1A7F}"/>
              </a:ext>
            </a:extLst>
          </p:cNvPr>
          <p:cNvSpPr>
            <a:spLocks noGrp="1"/>
          </p:cNvSpPr>
          <p:nvPr>
            <p:ph type="ctrTitle"/>
          </p:nvPr>
        </p:nvSpPr>
        <p:spPr>
          <a:xfrm>
            <a:off x="1163638" y="1947983"/>
            <a:ext cx="4881152" cy="1438156"/>
          </a:xfrm>
        </p:spPr>
        <p:txBody>
          <a:bodyPr lIns="0" tIns="0" rIns="0" bIns="0" anchor="b" anchorCtr="0"/>
          <a:lstStyle>
            <a:lvl1pPr algn="l">
              <a:lnSpc>
                <a:spcPct val="100000"/>
              </a:lnSpc>
              <a:defRPr sz="2200">
                <a:solidFill>
                  <a:schemeClr val="tx2"/>
                </a:solidFill>
              </a:defRPr>
            </a:lvl1pPr>
          </a:lstStyle>
          <a:p>
            <a:r>
              <a:rPr lang="sv-SE"/>
              <a:t>Klicka här för att ändra mall för rubrikformat</a:t>
            </a:r>
          </a:p>
        </p:txBody>
      </p:sp>
      <p:sp>
        <p:nvSpPr>
          <p:cNvPr id="3" name="Underrubrik 2">
            <a:extLst>
              <a:ext uri="{FF2B5EF4-FFF2-40B4-BE49-F238E27FC236}">
                <a16:creationId xmlns:a16="http://schemas.microsoft.com/office/drawing/2014/main" id="{2DB9F56F-2AD1-42EA-A8BF-E10C61A55E2D}"/>
              </a:ext>
            </a:extLst>
          </p:cNvPr>
          <p:cNvSpPr>
            <a:spLocks noGrp="1"/>
          </p:cNvSpPr>
          <p:nvPr>
            <p:ph type="subTitle" idx="1"/>
          </p:nvPr>
        </p:nvSpPr>
        <p:spPr>
          <a:xfrm>
            <a:off x="1163638" y="3513139"/>
            <a:ext cx="4187416" cy="814386"/>
          </a:xfrm>
        </p:spPr>
        <p:txBody>
          <a:bodyPr lIns="0" tIns="127000" rIns="0" bIns="0" anchor="t" anchorCtr="0">
            <a:noAutofit/>
          </a:bodyPr>
          <a:lstStyle>
            <a:lvl1pPr marL="0" indent="0" algn="l">
              <a:buNone/>
              <a:defRPr sz="140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Klicka här för att ändra mall för underrubrikformat</a:t>
            </a:r>
          </a:p>
        </p:txBody>
      </p:sp>
      <p:sp>
        <p:nvSpPr>
          <p:cNvPr id="5" name="Platshållare för bild 12">
            <a:extLst>
              <a:ext uri="{FF2B5EF4-FFF2-40B4-BE49-F238E27FC236}">
                <a16:creationId xmlns:a16="http://schemas.microsoft.com/office/drawing/2014/main" id="{2B26F70E-6AEA-4478-BD29-2AC776FA0836}"/>
              </a:ext>
            </a:extLst>
          </p:cNvPr>
          <p:cNvSpPr>
            <a:spLocks noGrp="1"/>
          </p:cNvSpPr>
          <p:nvPr>
            <p:ph type="pic" sz="quarter" idx="10" hasCustomPrompt="1"/>
          </p:nvPr>
        </p:nvSpPr>
        <p:spPr>
          <a:xfrm>
            <a:off x="5312954" y="-7620"/>
            <a:ext cx="3344862" cy="3288983"/>
          </a:xfrm>
          <a:custGeom>
            <a:avLst/>
            <a:gdLst>
              <a:gd name="connsiteX0" fmla="*/ 0 w 3115338"/>
              <a:gd name="connsiteY0" fmla="*/ 1620501 h 3241002"/>
              <a:gd name="connsiteX1" fmla="*/ 778835 w 3115338"/>
              <a:gd name="connsiteY1" fmla="*/ 1 h 3241002"/>
              <a:gd name="connsiteX2" fmla="*/ 2336504 w 3115338"/>
              <a:gd name="connsiteY2" fmla="*/ 1 h 3241002"/>
              <a:gd name="connsiteX3" fmla="*/ 3115338 w 3115338"/>
              <a:gd name="connsiteY3" fmla="*/ 1620501 h 3241002"/>
              <a:gd name="connsiteX4" fmla="*/ 2336504 w 3115338"/>
              <a:gd name="connsiteY4" fmla="*/ 3241001 h 3241002"/>
              <a:gd name="connsiteX5" fmla="*/ 778835 w 3115338"/>
              <a:gd name="connsiteY5" fmla="*/ 3241001 h 3241002"/>
              <a:gd name="connsiteX6" fmla="*/ 0 w 3115338"/>
              <a:gd name="connsiteY6" fmla="*/ 1620501 h 3241002"/>
              <a:gd name="connsiteX0" fmla="*/ 0 w 3093822"/>
              <a:gd name="connsiteY0" fmla="*/ 706100 h 3241000"/>
              <a:gd name="connsiteX1" fmla="*/ 757319 w 3093822"/>
              <a:gd name="connsiteY1" fmla="*/ 0 h 3241000"/>
              <a:gd name="connsiteX2" fmla="*/ 2314988 w 3093822"/>
              <a:gd name="connsiteY2" fmla="*/ 0 h 3241000"/>
              <a:gd name="connsiteX3" fmla="*/ 3093822 w 3093822"/>
              <a:gd name="connsiteY3" fmla="*/ 1620500 h 3241000"/>
              <a:gd name="connsiteX4" fmla="*/ 2314988 w 3093822"/>
              <a:gd name="connsiteY4" fmla="*/ 3241000 h 3241000"/>
              <a:gd name="connsiteX5" fmla="*/ 757319 w 3093822"/>
              <a:gd name="connsiteY5" fmla="*/ 3241000 h 3241000"/>
              <a:gd name="connsiteX6" fmla="*/ 0 w 3093822"/>
              <a:gd name="connsiteY6" fmla="*/ 706100 h 3241000"/>
              <a:gd name="connsiteX0" fmla="*/ 0 w 3093822"/>
              <a:gd name="connsiteY0" fmla="*/ 1157921 h 3692821"/>
              <a:gd name="connsiteX1" fmla="*/ 1542627 w 3093822"/>
              <a:gd name="connsiteY1" fmla="*/ 0 h 3692821"/>
              <a:gd name="connsiteX2" fmla="*/ 2314988 w 3093822"/>
              <a:gd name="connsiteY2" fmla="*/ 451821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093822"/>
              <a:gd name="connsiteY0" fmla="*/ 1157921 h 3692821"/>
              <a:gd name="connsiteX1" fmla="*/ 1542627 w 3093822"/>
              <a:gd name="connsiteY1" fmla="*/ 0 h 3692821"/>
              <a:gd name="connsiteX2" fmla="*/ 3089538 w 3093822"/>
              <a:gd name="connsiteY2" fmla="*/ 1151068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104579"/>
              <a:gd name="connsiteY0" fmla="*/ 1157921 h 3692821"/>
              <a:gd name="connsiteX1" fmla="*/ 1542627 w 3104579"/>
              <a:gd name="connsiteY1" fmla="*/ 0 h 3692821"/>
              <a:gd name="connsiteX2" fmla="*/ 3089538 w 3104579"/>
              <a:gd name="connsiteY2" fmla="*/ 1151068 h 3692821"/>
              <a:gd name="connsiteX3" fmla="*/ 3104579 w 3104579"/>
              <a:gd name="connsiteY3" fmla="*/ 2814598 h 3692821"/>
              <a:gd name="connsiteX4" fmla="*/ 2314988 w 3104579"/>
              <a:gd name="connsiteY4" fmla="*/ 3692821 h 3692821"/>
              <a:gd name="connsiteX5" fmla="*/ 757319 w 3104579"/>
              <a:gd name="connsiteY5" fmla="*/ 3692821 h 3692821"/>
              <a:gd name="connsiteX6" fmla="*/ 0 w 3104579"/>
              <a:gd name="connsiteY6" fmla="*/ 1157921 h 3692821"/>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757319 w 3104579"/>
              <a:gd name="connsiteY5" fmla="*/ 3692821 h 3994035"/>
              <a:gd name="connsiteX6" fmla="*/ 0 w 3104579"/>
              <a:gd name="connsiteY6" fmla="*/ 1157921 h 3994035"/>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57921 h 3994035"/>
              <a:gd name="connsiteX0" fmla="*/ 0 w 3104579"/>
              <a:gd name="connsiteY0" fmla="*/ 1168679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 name="connsiteX0" fmla="*/ 0 w 3104579"/>
              <a:gd name="connsiteY0" fmla="*/ 1168679 h 3994035"/>
              <a:gd name="connsiteX1" fmla="*/ 1542627 w 3104579"/>
              <a:gd name="connsiteY1" fmla="*/ 0 h 3994035"/>
              <a:gd name="connsiteX2" fmla="*/ 3100295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 name="connsiteX0" fmla="*/ 0 w 3104579"/>
              <a:gd name="connsiteY0" fmla="*/ 1168679 h 3994035"/>
              <a:gd name="connsiteX1" fmla="*/ 387310 w 3104579"/>
              <a:gd name="connsiteY1" fmla="*/ 881391 h 3994035"/>
              <a:gd name="connsiteX2" fmla="*/ 1542627 w 3104579"/>
              <a:gd name="connsiteY2" fmla="*/ 0 h 3994035"/>
              <a:gd name="connsiteX3" fmla="*/ 3100295 w 3104579"/>
              <a:gd name="connsiteY3" fmla="*/ 1151068 h 3994035"/>
              <a:gd name="connsiteX4" fmla="*/ 3104579 w 3104579"/>
              <a:gd name="connsiteY4" fmla="*/ 2814598 h 3994035"/>
              <a:gd name="connsiteX5" fmla="*/ 1540438 w 3104579"/>
              <a:gd name="connsiteY5" fmla="*/ 3994035 h 3994035"/>
              <a:gd name="connsiteX6" fmla="*/ 4284 w 3104579"/>
              <a:gd name="connsiteY6" fmla="*/ 2853725 h 3994035"/>
              <a:gd name="connsiteX7" fmla="*/ 0 w 3104579"/>
              <a:gd name="connsiteY7" fmla="*/ 1168679 h 3994035"/>
              <a:gd name="connsiteX0" fmla="*/ 0 w 3104579"/>
              <a:gd name="connsiteY0" fmla="*/ 1168679 h 3994035"/>
              <a:gd name="connsiteX1" fmla="*/ 387310 w 3104579"/>
              <a:gd name="connsiteY1" fmla="*/ 881391 h 3994035"/>
              <a:gd name="connsiteX2" fmla="*/ 1542627 w 3104579"/>
              <a:gd name="connsiteY2" fmla="*/ 0 h 3994035"/>
              <a:gd name="connsiteX3" fmla="*/ 2735415 w 3104579"/>
              <a:gd name="connsiteY3" fmla="*/ 888602 h 3994035"/>
              <a:gd name="connsiteX4" fmla="*/ 3100295 w 3104579"/>
              <a:gd name="connsiteY4" fmla="*/ 1151068 h 3994035"/>
              <a:gd name="connsiteX5" fmla="*/ 3104579 w 3104579"/>
              <a:gd name="connsiteY5" fmla="*/ 2814598 h 3994035"/>
              <a:gd name="connsiteX6" fmla="*/ 1540438 w 3104579"/>
              <a:gd name="connsiteY6" fmla="*/ 3994035 h 3994035"/>
              <a:gd name="connsiteX7" fmla="*/ 4284 w 3104579"/>
              <a:gd name="connsiteY7" fmla="*/ 2853725 h 3994035"/>
              <a:gd name="connsiteX8" fmla="*/ 0 w 3104579"/>
              <a:gd name="connsiteY8" fmla="*/ 1168679 h 3994035"/>
              <a:gd name="connsiteX0" fmla="*/ 0 w 3104579"/>
              <a:gd name="connsiteY0" fmla="*/ 959547 h 3784903"/>
              <a:gd name="connsiteX1" fmla="*/ 387310 w 3104579"/>
              <a:gd name="connsiteY1" fmla="*/ 672259 h 3784903"/>
              <a:gd name="connsiteX2" fmla="*/ 1592136 w 3104579"/>
              <a:gd name="connsiteY2" fmla="*/ 0 h 3784903"/>
              <a:gd name="connsiteX3" fmla="*/ 2735415 w 3104579"/>
              <a:gd name="connsiteY3" fmla="*/ 679470 h 3784903"/>
              <a:gd name="connsiteX4" fmla="*/ 3100295 w 3104579"/>
              <a:gd name="connsiteY4" fmla="*/ 941936 h 3784903"/>
              <a:gd name="connsiteX5" fmla="*/ 3104579 w 3104579"/>
              <a:gd name="connsiteY5" fmla="*/ 2605466 h 3784903"/>
              <a:gd name="connsiteX6" fmla="*/ 1540438 w 3104579"/>
              <a:gd name="connsiteY6" fmla="*/ 3784903 h 3784903"/>
              <a:gd name="connsiteX7" fmla="*/ 4284 w 3104579"/>
              <a:gd name="connsiteY7" fmla="*/ 2644593 h 3784903"/>
              <a:gd name="connsiteX8" fmla="*/ 0 w 3104579"/>
              <a:gd name="connsiteY8" fmla="*/ 959547 h 3784903"/>
              <a:gd name="connsiteX0" fmla="*/ 0 w 3104579"/>
              <a:gd name="connsiteY0" fmla="*/ 287288 h 3112644"/>
              <a:gd name="connsiteX1" fmla="*/ 387310 w 3104579"/>
              <a:gd name="connsiteY1" fmla="*/ 0 h 3112644"/>
              <a:gd name="connsiteX2" fmla="*/ 2735415 w 3104579"/>
              <a:gd name="connsiteY2" fmla="*/ 7211 h 3112644"/>
              <a:gd name="connsiteX3" fmla="*/ 3100295 w 3104579"/>
              <a:gd name="connsiteY3" fmla="*/ 269677 h 3112644"/>
              <a:gd name="connsiteX4" fmla="*/ 3104579 w 3104579"/>
              <a:gd name="connsiteY4" fmla="*/ 1933207 h 3112644"/>
              <a:gd name="connsiteX5" fmla="*/ 1540438 w 3104579"/>
              <a:gd name="connsiteY5" fmla="*/ 3112644 h 3112644"/>
              <a:gd name="connsiteX6" fmla="*/ 4284 w 3104579"/>
              <a:gd name="connsiteY6" fmla="*/ 1972334 h 3112644"/>
              <a:gd name="connsiteX7" fmla="*/ 0 w 3104579"/>
              <a:gd name="connsiteY7" fmla="*/ 287288 h 3112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4579" h="3112644">
                <a:moveTo>
                  <a:pt x="0" y="287288"/>
                </a:moveTo>
                <a:lnTo>
                  <a:pt x="387310" y="0"/>
                </a:lnTo>
                <a:lnTo>
                  <a:pt x="2735415" y="7211"/>
                </a:lnTo>
                <a:lnTo>
                  <a:pt x="3100295" y="269677"/>
                </a:lnTo>
                <a:lnTo>
                  <a:pt x="3104579" y="1933207"/>
                </a:lnTo>
                <a:lnTo>
                  <a:pt x="1540438" y="3112644"/>
                </a:lnTo>
                <a:lnTo>
                  <a:pt x="4284" y="1972334"/>
                </a:lnTo>
                <a:lnTo>
                  <a:pt x="0" y="287288"/>
                </a:lnTo>
                <a:close/>
              </a:path>
            </a:pathLst>
          </a:custGeom>
          <a:solidFill>
            <a:schemeClr val="bg1"/>
          </a:solidFill>
        </p:spPr>
        <p:txBody>
          <a:bodyPr>
            <a:normAutofit/>
          </a:bodyPr>
          <a:lstStyle>
            <a:lvl1pPr marL="0" indent="0">
              <a:buNone/>
              <a:defRPr/>
            </a:lvl1pPr>
          </a:lstStyle>
          <a:p>
            <a:r>
              <a:rPr lang="en-GB"/>
              <a:t> </a:t>
            </a:r>
            <a:r>
              <a:rPr lang="sv-SE"/>
              <a:t> </a:t>
            </a:r>
          </a:p>
        </p:txBody>
      </p:sp>
    </p:spTree>
    <p:extLst>
      <p:ext uri="{BB962C8B-B14F-4D97-AF65-F5344CB8AC3E}">
        <p14:creationId xmlns:p14="http://schemas.microsoft.com/office/powerpoint/2010/main" val="16434955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Avsnitt">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175562D-8BE4-4E07-BD9B-7CEBE40A1A7F}"/>
              </a:ext>
            </a:extLst>
          </p:cNvPr>
          <p:cNvSpPr>
            <a:spLocks noGrp="1"/>
          </p:cNvSpPr>
          <p:nvPr>
            <p:ph type="ctrTitle"/>
          </p:nvPr>
        </p:nvSpPr>
        <p:spPr>
          <a:xfrm>
            <a:off x="1163638" y="1947983"/>
            <a:ext cx="4881152" cy="1438155"/>
          </a:xfrm>
        </p:spPr>
        <p:txBody>
          <a:bodyPr lIns="0" tIns="0" rIns="0" bIns="0" anchor="b" anchorCtr="0"/>
          <a:lstStyle>
            <a:lvl1pPr algn="l">
              <a:lnSpc>
                <a:spcPct val="100000"/>
              </a:lnSpc>
              <a:defRPr sz="2200">
                <a:solidFill>
                  <a:schemeClr val="tx2"/>
                </a:solidFill>
              </a:defRPr>
            </a:lvl1pPr>
          </a:lstStyle>
          <a:p>
            <a:r>
              <a:rPr lang="sv-SE"/>
              <a:t>Klicka här för att ändra mall för rubrikformat</a:t>
            </a:r>
          </a:p>
        </p:txBody>
      </p:sp>
      <p:sp>
        <p:nvSpPr>
          <p:cNvPr id="3" name="Underrubrik 2">
            <a:extLst>
              <a:ext uri="{FF2B5EF4-FFF2-40B4-BE49-F238E27FC236}">
                <a16:creationId xmlns:a16="http://schemas.microsoft.com/office/drawing/2014/main" id="{2DB9F56F-2AD1-42EA-A8BF-E10C61A55E2D}"/>
              </a:ext>
            </a:extLst>
          </p:cNvPr>
          <p:cNvSpPr>
            <a:spLocks noGrp="1"/>
          </p:cNvSpPr>
          <p:nvPr>
            <p:ph type="subTitle" idx="1"/>
          </p:nvPr>
        </p:nvSpPr>
        <p:spPr>
          <a:xfrm>
            <a:off x="1163638" y="3513139"/>
            <a:ext cx="4187416" cy="814386"/>
          </a:xfrm>
        </p:spPr>
        <p:txBody>
          <a:bodyPr lIns="0" tIns="127000" rIns="0" bIns="0" anchor="t" anchorCtr="0">
            <a:noAutofit/>
          </a:bodyPr>
          <a:lstStyle>
            <a:lvl1pPr marL="0" indent="0" algn="l">
              <a:buNone/>
              <a:defRPr sz="140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Klicka här för att ändra mall för underrubrikformat</a:t>
            </a:r>
          </a:p>
        </p:txBody>
      </p:sp>
      <p:sp>
        <p:nvSpPr>
          <p:cNvPr id="9" name="Platshållare för bild 12">
            <a:extLst>
              <a:ext uri="{FF2B5EF4-FFF2-40B4-BE49-F238E27FC236}">
                <a16:creationId xmlns:a16="http://schemas.microsoft.com/office/drawing/2014/main" id="{03825CCF-BA42-4BA6-AE8D-F63299AF3D91}"/>
              </a:ext>
            </a:extLst>
          </p:cNvPr>
          <p:cNvSpPr>
            <a:spLocks noGrp="1"/>
          </p:cNvSpPr>
          <p:nvPr>
            <p:ph type="pic" sz="quarter" idx="10" hasCustomPrompt="1"/>
          </p:nvPr>
        </p:nvSpPr>
        <p:spPr>
          <a:xfrm>
            <a:off x="5312954" y="-7620"/>
            <a:ext cx="3344862" cy="3288983"/>
          </a:xfrm>
          <a:custGeom>
            <a:avLst/>
            <a:gdLst>
              <a:gd name="connsiteX0" fmla="*/ 0 w 3115338"/>
              <a:gd name="connsiteY0" fmla="*/ 1620501 h 3241002"/>
              <a:gd name="connsiteX1" fmla="*/ 778835 w 3115338"/>
              <a:gd name="connsiteY1" fmla="*/ 1 h 3241002"/>
              <a:gd name="connsiteX2" fmla="*/ 2336504 w 3115338"/>
              <a:gd name="connsiteY2" fmla="*/ 1 h 3241002"/>
              <a:gd name="connsiteX3" fmla="*/ 3115338 w 3115338"/>
              <a:gd name="connsiteY3" fmla="*/ 1620501 h 3241002"/>
              <a:gd name="connsiteX4" fmla="*/ 2336504 w 3115338"/>
              <a:gd name="connsiteY4" fmla="*/ 3241001 h 3241002"/>
              <a:gd name="connsiteX5" fmla="*/ 778835 w 3115338"/>
              <a:gd name="connsiteY5" fmla="*/ 3241001 h 3241002"/>
              <a:gd name="connsiteX6" fmla="*/ 0 w 3115338"/>
              <a:gd name="connsiteY6" fmla="*/ 1620501 h 3241002"/>
              <a:gd name="connsiteX0" fmla="*/ 0 w 3093822"/>
              <a:gd name="connsiteY0" fmla="*/ 706100 h 3241000"/>
              <a:gd name="connsiteX1" fmla="*/ 757319 w 3093822"/>
              <a:gd name="connsiteY1" fmla="*/ 0 h 3241000"/>
              <a:gd name="connsiteX2" fmla="*/ 2314988 w 3093822"/>
              <a:gd name="connsiteY2" fmla="*/ 0 h 3241000"/>
              <a:gd name="connsiteX3" fmla="*/ 3093822 w 3093822"/>
              <a:gd name="connsiteY3" fmla="*/ 1620500 h 3241000"/>
              <a:gd name="connsiteX4" fmla="*/ 2314988 w 3093822"/>
              <a:gd name="connsiteY4" fmla="*/ 3241000 h 3241000"/>
              <a:gd name="connsiteX5" fmla="*/ 757319 w 3093822"/>
              <a:gd name="connsiteY5" fmla="*/ 3241000 h 3241000"/>
              <a:gd name="connsiteX6" fmla="*/ 0 w 3093822"/>
              <a:gd name="connsiteY6" fmla="*/ 706100 h 3241000"/>
              <a:gd name="connsiteX0" fmla="*/ 0 w 3093822"/>
              <a:gd name="connsiteY0" fmla="*/ 1157921 h 3692821"/>
              <a:gd name="connsiteX1" fmla="*/ 1542627 w 3093822"/>
              <a:gd name="connsiteY1" fmla="*/ 0 h 3692821"/>
              <a:gd name="connsiteX2" fmla="*/ 2314988 w 3093822"/>
              <a:gd name="connsiteY2" fmla="*/ 451821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093822"/>
              <a:gd name="connsiteY0" fmla="*/ 1157921 h 3692821"/>
              <a:gd name="connsiteX1" fmla="*/ 1542627 w 3093822"/>
              <a:gd name="connsiteY1" fmla="*/ 0 h 3692821"/>
              <a:gd name="connsiteX2" fmla="*/ 3089538 w 3093822"/>
              <a:gd name="connsiteY2" fmla="*/ 1151068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104579"/>
              <a:gd name="connsiteY0" fmla="*/ 1157921 h 3692821"/>
              <a:gd name="connsiteX1" fmla="*/ 1542627 w 3104579"/>
              <a:gd name="connsiteY1" fmla="*/ 0 h 3692821"/>
              <a:gd name="connsiteX2" fmla="*/ 3089538 w 3104579"/>
              <a:gd name="connsiteY2" fmla="*/ 1151068 h 3692821"/>
              <a:gd name="connsiteX3" fmla="*/ 3104579 w 3104579"/>
              <a:gd name="connsiteY3" fmla="*/ 2814598 h 3692821"/>
              <a:gd name="connsiteX4" fmla="*/ 2314988 w 3104579"/>
              <a:gd name="connsiteY4" fmla="*/ 3692821 h 3692821"/>
              <a:gd name="connsiteX5" fmla="*/ 757319 w 3104579"/>
              <a:gd name="connsiteY5" fmla="*/ 3692821 h 3692821"/>
              <a:gd name="connsiteX6" fmla="*/ 0 w 3104579"/>
              <a:gd name="connsiteY6" fmla="*/ 1157921 h 3692821"/>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757319 w 3104579"/>
              <a:gd name="connsiteY5" fmla="*/ 3692821 h 3994035"/>
              <a:gd name="connsiteX6" fmla="*/ 0 w 3104579"/>
              <a:gd name="connsiteY6" fmla="*/ 1157921 h 3994035"/>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57921 h 3994035"/>
              <a:gd name="connsiteX0" fmla="*/ 0 w 3104579"/>
              <a:gd name="connsiteY0" fmla="*/ 1168679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 name="connsiteX0" fmla="*/ 0 w 3104579"/>
              <a:gd name="connsiteY0" fmla="*/ 1168679 h 3994035"/>
              <a:gd name="connsiteX1" fmla="*/ 1542627 w 3104579"/>
              <a:gd name="connsiteY1" fmla="*/ 0 h 3994035"/>
              <a:gd name="connsiteX2" fmla="*/ 3100295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 name="connsiteX0" fmla="*/ 0 w 3104579"/>
              <a:gd name="connsiteY0" fmla="*/ 1168679 h 3994035"/>
              <a:gd name="connsiteX1" fmla="*/ 387310 w 3104579"/>
              <a:gd name="connsiteY1" fmla="*/ 881391 h 3994035"/>
              <a:gd name="connsiteX2" fmla="*/ 1542627 w 3104579"/>
              <a:gd name="connsiteY2" fmla="*/ 0 h 3994035"/>
              <a:gd name="connsiteX3" fmla="*/ 3100295 w 3104579"/>
              <a:gd name="connsiteY3" fmla="*/ 1151068 h 3994035"/>
              <a:gd name="connsiteX4" fmla="*/ 3104579 w 3104579"/>
              <a:gd name="connsiteY4" fmla="*/ 2814598 h 3994035"/>
              <a:gd name="connsiteX5" fmla="*/ 1540438 w 3104579"/>
              <a:gd name="connsiteY5" fmla="*/ 3994035 h 3994035"/>
              <a:gd name="connsiteX6" fmla="*/ 4284 w 3104579"/>
              <a:gd name="connsiteY6" fmla="*/ 2853725 h 3994035"/>
              <a:gd name="connsiteX7" fmla="*/ 0 w 3104579"/>
              <a:gd name="connsiteY7" fmla="*/ 1168679 h 3994035"/>
              <a:gd name="connsiteX0" fmla="*/ 0 w 3104579"/>
              <a:gd name="connsiteY0" fmla="*/ 1168679 h 3994035"/>
              <a:gd name="connsiteX1" fmla="*/ 387310 w 3104579"/>
              <a:gd name="connsiteY1" fmla="*/ 881391 h 3994035"/>
              <a:gd name="connsiteX2" fmla="*/ 1542627 w 3104579"/>
              <a:gd name="connsiteY2" fmla="*/ 0 h 3994035"/>
              <a:gd name="connsiteX3" fmla="*/ 2735415 w 3104579"/>
              <a:gd name="connsiteY3" fmla="*/ 888602 h 3994035"/>
              <a:gd name="connsiteX4" fmla="*/ 3100295 w 3104579"/>
              <a:gd name="connsiteY4" fmla="*/ 1151068 h 3994035"/>
              <a:gd name="connsiteX5" fmla="*/ 3104579 w 3104579"/>
              <a:gd name="connsiteY5" fmla="*/ 2814598 h 3994035"/>
              <a:gd name="connsiteX6" fmla="*/ 1540438 w 3104579"/>
              <a:gd name="connsiteY6" fmla="*/ 3994035 h 3994035"/>
              <a:gd name="connsiteX7" fmla="*/ 4284 w 3104579"/>
              <a:gd name="connsiteY7" fmla="*/ 2853725 h 3994035"/>
              <a:gd name="connsiteX8" fmla="*/ 0 w 3104579"/>
              <a:gd name="connsiteY8" fmla="*/ 1168679 h 3994035"/>
              <a:gd name="connsiteX0" fmla="*/ 0 w 3104579"/>
              <a:gd name="connsiteY0" fmla="*/ 959547 h 3784903"/>
              <a:gd name="connsiteX1" fmla="*/ 387310 w 3104579"/>
              <a:gd name="connsiteY1" fmla="*/ 672259 h 3784903"/>
              <a:gd name="connsiteX2" fmla="*/ 1592136 w 3104579"/>
              <a:gd name="connsiteY2" fmla="*/ 0 h 3784903"/>
              <a:gd name="connsiteX3" fmla="*/ 2735415 w 3104579"/>
              <a:gd name="connsiteY3" fmla="*/ 679470 h 3784903"/>
              <a:gd name="connsiteX4" fmla="*/ 3100295 w 3104579"/>
              <a:gd name="connsiteY4" fmla="*/ 941936 h 3784903"/>
              <a:gd name="connsiteX5" fmla="*/ 3104579 w 3104579"/>
              <a:gd name="connsiteY5" fmla="*/ 2605466 h 3784903"/>
              <a:gd name="connsiteX6" fmla="*/ 1540438 w 3104579"/>
              <a:gd name="connsiteY6" fmla="*/ 3784903 h 3784903"/>
              <a:gd name="connsiteX7" fmla="*/ 4284 w 3104579"/>
              <a:gd name="connsiteY7" fmla="*/ 2644593 h 3784903"/>
              <a:gd name="connsiteX8" fmla="*/ 0 w 3104579"/>
              <a:gd name="connsiteY8" fmla="*/ 959547 h 3784903"/>
              <a:gd name="connsiteX0" fmla="*/ 0 w 3104579"/>
              <a:gd name="connsiteY0" fmla="*/ 287288 h 3112644"/>
              <a:gd name="connsiteX1" fmla="*/ 387310 w 3104579"/>
              <a:gd name="connsiteY1" fmla="*/ 0 h 3112644"/>
              <a:gd name="connsiteX2" fmla="*/ 2735415 w 3104579"/>
              <a:gd name="connsiteY2" fmla="*/ 7211 h 3112644"/>
              <a:gd name="connsiteX3" fmla="*/ 3100295 w 3104579"/>
              <a:gd name="connsiteY3" fmla="*/ 269677 h 3112644"/>
              <a:gd name="connsiteX4" fmla="*/ 3104579 w 3104579"/>
              <a:gd name="connsiteY4" fmla="*/ 1933207 h 3112644"/>
              <a:gd name="connsiteX5" fmla="*/ 1540438 w 3104579"/>
              <a:gd name="connsiteY5" fmla="*/ 3112644 h 3112644"/>
              <a:gd name="connsiteX6" fmla="*/ 4284 w 3104579"/>
              <a:gd name="connsiteY6" fmla="*/ 1972334 h 3112644"/>
              <a:gd name="connsiteX7" fmla="*/ 0 w 3104579"/>
              <a:gd name="connsiteY7" fmla="*/ 287288 h 3112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4579" h="3112644">
                <a:moveTo>
                  <a:pt x="0" y="287288"/>
                </a:moveTo>
                <a:lnTo>
                  <a:pt x="387310" y="0"/>
                </a:lnTo>
                <a:lnTo>
                  <a:pt x="2735415" y="7211"/>
                </a:lnTo>
                <a:lnTo>
                  <a:pt x="3100295" y="269677"/>
                </a:lnTo>
                <a:lnTo>
                  <a:pt x="3104579" y="1933207"/>
                </a:lnTo>
                <a:lnTo>
                  <a:pt x="1540438" y="3112644"/>
                </a:lnTo>
                <a:lnTo>
                  <a:pt x="4284" y="1972334"/>
                </a:lnTo>
                <a:lnTo>
                  <a:pt x="0" y="287288"/>
                </a:lnTo>
                <a:close/>
              </a:path>
            </a:pathLst>
          </a:custGeom>
          <a:solidFill>
            <a:schemeClr val="bg1"/>
          </a:solidFill>
        </p:spPr>
        <p:txBody>
          <a:bodyPr>
            <a:normAutofit/>
          </a:bodyPr>
          <a:lstStyle>
            <a:lvl1pPr marL="0" indent="0">
              <a:buNone/>
              <a:defRPr/>
            </a:lvl1pPr>
          </a:lstStyle>
          <a:p>
            <a:r>
              <a:rPr lang="en-GB"/>
              <a:t> </a:t>
            </a:r>
            <a:r>
              <a:rPr lang="sv-SE"/>
              <a:t> </a:t>
            </a:r>
          </a:p>
        </p:txBody>
      </p:sp>
    </p:spTree>
    <p:extLst>
      <p:ext uri="{BB962C8B-B14F-4D97-AF65-F5344CB8AC3E}">
        <p14:creationId xmlns:p14="http://schemas.microsoft.com/office/powerpoint/2010/main" val="40229260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Section White 2">
    <p:bg>
      <p:bgPr>
        <a:solidFill>
          <a:schemeClr val="bg1"/>
        </a:solidFill>
        <a:effectLst/>
      </p:bgPr>
    </p:bg>
    <p:spTree>
      <p:nvGrpSpPr>
        <p:cNvPr id="1" name=""/>
        <p:cNvGrpSpPr/>
        <p:nvPr/>
      </p:nvGrpSpPr>
      <p:grpSpPr>
        <a:xfrm>
          <a:off x="0" y="0"/>
          <a:ext cx="0" cy="0"/>
          <a:chOff x="0" y="0"/>
          <a:chExt cx="0" cy="0"/>
        </a:xfrm>
      </p:grpSpPr>
      <p:sp>
        <p:nvSpPr>
          <p:cNvPr id="8" name="Platshållare för bild 7"/>
          <p:cNvSpPr>
            <a:spLocks noGrp="1"/>
          </p:cNvSpPr>
          <p:nvPr>
            <p:ph type="pic" sz="quarter" idx="15" hasCustomPrompt="1"/>
          </p:nvPr>
        </p:nvSpPr>
        <p:spPr>
          <a:xfrm>
            <a:off x="4584700" y="952575"/>
            <a:ext cx="4156148" cy="3289235"/>
          </a:xfrm>
          <a:prstGeom prst="rect">
            <a:avLst/>
          </a:prstGeom>
        </p:spPr>
        <p:txBody>
          <a:bodyPr/>
          <a:lstStyle>
            <a:lvl1pPr marL="0" indent="0">
              <a:buNone/>
              <a:defRPr/>
            </a:lvl1pPr>
          </a:lstStyle>
          <a:p>
            <a:r>
              <a:rPr lang="sv-SE"/>
              <a:t> </a:t>
            </a:r>
          </a:p>
        </p:txBody>
      </p:sp>
      <p:sp>
        <p:nvSpPr>
          <p:cNvPr id="34" name="Rubrik 33"/>
          <p:cNvSpPr>
            <a:spLocks noGrp="1"/>
          </p:cNvSpPr>
          <p:nvPr>
            <p:ph type="title" hasCustomPrompt="1"/>
          </p:nvPr>
        </p:nvSpPr>
        <p:spPr>
          <a:xfrm>
            <a:off x="381000" y="231140"/>
            <a:ext cx="7401639" cy="2007664"/>
          </a:xfrm>
          <a:prstGeom prst="rect">
            <a:avLst/>
          </a:prstGeom>
        </p:spPr>
        <p:txBody>
          <a:bodyPr lIns="0" tIns="0" rIns="0" bIns="0" anchor="t" anchorCtr="0">
            <a:normAutofit/>
          </a:bodyPr>
          <a:lstStyle>
            <a:lvl1pPr algn="l">
              <a:defRPr sz="3600">
                <a:solidFill>
                  <a:schemeClr val="tx1"/>
                </a:solidFill>
                <a:latin typeface="Calibri"/>
                <a:cs typeface="Calibri"/>
              </a:defRPr>
            </a:lvl1pPr>
          </a:lstStyle>
          <a:p>
            <a:r>
              <a:rPr lang="en-GB"/>
              <a:t>Heading</a:t>
            </a:r>
            <a:endParaRPr lang="sv-SE"/>
          </a:p>
        </p:txBody>
      </p:sp>
      <p:sp>
        <p:nvSpPr>
          <p:cNvPr id="36" name="Platshållare för text 35"/>
          <p:cNvSpPr>
            <a:spLocks noGrp="1"/>
          </p:cNvSpPr>
          <p:nvPr>
            <p:ph type="body" sz="quarter" idx="13" hasCustomPrompt="1"/>
          </p:nvPr>
        </p:nvSpPr>
        <p:spPr>
          <a:xfrm>
            <a:off x="381000" y="2502477"/>
            <a:ext cx="4203700" cy="1206396"/>
          </a:xfrm>
          <a:prstGeom prst="rect">
            <a:avLst/>
          </a:prstGeom>
        </p:spPr>
        <p:txBody>
          <a:bodyPr lIns="0" tIns="0" rIns="0" bIns="0">
            <a:noAutofit/>
          </a:bodyPr>
          <a:lstStyle>
            <a:lvl1pPr marL="0" indent="0">
              <a:buNone/>
              <a:defRPr sz="2000">
                <a:solidFill>
                  <a:schemeClr val="tx1"/>
                </a:solidFill>
              </a:defRPr>
            </a:lvl1pPr>
            <a:lvl2pPr marL="0" indent="0">
              <a:buNone/>
              <a:defRPr sz="2000">
                <a:solidFill>
                  <a:srgbClr val="FFFFFF"/>
                </a:solidFill>
              </a:defRPr>
            </a:lvl2pPr>
            <a:lvl3pPr marL="0" indent="0">
              <a:buNone/>
              <a:defRPr sz="2000">
                <a:solidFill>
                  <a:srgbClr val="FFFFFF"/>
                </a:solidFill>
              </a:defRPr>
            </a:lvl3pPr>
            <a:lvl4pPr marL="0" indent="0">
              <a:buNone/>
              <a:defRPr sz="2000">
                <a:solidFill>
                  <a:srgbClr val="FFFFFF"/>
                </a:solidFill>
              </a:defRPr>
            </a:lvl4pPr>
            <a:lvl5pPr marL="0" indent="0">
              <a:buNone/>
              <a:defRPr sz="2000">
                <a:solidFill>
                  <a:srgbClr val="FFFFFF"/>
                </a:solidFill>
              </a:defRPr>
            </a:lvl5pPr>
          </a:lstStyle>
          <a:p>
            <a:pPr lvl="0"/>
            <a:r>
              <a:rPr lang="en-GB" noProof="0"/>
              <a:t>Text</a:t>
            </a:r>
          </a:p>
        </p:txBody>
      </p:sp>
      <p:pic>
        <p:nvPicPr>
          <p:cNvPr id="32" name="Bildobjekt 3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0201" y="4398480"/>
            <a:ext cx="1411510" cy="510907"/>
          </a:xfrm>
          <a:prstGeom prst="rect">
            <a:avLst/>
          </a:prstGeom>
        </p:spPr>
      </p:pic>
      <p:sp>
        <p:nvSpPr>
          <p:cNvPr id="14" name="Platshållare för sidfot 4">
            <a:extLst>
              <a:ext uri="{FF2B5EF4-FFF2-40B4-BE49-F238E27FC236}">
                <a16:creationId xmlns:a16="http://schemas.microsoft.com/office/drawing/2014/main" id="{ED544205-4A9B-4189-AB0F-1CFA3864C668}"/>
              </a:ext>
            </a:extLst>
          </p:cNvPr>
          <p:cNvSpPr>
            <a:spLocks noGrp="1"/>
          </p:cNvSpPr>
          <p:nvPr>
            <p:ph type="ftr" sz="quarter" idx="11"/>
          </p:nvPr>
        </p:nvSpPr>
        <p:spPr>
          <a:xfrm>
            <a:off x="5824413" y="4483997"/>
            <a:ext cx="2509889" cy="382813"/>
          </a:xfrm>
          <a:prstGeom prst="rect">
            <a:avLst/>
          </a:prstGeom>
        </p:spPr>
        <p:txBody>
          <a:bodyPr lIns="0" tIns="0" rIns="0" bIns="0" anchor="b" anchorCtr="0"/>
          <a:lstStyle>
            <a:lvl1pPr algn="r">
              <a:defRPr sz="900" b="0">
                <a:solidFill>
                  <a:schemeClr val="tx1"/>
                </a:solidFill>
              </a:defRPr>
            </a:lvl1pPr>
          </a:lstStyle>
          <a:p>
            <a:r>
              <a:rPr lang="en-US"/>
              <a:t>Stakeholder Forum Agenda - Classification: External</a:t>
            </a:r>
            <a:endParaRPr lang="sv-SE"/>
          </a:p>
        </p:txBody>
      </p:sp>
      <p:sp>
        <p:nvSpPr>
          <p:cNvPr id="15" name="Platshållare för datum 3">
            <a:extLst>
              <a:ext uri="{FF2B5EF4-FFF2-40B4-BE49-F238E27FC236}">
                <a16:creationId xmlns:a16="http://schemas.microsoft.com/office/drawing/2014/main" id="{5D464EB5-705A-49EE-850F-B937BB96DA22}"/>
              </a:ext>
            </a:extLst>
          </p:cNvPr>
          <p:cNvSpPr>
            <a:spLocks noGrp="1"/>
          </p:cNvSpPr>
          <p:nvPr>
            <p:ph type="dt" sz="half" idx="10"/>
          </p:nvPr>
        </p:nvSpPr>
        <p:spPr>
          <a:xfrm>
            <a:off x="4734099" y="4495861"/>
            <a:ext cx="1018558" cy="370949"/>
          </a:xfrm>
          <a:prstGeom prst="rect">
            <a:avLst/>
          </a:prstGeom>
        </p:spPr>
        <p:txBody>
          <a:bodyPr lIns="0" tIns="0" rIns="0" bIns="0" anchor="b" anchorCtr="0"/>
          <a:lstStyle>
            <a:lvl1pPr algn="l">
              <a:defRPr sz="900" b="0" i="0" cap="all">
                <a:solidFill>
                  <a:schemeClr val="tx1"/>
                </a:solidFill>
              </a:defRPr>
            </a:lvl1pPr>
          </a:lstStyle>
          <a:p>
            <a:r>
              <a:rPr lang="sv-SE"/>
              <a:t>26/03/2026</a:t>
            </a:r>
          </a:p>
        </p:txBody>
      </p:sp>
      <p:sp>
        <p:nvSpPr>
          <p:cNvPr id="16" name="Platshållare för bildnummer 5">
            <a:extLst>
              <a:ext uri="{FF2B5EF4-FFF2-40B4-BE49-F238E27FC236}">
                <a16:creationId xmlns:a16="http://schemas.microsoft.com/office/drawing/2014/main" id="{F3D66327-F90A-49FA-9361-5DFFBAAE2215}"/>
              </a:ext>
            </a:extLst>
          </p:cNvPr>
          <p:cNvSpPr>
            <a:spLocks noGrp="1"/>
          </p:cNvSpPr>
          <p:nvPr>
            <p:ph type="sldNum" sz="quarter" idx="12"/>
          </p:nvPr>
        </p:nvSpPr>
        <p:spPr>
          <a:xfrm>
            <a:off x="8383230" y="4483997"/>
            <a:ext cx="368658" cy="382814"/>
          </a:xfrm>
          <a:prstGeom prst="rect">
            <a:avLst/>
          </a:prstGeom>
          <a:noFill/>
        </p:spPr>
        <p:txBody>
          <a:bodyPr lIns="25400" tIns="0" rIns="0" bIns="0" anchor="b" anchorCtr="0"/>
          <a:lstStyle>
            <a:lvl1pPr algn="r">
              <a:defRPr sz="900">
                <a:solidFill>
                  <a:schemeClr val="tx1"/>
                </a:solidFill>
              </a:defRPr>
            </a:lvl1pPr>
          </a:lstStyle>
          <a:p>
            <a:fld id="{394EE31B-4DFC-CF4D-9A18-3F5D4D7C7302}" type="slidenum">
              <a:rPr lang="sv-SE" smtClean="0"/>
              <a:pPr/>
              <a:t>‹#›</a:t>
            </a:fld>
            <a:endParaRPr lang="sv-SE"/>
          </a:p>
        </p:txBody>
      </p:sp>
    </p:spTree>
    <p:extLst>
      <p:ext uri="{BB962C8B-B14F-4D97-AF65-F5344CB8AC3E}">
        <p14:creationId xmlns:p14="http://schemas.microsoft.com/office/powerpoint/2010/main" val="31765345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Avsnit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175562D-8BE4-4E07-BD9B-7CEBE40A1A7F}"/>
              </a:ext>
            </a:extLst>
          </p:cNvPr>
          <p:cNvSpPr>
            <a:spLocks noGrp="1"/>
          </p:cNvSpPr>
          <p:nvPr>
            <p:ph type="ctrTitle"/>
          </p:nvPr>
        </p:nvSpPr>
        <p:spPr>
          <a:xfrm>
            <a:off x="1163638" y="1947983"/>
            <a:ext cx="4881152" cy="1438155"/>
          </a:xfrm>
        </p:spPr>
        <p:txBody>
          <a:bodyPr lIns="0" tIns="0" rIns="0" bIns="0" anchor="b" anchorCtr="0"/>
          <a:lstStyle>
            <a:lvl1pPr algn="l">
              <a:lnSpc>
                <a:spcPct val="100000"/>
              </a:lnSpc>
              <a:defRPr sz="2200">
                <a:solidFill>
                  <a:schemeClr val="tx2"/>
                </a:solidFill>
              </a:defRPr>
            </a:lvl1pPr>
          </a:lstStyle>
          <a:p>
            <a:r>
              <a:rPr lang="sv-SE"/>
              <a:t>Klicka här för att ändra mall för rubrikformat</a:t>
            </a:r>
          </a:p>
        </p:txBody>
      </p:sp>
      <p:sp>
        <p:nvSpPr>
          <p:cNvPr id="3" name="Underrubrik 2">
            <a:extLst>
              <a:ext uri="{FF2B5EF4-FFF2-40B4-BE49-F238E27FC236}">
                <a16:creationId xmlns:a16="http://schemas.microsoft.com/office/drawing/2014/main" id="{2DB9F56F-2AD1-42EA-A8BF-E10C61A55E2D}"/>
              </a:ext>
            </a:extLst>
          </p:cNvPr>
          <p:cNvSpPr>
            <a:spLocks noGrp="1"/>
          </p:cNvSpPr>
          <p:nvPr>
            <p:ph type="subTitle" idx="1"/>
          </p:nvPr>
        </p:nvSpPr>
        <p:spPr>
          <a:xfrm>
            <a:off x="1163638" y="3513139"/>
            <a:ext cx="4187416" cy="814386"/>
          </a:xfrm>
        </p:spPr>
        <p:txBody>
          <a:bodyPr lIns="0" tIns="127000" rIns="0" bIns="0" anchor="t" anchorCtr="0">
            <a:noAutofit/>
          </a:bodyPr>
          <a:lstStyle>
            <a:lvl1pPr marL="0" indent="0" algn="l">
              <a:buNone/>
              <a:defRPr sz="140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Klicka här för att ändra mall för underrubrikformat</a:t>
            </a:r>
          </a:p>
        </p:txBody>
      </p:sp>
      <p:sp>
        <p:nvSpPr>
          <p:cNvPr id="5" name="Platshållare för bild 12">
            <a:extLst>
              <a:ext uri="{FF2B5EF4-FFF2-40B4-BE49-F238E27FC236}">
                <a16:creationId xmlns:a16="http://schemas.microsoft.com/office/drawing/2014/main" id="{2706D7BC-ED2A-405A-B0E7-323EB2D5D2DB}"/>
              </a:ext>
            </a:extLst>
          </p:cNvPr>
          <p:cNvSpPr>
            <a:spLocks noGrp="1"/>
          </p:cNvSpPr>
          <p:nvPr>
            <p:ph type="pic" sz="quarter" idx="10" hasCustomPrompt="1"/>
          </p:nvPr>
        </p:nvSpPr>
        <p:spPr>
          <a:xfrm>
            <a:off x="5312954" y="-7620"/>
            <a:ext cx="3344862" cy="3288983"/>
          </a:xfrm>
          <a:custGeom>
            <a:avLst/>
            <a:gdLst>
              <a:gd name="connsiteX0" fmla="*/ 0 w 3115338"/>
              <a:gd name="connsiteY0" fmla="*/ 1620501 h 3241002"/>
              <a:gd name="connsiteX1" fmla="*/ 778835 w 3115338"/>
              <a:gd name="connsiteY1" fmla="*/ 1 h 3241002"/>
              <a:gd name="connsiteX2" fmla="*/ 2336504 w 3115338"/>
              <a:gd name="connsiteY2" fmla="*/ 1 h 3241002"/>
              <a:gd name="connsiteX3" fmla="*/ 3115338 w 3115338"/>
              <a:gd name="connsiteY3" fmla="*/ 1620501 h 3241002"/>
              <a:gd name="connsiteX4" fmla="*/ 2336504 w 3115338"/>
              <a:gd name="connsiteY4" fmla="*/ 3241001 h 3241002"/>
              <a:gd name="connsiteX5" fmla="*/ 778835 w 3115338"/>
              <a:gd name="connsiteY5" fmla="*/ 3241001 h 3241002"/>
              <a:gd name="connsiteX6" fmla="*/ 0 w 3115338"/>
              <a:gd name="connsiteY6" fmla="*/ 1620501 h 3241002"/>
              <a:gd name="connsiteX0" fmla="*/ 0 w 3093822"/>
              <a:gd name="connsiteY0" fmla="*/ 706100 h 3241000"/>
              <a:gd name="connsiteX1" fmla="*/ 757319 w 3093822"/>
              <a:gd name="connsiteY1" fmla="*/ 0 h 3241000"/>
              <a:gd name="connsiteX2" fmla="*/ 2314988 w 3093822"/>
              <a:gd name="connsiteY2" fmla="*/ 0 h 3241000"/>
              <a:gd name="connsiteX3" fmla="*/ 3093822 w 3093822"/>
              <a:gd name="connsiteY3" fmla="*/ 1620500 h 3241000"/>
              <a:gd name="connsiteX4" fmla="*/ 2314988 w 3093822"/>
              <a:gd name="connsiteY4" fmla="*/ 3241000 h 3241000"/>
              <a:gd name="connsiteX5" fmla="*/ 757319 w 3093822"/>
              <a:gd name="connsiteY5" fmla="*/ 3241000 h 3241000"/>
              <a:gd name="connsiteX6" fmla="*/ 0 w 3093822"/>
              <a:gd name="connsiteY6" fmla="*/ 706100 h 3241000"/>
              <a:gd name="connsiteX0" fmla="*/ 0 w 3093822"/>
              <a:gd name="connsiteY0" fmla="*/ 1157921 h 3692821"/>
              <a:gd name="connsiteX1" fmla="*/ 1542627 w 3093822"/>
              <a:gd name="connsiteY1" fmla="*/ 0 h 3692821"/>
              <a:gd name="connsiteX2" fmla="*/ 2314988 w 3093822"/>
              <a:gd name="connsiteY2" fmla="*/ 451821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093822"/>
              <a:gd name="connsiteY0" fmla="*/ 1157921 h 3692821"/>
              <a:gd name="connsiteX1" fmla="*/ 1542627 w 3093822"/>
              <a:gd name="connsiteY1" fmla="*/ 0 h 3692821"/>
              <a:gd name="connsiteX2" fmla="*/ 3089538 w 3093822"/>
              <a:gd name="connsiteY2" fmla="*/ 1151068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104579"/>
              <a:gd name="connsiteY0" fmla="*/ 1157921 h 3692821"/>
              <a:gd name="connsiteX1" fmla="*/ 1542627 w 3104579"/>
              <a:gd name="connsiteY1" fmla="*/ 0 h 3692821"/>
              <a:gd name="connsiteX2" fmla="*/ 3089538 w 3104579"/>
              <a:gd name="connsiteY2" fmla="*/ 1151068 h 3692821"/>
              <a:gd name="connsiteX3" fmla="*/ 3104579 w 3104579"/>
              <a:gd name="connsiteY3" fmla="*/ 2814598 h 3692821"/>
              <a:gd name="connsiteX4" fmla="*/ 2314988 w 3104579"/>
              <a:gd name="connsiteY4" fmla="*/ 3692821 h 3692821"/>
              <a:gd name="connsiteX5" fmla="*/ 757319 w 3104579"/>
              <a:gd name="connsiteY5" fmla="*/ 3692821 h 3692821"/>
              <a:gd name="connsiteX6" fmla="*/ 0 w 3104579"/>
              <a:gd name="connsiteY6" fmla="*/ 1157921 h 3692821"/>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757319 w 3104579"/>
              <a:gd name="connsiteY5" fmla="*/ 3692821 h 3994035"/>
              <a:gd name="connsiteX6" fmla="*/ 0 w 3104579"/>
              <a:gd name="connsiteY6" fmla="*/ 1157921 h 3994035"/>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57921 h 3994035"/>
              <a:gd name="connsiteX0" fmla="*/ 0 w 3104579"/>
              <a:gd name="connsiteY0" fmla="*/ 1168679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 name="connsiteX0" fmla="*/ 0 w 3104579"/>
              <a:gd name="connsiteY0" fmla="*/ 1168679 h 3994035"/>
              <a:gd name="connsiteX1" fmla="*/ 1542627 w 3104579"/>
              <a:gd name="connsiteY1" fmla="*/ 0 h 3994035"/>
              <a:gd name="connsiteX2" fmla="*/ 3100295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 name="connsiteX0" fmla="*/ 0 w 3104579"/>
              <a:gd name="connsiteY0" fmla="*/ 1168679 h 3994035"/>
              <a:gd name="connsiteX1" fmla="*/ 387310 w 3104579"/>
              <a:gd name="connsiteY1" fmla="*/ 881391 h 3994035"/>
              <a:gd name="connsiteX2" fmla="*/ 1542627 w 3104579"/>
              <a:gd name="connsiteY2" fmla="*/ 0 h 3994035"/>
              <a:gd name="connsiteX3" fmla="*/ 3100295 w 3104579"/>
              <a:gd name="connsiteY3" fmla="*/ 1151068 h 3994035"/>
              <a:gd name="connsiteX4" fmla="*/ 3104579 w 3104579"/>
              <a:gd name="connsiteY4" fmla="*/ 2814598 h 3994035"/>
              <a:gd name="connsiteX5" fmla="*/ 1540438 w 3104579"/>
              <a:gd name="connsiteY5" fmla="*/ 3994035 h 3994035"/>
              <a:gd name="connsiteX6" fmla="*/ 4284 w 3104579"/>
              <a:gd name="connsiteY6" fmla="*/ 2853725 h 3994035"/>
              <a:gd name="connsiteX7" fmla="*/ 0 w 3104579"/>
              <a:gd name="connsiteY7" fmla="*/ 1168679 h 3994035"/>
              <a:gd name="connsiteX0" fmla="*/ 0 w 3104579"/>
              <a:gd name="connsiteY0" fmla="*/ 1168679 h 3994035"/>
              <a:gd name="connsiteX1" fmla="*/ 387310 w 3104579"/>
              <a:gd name="connsiteY1" fmla="*/ 881391 h 3994035"/>
              <a:gd name="connsiteX2" fmla="*/ 1542627 w 3104579"/>
              <a:gd name="connsiteY2" fmla="*/ 0 h 3994035"/>
              <a:gd name="connsiteX3" fmla="*/ 2735415 w 3104579"/>
              <a:gd name="connsiteY3" fmla="*/ 888602 h 3994035"/>
              <a:gd name="connsiteX4" fmla="*/ 3100295 w 3104579"/>
              <a:gd name="connsiteY4" fmla="*/ 1151068 h 3994035"/>
              <a:gd name="connsiteX5" fmla="*/ 3104579 w 3104579"/>
              <a:gd name="connsiteY5" fmla="*/ 2814598 h 3994035"/>
              <a:gd name="connsiteX6" fmla="*/ 1540438 w 3104579"/>
              <a:gd name="connsiteY6" fmla="*/ 3994035 h 3994035"/>
              <a:gd name="connsiteX7" fmla="*/ 4284 w 3104579"/>
              <a:gd name="connsiteY7" fmla="*/ 2853725 h 3994035"/>
              <a:gd name="connsiteX8" fmla="*/ 0 w 3104579"/>
              <a:gd name="connsiteY8" fmla="*/ 1168679 h 3994035"/>
              <a:gd name="connsiteX0" fmla="*/ 0 w 3104579"/>
              <a:gd name="connsiteY0" fmla="*/ 959547 h 3784903"/>
              <a:gd name="connsiteX1" fmla="*/ 387310 w 3104579"/>
              <a:gd name="connsiteY1" fmla="*/ 672259 h 3784903"/>
              <a:gd name="connsiteX2" fmla="*/ 1592136 w 3104579"/>
              <a:gd name="connsiteY2" fmla="*/ 0 h 3784903"/>
              <a:gd name="connsiteX3" fmla="*/ 2735415 w 3104579"/>
              <a:gd name="connsiteY3" fmla="*/ 679470 h 3784903"/>
              <a:gd name="connsiteX4" fmla="*/ 3100295 w 3104579"/>
              <a:gd name="connsiteY4" fmla="*/ 941936 h 3784903"/>
              <a:gd name="connsiteX5" fmla="*/ 3104579 w 3104579"/>
              <a:gd name="connsiteY5" fmla="*/ 2605466 h 3784903"/>
              <a:gd name="connsiteX6" fmla="*/ 1540438 w 3104579"/>
              <a:gd name="connsiteY6" fmla="*/ 3784903 h 3784903"/>
              <a:gd name="connsiteX7" fmla="*/ 4284 w 3104579"/>
              <a:gd name="connsiteY7" fmla="*/ 2644593 h 3784903"/>
              <a:gd name="connsiteX8" fmla="*/ 0 w 3104579"/>
              <a:gd name="connsiteY8" fmla="*/ 959547 h 3784903"/>
              <a:gd name="connsiteX0" fmla="*/ 0 w 3104579"/>
              <a:gd name="connsiteY0" fmla="*/ 287288 h 3112644"/>
              <a:gd name="connsiteX1" fmla="*/ 387310 w 3104579"/>
              <a:gd name="connsiteY1" fmla="*/ 0 h 3112644"/>
              <a:gd name="connsiteX2" fmla="*/ 2735415 w 3104579"/>
              <a:gd name="connsiteY2" fmla="*/ 7211 h 3112644"/>
              <a:gd name="connsiteX3" fmla="*/ 3100295 w 3104579"/>
              <a:gd name="connsiteY3" fmla="*/ 269677 h 3112644"/>
              <a:gd name="connsiteX4" fmla="*/ 3104579 w 3104579"/>
              <a:gd name="connsiteY4" fmla="*/ 1933207 h 3112644"/>
              <a:gd name="connsiteX5" fmla="*/ 1540438 w 3104579"/>
              <a:gd name="connsiteY5" fmla="*/ 3112644 h 3112644"/>
              <a:gd name="connsiteX6" fmla="*/ 4284 w 3104579"/>
              <a:gd name="connsiteY6" fmla="*/ 1972334 h 3112644"/>
              <a:gd name="connsiteX7" fmla="*/ 0 w 3104579"/>
              <a:gd name="connsiteY7" fmla="*/ 287288 h 3112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4579" h="3112644">
                <a:moveTo>
                  <a:pt x="0" y="287288"/>
                </a:moveTo>
                <a:lnTo>
                  <a:pt x="387310" y="0"/>
                </a:lnTo>
                <a:lnTo>
                  <a:pt x="2735415" y="7211"/>
                </a:lnTo>
                <a:lnTo>
                  <a:pt x="3100295" y="269677"/>
                </a:lnTo>
                <a:lnTo>
                  <a:pt x="3104579" y="1933207"/>
                </a:lnTo>
                <a:lnTo>
                  <a:pt x="1540438" y="3112644"/>
                </a:lnTo>
                <a:lnTo>
                  <a:pt x="4284" y="1972334"/>
                </a:lnTo>
                <a:lnTo>
                  <a:pt x="0" y="287288"/>
                </a:lnTo>
                <a:close/>
              </a:path>
            </a:pathLst>
          </a:custGeom>
          <a:solidFill>
            <a:schemeClr val="bg1"/>
          </a:solidFill>
        </p:spPr>
        <p:txBody>
          <a:bodyPr>
            <a:normAutofit/>
          </a:bodyPr>
          <a:lstStyle>
            <a:lvl1pPr marL="0" indent="0">
              <a:buNone/>
              <a:defRPr/>
            </a:lvl1pPr>
          </a:lstStyle>
          <a:p>
            <a:r>
              <a:rPr lang="en-GB"/>
              <a:t> </a:t>
            </a:r>
            <a:r>
              <a:rPr lang="sv-SE"/>
              <a:t> </a:t>
            </a:r>
          </a:p>
        </p:txBody>
      </p:sp>
    </p:spTree>
    <p:extLst>
      <p:ext uri="{BB962C8B-B14F-4D97-AF65-F5344CB8AC3E}">
        <p14:creationId xmlns:p14="http://schemas.microsoft.com/office/powerpoint/2010/main" val="21505098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ext">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p:txBody>
          <a:bodyPr/>
          <a:lstStyle/>
          <a:p>
            <a:r>
              <a:rPr lang="sv-SE"/>
              <a:t>Klicka här för att ändra mall för rubrikformat</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13" name="Platshållare för text 12">
            <a:extLst>
              <a:ext uri="{FF2B5EF4-FFF2-40B4-BE49-F238E27FC236}">
                <a16:creationId xmlns:a16="http://schemas.microsoft.com/office/drawing/2014/main" id="{99E203B7-1F2D-438E-A81B-B2A4EE469972}"/>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6" name="Platshållare för sidfot 5">
            <a:extLst>
              <a:ext uri="{FF2B5EF4-FFF2-40B4-BE49-F238E27FC236}">
                <a16:creationId xmlns:a16="http://schemas.microsoft.com/office/drawing/2014/main" id="{46FA5834-D631-400E-8C48-EE96014429AD}"/>
              </a:ext>
            </a:extLst>
          </p:cNvPr>
          <p:cNvSpPr>
            <a:spLocks noGrp="1"/>
          </p:cNvSpPr>
          <p:nvPr>
            <p:ph type="ftr" sz="quarter" idx="20"/>
          </p:nvPr>
        </p:nvSpPr>
        <p:spPr/>
        <p:txBody>
          <a:bodyPr/>
          <a:lstStyle>
            <a:lvl1pPr algn="ctr">
              <a:defRPr/>
            </a:lvl1pPr>
          </a:lstStyle>
          <a:p>
            <a:pPr algn="r"/>
            <a:r>
              <a:rPr lang="en-US"/>
              <a:t>Stakeholder Forum Agenda - Classification: External</a:t>
            </a:r>
            <a:endParaRPr lang="sv-SE"/>
          </a:p>
        </p:txBody>
      </p:sp>
      <p:sp>
        <p:nvSpPr>
          <p:cNvPr id="7" name="Platshållare för text 6">
            <a:extLst>
              <a:ext uri="{FF2B5EF4-FFF2-40B4-BE49-F238E27FC236}">
                <a16:creationId xmlns:a16="http://schemas.microsoft.com/office/drawing/2014/main" id="{106C2E25-E8B9-45F7-9688-548A6BD4CAD8}"/>
              </a:ext>
            </a:extLst>
          </p:cNvPr>
          <p:cNvSpPr>
            <a:spLocks noGrp="1"/>
          </p:cNvSpPr>
          <p:nvPr>
            <p:ph type="body" sz="quarter" idx="21"/>
          </p:nvPr>
        </p:nvSpPr>
        <p:spPr>
          <a:xfrm>
            <a:off x="469900" y="1068388"/>
            <a:ext cx="6121400" cy="312261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7721188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ext">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p:txBody>
          <a:bodyPr/>
          <a:lstStyle/>
          <a:p>
            <a:r>
              <a:rPr lang="sv-SE"/>
              <a:t>Klicka här för att ändra mall för rubrikformat</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13" name="Platshållare för text 12">
            <a:extLst>
              <a:ext uri="{FF2B5EF4-FFF2-40B4-BE49-F238E27FC236}">
                <a16:creationId xmlns:a16="http://schemas.microsoft.com/office/drawing/2014/main" id="{99E203B7-1F2D-438E-A81B-B2A4EE469972}"/>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6" name="Platshållare för sidfot 5">
            <a:extLst>
              <a:ext uri="{FF2B5EF4-FFF2-40B4-BE49-F238E27FC236}">
                <a16:creationId xmlns:a16="http://schemas.microsoft.com/office/drawing/2014/main" id="{46FA5834-D631-400E-8C48-EE96014429AD}"/>
              </a:ext>
            </a:extLst>
          </p:cNvPr>
          <p:cNvSpPr>
            <a:spLocks noGrp="1"/>
          </p:cNvSpPr>
          <p:nvPr>
            <p:ph type="ftr" sz="quarter" idx="20"/>
          </p:nvPr>
        </p:nvSpPr>
        <p:spPr/>
        <p:txBody>
          <a:bodyPr/>
          <a:lstStyle>
            <a:lvl1pPr algn="ctr">
              <a:defRPr/>
            </a:lvl1pPr>
          </a:lstStyle>
          <a:p>
            <a:pPr algn="r"/>
            <a:r>
              <a:rPr lang="en-US"/>
              <a:t>Stakeholder Forum Agenda - Classification: External</a:t>
            </a:r>
            <a:endParaRPr lang="sv-SE"/>
          </a:p>
        </p:txBody>
      </p:sp>
      <p:sp>
        <p:nvSpPr>
          <p:cNvPr id="7" name="Platshållare för text 6">
            <a:extLst>
              <a:ext uri="{FF2B5EF4-FFF2-40B4-BE49-F238E27FC236}">
                <a16:creationId xmlns:a16="http://schemas.microsoft.com/office/drawing/2014/main" id="{106C2E25-E8B9-45F7-9688-548A6BD4CAD8}"/>
              </a:ext>
            </a:extLst>
          </p:cNvPr>
          <p:cNvSpPr>
            <a:spLocks noGrp="1"/>
          </p:cNvSpPr>
          <p:nvPr>
            <p:ph type="body" sz="quarter" idx="21"/>
          </p:nvPr>
        </p:nvSpPr>
        <p:spPr>
          <a:xfrm>
            <a:off x="469900" y="1068388"/>
            <a:ext cx="6121400" cy="312261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16360959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ext - Text">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p:txBody>
          <a:bodyPr/>
          <a:lstStyle/>
          <a:p>
            <a:r>
              <a:rPr lang="sv-SE"/>
              <a:t>Klicka här för att ändra mall för rubrikformat</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7" name="Platshållare för text 6">
            <a:extLst>
              <a:ext uri="{FF2B5EF4-FFF2-40B4-BE49-F238E27FC236}">
                <a16:creationId xmlns:a16="http://schemas.microsoft.com/office/drawing/2014/main" id="{106C2E25-E8B9-45F7-9688-548A6BD4CAD8}"/>
              </a:ext>
            </a:extLst>
          </p:cNvPr>
          <p:cNvSpPr>
            <a:spLocks noGrp="1"/>
          </p:cNvSpPr>
          <p:nvPr>
            <p:ph type="body" sz="quarter" idx="21"/>
          </p:nvPr>
        </p:nvSpPr>
        <p:spPr>
          <a:xfrm>
            <a:off x="469899" y="1068388"/>
            <a:ext cx="4038601" cy="312261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5" name="Platshållare för text 6">
            <a:extLst>
              <a:ext uri="{FF2B5EF4-FFF2-40B4-BE49-F238E27FC236}">
                <a16:creationId xmlns:a16="http://schemas.microsoft.com/office/drawing/2014/main" id="{40D4D013-10AE-42A7-AA48-E24CA88A7334}"/>
              </a:ext>
            </a:extLst>
          </p:cNvPr>
          <p:cNvSpPr>
            <a:spLocks noGrp="1"/>
          </p:cNvSpPr>
          <p:nvPr>
            <p:ph type="body" sz="quarter" idx="22"/>
          </p:nvPr>
        </p:nvSpPr>
        <p:spPr>
          <a:xfrm>
            <a:off x="4640265" y="1077913"/>
            <a:ext cx="4038601" cy="312261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21" name="Platshållare för text 12">
            <a:extLst>
              <a:ext uri="{FF2B5EF4-FFF2-40B4-BE49-F238E27FC236}">
                <a16:creationId xmlns:a16="http://schemas.microsoft.com/office/drawing/2014/main" id="{876E1B2F-94E2-43AD-A827-1EA62522F00A}"/>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22" name="Platshållare för sidfot 5">
            <a:extLst>
              <a:ext uri="{FF2B5EF4-FFF2-40B4-BE49-F238E27FC236}">
                <a16:creationId xmlns:a16="http://schemas.microsoft.com/office/drawing/2014/main" id="{B2C45E75-5DCA-40B3-A787-16B502A940A9}"/>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212114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ext - Text">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p:txBody>
          <a:bodyPr/>
          <a:lstStyle/>
          <a:p>
            <a:r>
              <a:rPr lang="sv-SE"/>
              <a:t>Klicka här för att ändra mall för rubrikformat</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7" name="Platshållare för text 6">
            <a:extLst>
              <a:ext uri="{FF2B5EF4-FFF2-40B4-BE49-F238E27FC236}">
                <a16:creationId xmlns:a16="http://schemas.microsoft.com/office/drawing/2014/main" id="{106C2E25-E8B9-45F7-9688-548A6BD4CAD8}"/>
              </a:ext>
            </a:extLst>
          </p:cNvPr>
          <p:cNvSpPr>
            <a:spLocks noGrp="1"/>
          </p:cNvSpPr>
          <p:nvPr>
            <p:ph type="body" sz="quarter" idx="21"/>
          </p:nvPr>
        </p:nvSpPr>
        <p:spPr>
          <a:xfrm>
            <a:off x="469899" y="1068388"/>
            <a:ext cx="4038601" cy="312261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5" name="Platshållare för text 6">
            <a:extLst>
              <a:ext uri="{FF2B5EF4-FFF2-40B4-BE49-F238E27FC236}">
                <a16:creationId xmlns:a16="http://schemas.microsoft.com/office/drawing/2014/main" id="{40D4D013-10AE-42A7-AA48-E24CA88A7334}"/>
              </a:ext>
            </a:extLst>
          </p:cNvPr>
          <p:cNvSpPr>
            <a:spLocks noGrp="1"/>
          </p:cNvSpPr>
          <p:nvPr>
            <p:ph type="body" sz="quarter" idx="22"/>
          </p:nvPr>
        </p:nvSpPr>
        <p:spPr>
          <a:xfrm>
            <a:off x="4640265" y="1077913"/>
            <a:ext cx="4038601" cy="312261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21" name="Platshållare för text 12">
            <a:extLst>
              <a:ext uri="{FF2B5EF4-FFF2-40B4-BE49-F238E27FC236}">
                <a16:creationId xmlns:a16="http://schemas.microsoft.com/office/drawing/2014/main" id="{876E1B2F-94E2-43AD-A827-1EA62522F00A}"/>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22" name="Platshållare för sidfot 5">
            <a:extLst>
              <a:ext uri="{FF2B5EF4-FFF2-40B4-BE49-F238E27FC236}">
                <a16:creationId xmlns:a16="http://schemas.microsoft.com/office/drawing/2014/main" id="{B2C45E75-5DCA-40B3-A787-16B502A940A9}"/>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20615089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ext - Text - Text">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p:txBody>
          <a:bodyPr/>
          <a:lstStyle/>
          <a:p>
            <a:r>
              <a:rPr lang="sv-SE"/>
              <a:t>Klicka här för att ändra mall för rubrikformat</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7" name="Platshållare för text 6">
            <a:extLst>
              <a:ext uri="{FF2B5EF4-FFF2-40B4-BE49-F238E27FC236}">
                <a16:creationId xmlns:a16="http://schemas.microsoft.com/office/drawing/2014/main" id="{106C2E25-E8B9-45F7-9688-548A6BD4CAD8}"/>
              </a:ext>
            </a:extLst>
          </p:cNvPr>
          <p:cNvSpPr>
            <a:spLocks noGrp="1"/>
          </p:cNvSpPr>
          <p:nvPr>
            <p:ph type="body" sz="quarter" idx="21"/>
          </p:nvPr>
        </p:nvSpPr>
        <p:spPr>
          <a:xfrm>
            <a:off x="469899" y="1068388"/>
            <a:ext cx="2649539" cy="312261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5" name="Platshållare för text 6">
            <a:extLst>
              <a:ext uri="{FF2B5EF4-FFF2-40B4-BE49-F238E27FC236}">
                <a16:creationId xmlns:a16="http://schemas.microsoft.com/office/drawing/2014/main" id="{40D4D013-10AE-42A7-AA48-E24CA88A7334}"/>
              </a:ext>
            </a:extLst>
          </p:cNvPr>
          <p:cNvSpPr>
            <a:spLocks noGrp="1"/>
          </p:cNvSpPr>
          <p:nvPr>
            <p:ph type="body" sz="quarter" idx="22"/>
          </p:nvPr>
        </p:nvSpPr>
        <p:spPr>
          <a:xfrm>
            <a:off x="3246436" y="1077913"/>
            <a:ext cx="2649539" cy="312261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6" name="Platshållare för text 6">
            <a:extLst>
              <a:ext uri="{FF2B5EF4-FFF2-40B4-BE49-F238E27FC236}">
                <a16:creationId xmlns:a16="http://schemas.microsoft.com/office/drawing/2014/main" id="{B0C6B780-A5EB-47E0-A227-F00D81FABC3C}"/>
              </a:ext>
            </a:extLst>
          </p:cNvPr>
          <p:cNvSpPr>
            <a:spLocks noGrp="1"/>
          </p:cNvSpPr>
          <p:nvPr>
            <p:ph type="body" sz="quarter" idx="23"/>
          </p:nvPr>
        </p:nvSpPr>
        <p:spPr>
          <a:xfrm>
            <a:off x="6024561" y="1079501"/>
            <a:ext cx="2649539" cy="312261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20" name="Platshållare för text 12">
            <a:extLst>
              <a:ext uri="{FF2B5EF4-FFF2-40B4-BE49-F238E27FC236}">
                <a16:creationId xmlns:a16="http://schemas.microsoft.com/office/drawing/2014/main" id="{2A38FEF7-C809-4595-B4E5-A6F04D58B19E}"/>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21" name="Platshållare för sidfot 5">
            <a:extLst>
              <a:ext uri="{FF2B5EF4-FFF2-40B4-BE49-F238E27FC236}">
                <a16:creationId xmlns:a16="http://schemas.microsoft.com/office/drawing/2014/main" id="{9E91C5C2-3470-4ACB-B73D-A92CD84F26D7}"/>
              </a:ext>
            </a:extLst>
          </p:cNvPr>
          <p:cNvSpPr>
            <a:spLocks noGrp="1"/>
          </p:cNvSpPr>
          <p:nvPr>
            <p:ph type="ftr" sz="quarter" idx="20"/>
          </p:nvPr>
        </p:nvSpPr>
        <p:spPr>
          <a:xfrm>
            <a:off x="2552700" y="4615656"/>
            <a:ext cx="5426075" cy="273844"/>
          </a:xfrm>
        </p:spPr>
        <p:txBody>
          <a:bodyPr/>
          <a:lstStyle>
            <a:lvl1pPr algn="r">
              <a:defRPr/>
            </a:lvl1pPr>
          </a:lstStyle>
          <a:p>
            <a:r>
              <a:rPr lang="en-US"/>
              <a:t>Stakeholder Forum Agenda - Classification: External</a:t>
            </a:r>
            <a:endParaRPr lang="sv-SE"/>
          </a:p>
        </p:txBody>
      </p:sp>
    </p:spTree>
    <p:extLst>
      <p:ext uri="{BB962C8B-B14F-4D97-AF65-F5344CB8AC3E}">
        <p14:creationId xmlns:p14="http://schemas.microsoft.com/office/powerpoint/2010/main" val="290364218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Text - Text - Text">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p:txBody>
          <a:bodyPr/>
          <a:lstStyle/>
          <a:p>
            <a:r>
              <a:rPr lang="sv-SE"/>
              <a:t>Klicka här för att ändra mall för rubrikformat</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7" name="Platshållare för text 6">
            <a:extLst>
              <a:ext uri="{FF2B5EF4-FFF2-40B4-BE49-F238E27FC236}">
                <a16:creationId xmlns:a16="http://schemas.microsoft.com/office/drawing/2014/main" id="{106C2E25-E8B9-45F7-9688-548A6BD4CAD8}"/>
              </a:ext>
            </a:extLst>
          </p:cNvPr>
          <p:cNvSpPr>
            <a:spLocks noGrp="1"/>
          </p:cNvSpPr>
          <p:nvPr>
            <p:ph type="body" sz="quarter" idx="21"/>
          </p:nvPr>
        </p:nvSpPr>
        <p:spPr>
          <a:xfrm>
            <a:off x="469899" y="1068388"/>
            <a:ext cx="2649539" cy="312261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5" name="Platshållare för text 6">
            <a:extLst>
              <a:ext uri="{FF2B5EF4-FFF2-40B4-BE49-F238E27FC236}">
                <a16:creationId xmlns:a16="http://schemas.microsoft.com/office/drawing/2014/main" id="{40D4D013-10AE-42A7-AA48-E24CA88A7334}"/>
              </a:ext>
            </a:extLst>
          </p:cNvPr>
          <p:cNvSpPr>
            <a:spLocks noGrp="1"/>
          </p:cNvSpPr>
          <p:nvPr>
            <p:ph type="body" sz="quarter" idx="22"/>
          </p:nvPr>
        </p:nvSpPr>
        <p:spPr>
          <a:xfrm>
            <a:off x="3246436" y="1077913"/>
            <a:ext cx="2649539" cy="312261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6" name="Platshållare för text 6">
            <a:extLst>
              <a:ext uri="{FF2B5EF4-FFF2-40B4-BE49-F238E27FC236}">
                <a16:creationId xmlns:a16="http://schemas.microsoft.com/office/drawing/2014/main" id="{B0C6B780-A5EB-47E0-A227-F00D81FABC3C}"/>
              </a:ext>
            </a:extLst>
          </p:cNvPr>
          <p:cNvSpPr>
            <a:spLocks noGrp="1"/>
          </p:cNvSpPr>
          <p:nvPr>
            <p:ph type="body" sz="quarter" idx="23"/>
          </p:nvPr>
        </p:nvSpPr>
        <p:spPr>
          <a:xfrm>
            <a:off x="6024561" y="1079501"/>
            <a:ext cx="2649539" cy="312261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20" name="Platshållare för text 12">
            <a:extLst>
              <a:ext uri="{FF2B5EF4-FFF2-40B4-BE49-F238E27FC236}">
                <a16:creationId xmlns:a16="http://schemas.microsoft.com/office/drawing/2014/main" id="{2A38FEF7-C809-4595-B4E5-A6F04D58B19E}"/>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21" name="Platshållare för sidfot 5">
            <a:extLst>
              <a:ext uri="{FF2B5EF4-FFF2-40B4-BE49-F238E27FC236}">
                <a16:creationId xmlns:a16="http://schemas.microsoft.com/office/drawing/2014/main" id="{9E91C5C2-3470-4ACB-B73D-A92CD84F26D7}"/>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255558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ext - Bild">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a:xfrm>
            <a:off x="469900" y="254000"/>
            <a:ext cx="6121400" cy="687388"/>
          </a:xfrm>
        </p:spPr>
        <p:txBody>
          <a:bodyPr/>
          <a:lstStyle/>
          <a:p>
            <a:r>
              <a:rPr lang="sv-SE"/>
              <a:t>Klicka här för att ändra mall för rubrikformat</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12" name="Platshållare för text 6">
            <a:extLst>
              <a:ext uri="{FF2B5EF4-FFF2-40B4-BE49-F238E27FC236}">
                <a16:creationId xmlns:a16="http://schemas.microsoft.com/office/drawing/2014/main" id="{4A8D53C4-8A67-4681-8824-CEBD558DD74C}"/>
              </a:ext>
            </a:extLst>
          </p:cNvPr>
          <p:cNvSpPr>
            <a:spLocks noGrp="1"/>
          </p:cNvSpPr>
          <p:nvPr>
            <p:ph type="body" sz="quarter" idx="21"/>
          </p:nvPr>
        </p:nvSpPr>
        <p:spPr>
          <a:xfrm>
            <a:off x="469898" y="1068388"/>
            <a:ext cx="4038599" cy="312261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5" name="Platshållare för bild 12">
            <a:extLst>
              <a:ext uri="{FF2B5EF4-FFF2-40B4-BE49-F238E27FC236}">
                <a16:creationId xmlns:a16="http://schemas.microsoft.com/office/drawing/2014/main" id="{B3B2ABBB-4053-4E91-8EB2-5975FE899DE7}"/>
              </a:ext>
            </a:extLst>
          </p:cNvPr>
          <p:cNvSpPr>
            <a:spLocks noGrp="1"/>
          </p:cNvSpPr>
          <p:nvPr>
            <p:ph type="pic" sz="quarter" idx="10"/>
          </p:nvPr>
        </p:nvSpPr>
        <p:spPr>
          <a:xfrm>
            <a:off x="5321871" y="254000"/>
            <a:ext cx="3320479" cy="3946526"/>
          </a:xfrm>
          <a:custGeom>
            <a:avLst/>
            <a:gdLst>
              <a:gd name="connsiteX0" fmla="*/ 0 w 3115338"/>
              <a:gd name="connsiteY0" fmla="*/ 1620501 h 3241002"/>
              <a:gd name="connsiteX1" fmla="*/ 778835 w 3115338"/>
              <a:gd name="connsiteY1" fmla="*/ 1 h 3241002"/>
              <a:gd name="connsiteX2" fmla="*/ 2336504 w 3115338"/>
              <a:gd name="connsiteY2" fmla="*/ 1 h 3241002"/>
              <a:gd name="connsiteX3" fmla="*/ 3115338 w 3115338"/>
              <a:gd name="connsiteY3" fmla="*/ 1620501 h 3241002"/>
              <a:gd name="connsiteX4" fmla="*/ 2336504 w 3115338"/>
              <a:gd name="connsiteY4" fmla="*/ 3241001 h 3241002"/>
              <a:gd name="connsiteX5" fmla="*/ 778835 w 3115338"/>
              <a:gd name="connsiteY5" fmla="*/ 3241001 h 3241002"/>
              <a:gd name="connsiteX6" fmla="*/ 0 w 3115338"/>
              <a:gd name="connsiteY6" fmla="*/ 1620501 h 3241002"/>
              <a:gd name="connsiteX0" fmla="*/ 0 w 3093822"/>
              <a:gd name="connsiteY0" fmla="*/ 706100 h 3241000"/>
              <a:gd name="connsiteX1" fmla="*/ 757319 w 3093822"/>
              <a:gd name="connsiteY1" fmla="*/ 0 h 3241000"/>
              <a:gd name="connsiteX2" fmla="*/ 2314988 w 3093822"/>
              <a:gd name="connsiteY2" fmla="*/ 0 h 3241000"/>
              <a:gd name="connsiteX3" fmla="*/ 3093822 w 3093822"/>
              <a:gd name="connsiteY3" fmla="*/ 1620500 h 3241000"/>
              <a:gd name="connsiteX4" fmla="*/ 2314988 w 3093822"/>
              <a:gd name="connsiteY4" fmla="*/ 3241000 h 3241000"/>
              <a:gd name="connsiteX5" fmla="*/ 757319 w 3093822"/>
              <a:gd name="connsiteY5" fmla="*/ 3241000 h 3241000"/>
              <a:gd name="connsiteX6" fmla="*/ 0 w 3093822"/>
              <a:gd name="connsiteY6" fmla="*/ 706100 h 3241000"/>
              <a:gd name="connsiteX0" fmla="*/ 0 w 3093822"/>
              <a:gd name="connsiteY0" fmla="*/ 1157921 h 3692821"/>
              <a:gd name="connsiteX1" fmla="*/ 1542627 w 3093822"/>
              <a:gd name="connsiteY1" fmla="*/ 0 h 3692821"/>
              <a:gd name="connsiteX2" fmla="*/ 2314988 w 3093822"/>
              <a:gd name="connsiteY2" fmla="*/ 451821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093822"/>
              <a:gd name="connsiteY0" fmla="*/ 1157921 h 3692821"/>
              <a:gd name="connsiteX1" fmla="*/ 1542627 w 3093822"/>
              <a:gd name="connsiteY1" fmla="*/ 0 h 3692821"/>
              <a:gd name="connsiteX2" fmla="*/ 3089538 w 3093822"/>
              <a:gd name="connsiteY2" fmla="*/ 1151068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104579"/>
              <a:gd name="connsiteY0" fmla="*/ 1157921 h 3692821"/>
              <a:gd name="connsiteX1" fmla="*/ 1542627 w 3104579"/>
              <a:gd name="connsiteY1" fmla="*/ 0 h 3692821"/>
              <a:gd name="connsiteX2" fmla="*/ 3089538 w 3104579"/>
              <a:gd name="connsiteY2" fmla="*/ 1151068 h 3692821"/>
              <a:gd name="connsiteX3" fmla="*/ 3104579 w 3104579"/>
              <a:gd name="connsiteY3" fmla="*/ 2814598 h 3692821"/>
              <a:gd name="connsiteX4" fmla="*/ 2314988 w 3104579"/>
              <a:gd name="connsiteY4" fmla="*/ 3692821 h 3692821"/>
              <a:gd name="connsiteX5" fmla="*/ 757319 w 3104579"/>
              <a:gd name="connsiteY5" fmla="*/ 3692821 h 3692821"/>
              <a:gd name="connsiteX6" fmla="*/ 0 w 3104579"/>
              <a:gd name="connsiteY6" fmla="*/ 1157921 h 3692821"/>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757319 w 3104579"/>
              <a:gd name="connsiteY5" fmla="*/ 3692821 h 3994035"/>
              <a:gd name="connsiteX6" fmla="*/ 0 w 3104579"/>
              <a:gd name="connsiteY6" fmla="*/ 1157921 h 3994035"/>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57921 h 3994035"/>
              <a:gd name="connsiteX0" fmla="*/ 0 w 3104579"/>
              <a:gd name="connsiteY0" fmla="*/ 1168679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 name="connsiteX0" fmla="*/ 0 w 3104579"/>
              <a:gd name="connsiteY0" fmla="*/ 1168679 h 3994035"/>
              <a:gd name="connsiteX1" fmla="*/ 1542627 w 3104579"/>
              <a:gd name="connsiteY1" fmla="*/ 0 h 3994035"/>
              <a:gd name="connsiteX2" fmla="*/ 3100295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04579" h="3994035">
                <a:moveTo>
                  <a:pt x="0" y="1168679"/>
                </a:moveTo>
                <a:lnTo>
                  <a:pt x="1542627" y="0"/>
                </a:lnTo>
                <a:lnTo>
                  <a:pt x="3100295" y="1151068"/>
                </a:lnTo>
                <a:lnTo>
                  <a:pt x="3104579" y="2814598"/>
                </a:lnTo>
                <a:lnTo>
                  <a:pt x="1540438" y="3994035"/>
                </a:lnTo>
                <a:lnTo>
                  <a:pt x="4284" y="2853725"/>
                </a:lnTo>
                <a:lnTo>
                  <a:pt x="0" y="1168679"/>
                </a:lnTo>
                <a:close/>
              </a:path>
            </a:pathLst>
          </a:custGeom>
          <a:solidFill>
            <a:schemeClr val="bg1"/>
          </a:solidFill>
        </p:spPr>
        <p:txBody>
          <a:bodyPr/>
          <a:lstStyle/>
          <a:p>
            <a:endParaRPr lang="sv-SE"/>
          </a:p>
        </p:txBody>
      </p:sp>
      <p:sp>
        <p:nvSpPr>
          <p:cNvPr id="16" name="Platshållare för text 12">
            <a:extLst>
              <a:ext uri="{FF2B5EF4-FFF2-40B4-BE49-F238E27FC236}">
                <a16:creationId xmlns:a16="http://schemas.microsoft.com/office/drawing/2014/main" id="{4C16B975-8481-49EF-85B2-019EF1DB9189}"/>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17" name="Platshållare för sidfot 5">
            <a:extLst>
              <a:ext uri="{FF2B5EF4-FFF2-40B4-BE49-F238E27FC236}">
                <a16:creationId xmlns:a16="http://schemas.microsoft.com/office/drawing/2014/main" id="{2D0B0CAB-9EFB-495C-BF3F-C2A542EAECCE}"/>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19797717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Text - Bild">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a:xfrm>
            <a:off x="469900" y="254000"/>
            <a:ext cx="6121400" cy="687388"/>
          </a:xfrm>
        </p:spPr>
        <p:txBody>
          <a:bodyPr/>
          <a:lstStyle/>
          <a:p>
            <a:r>
              <a:rPr lang="sv-SE"/>
              <a:t>Klicka här för att ändra mall för rubrikformat</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12" name="Platshållare för text 6">
            <a:extLst>
              <a:ext uri="{FF2B5EF4-FFF2-40B4-BE49-F238E27FC236}">
                <a16:creationId xmlns:a16="http://schemas.microsoft.com/office/drawing/2014/main" id="{4A8D53C4-8A67-4681-8824-CEBD558DD74C}"/>
              </a:ext>
            </a:extLst>
          </p:cNvPr>
          <p:cNvSpPr>
            <a:spLocks noGrp="1"/>
          </p:cNvSpPr>
          <p:nvPr>
            <p:ph type="body" sz="quarter" idx="21"/>
          </p:nvPr>
        </p:nvSpPr>
        <p:spPr>
          <a:xfrm>
            <a:off x="469898" y="1068388"/>
            <a:ext cx="4038599" cy="312261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5" name="Platshållare för bild 12">
            <a:extLst>
              <a:ext uri="{FF2B5EF4-FFF2-40B4-BE49-F238E27FC236}">
                <a16:creationId xmlns:a16="http://schemas.microsoft.com/office/drawing/2014/main" id="{B3B2ABBB-4053-4E91-8EB2-5975FE899DE7}"/>
              </a:ext>
            </a:extLst>
          </p:cNvPr>
          <p:cNvSpPr>
            <a:spLocks noGrp="1"/>
          </p:cNvSpPr>
          <p:nvPr>
            <p:ph type="pic" sz="quarter" idx="10"/>
          </p:nvPr>
        </p:nvSpPr>
        <p:spPr>
          <a:xfrm>
            <a:off x="5321871" y="254000"/>
            <a:ext cx="3320479" cy="3946526"/>
          </a:xfrm>
          <a:custGeom>
            <a:avLst/>
            <a:gdLst>
              <a:gd name="connsiteX0" fmla="*/ 0 w 3115338"/>
              <a:gd name="connsiteY0" fmla="*/ 1620501 h 3241002"/>
              <a:gd name="connsiteX1" fmla="*/ 778835 w 3115338"/>
              <a:gd name="connsiteY1" fmla="*/ 1 h 3241002"/>
              <a:gd name="connsiteX2" fmla="*/ 2336504 w 3115338"/>
              <a:gd name="connsiteY2" fmla="*/ 1 h 3241002"/>
              <a:gd name="connsiteX3" fmla="*/ 3115338 w 3115338"/>
              <a:gd name="connsiteY3" fmla="*/ 1620501 h 3241002"/>
              <a:gd name="connsiteX4" fmla="*/ 2336504 w 3115338"/>
              <a:gd name="connsiteY4" fmla="*/ 3241001 h 3241002"/>
              <a:gd name="connsiteX5" fmla="*/ 778835 w 3115338"/>
              <a:gd name="connsiteY5" fmla="*/ 3241001 h 3241002"/>
              <a:gd name="connsiteX6" fmla="*/ 0 w 3115338"/>
              <a:gd name="connsiteY6" fmla="*/ 1620501 h 3241002"/>
              <a:gd name="connsiteX0" fmla="*/ 0 w 3093822"/>
              <a:gd name="connsiteY0" fmla="*/ 706100 h 3241000"/>
              <a:gd name="connsiteX1" fmla="*/ 757319 w 3093822"/>
              <a:gd name="connsiteY1" fmla="*/ 0 h 3241000"/>
              <a:gd name="connsiteX2" fmla="*/ 2314988 w 3093822"/>
              <a:gd name="connsiteY2" fmla="*/ 0 h 3241000"/>
              <a:gd name="connsiteX3" fmla="*/ 3093822 w 3093822"/>
              <a:gd name="connsiteY3" fmla="*/ 1620500 h 3241000"/>
              <a:gd name="connsiteX4" fmla="*/ 2314988 w 3093822"/>
              <a:gd name="connsiteY4" fmla="*/ 3241000 h 3241000"/>
              <a:gd name="connsiteX5" fmla="*/ 757319 w 3093822"/>
              <a:gd name="connsiteY5" fmla="*/ 3241000 h 3241000"/>
              <a:gd name="connsiteX6" fmla="*/ 0 w 3093822"/>
              <a:gd name="connsiteY6" fmla="*/ 706100 h 3241000"/>
              <a:gd name="connsiteX0" fmla="*/ 0 w 3093822"/>
              <a:gd name="connsiteY0" fmla="*/ 1157921 h 3692821"/>
              <a:gd name="connsiteX1" fmla="*/ 1542627 w 3093822"/>
              <a:gd name="connsiteY1" fmla="*/ 0 h 3692821"/>
              <a:gd name="connsiteX2" fmla="*/ 2314988 w 3093822"/>
              <a:gd name="connsiteY2" fmla="*/ 451821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093822"/>
              <a:gd name="connsiteY0" fmla="*/ 1157921 h 3692821"/>
              <a:gd name="connsiteX1" fmla="*/ 1542627 w 3093822"/>
              <a:gd name="connsiteY1" fmla="*/ 0 h 3692821"/>
              <a:gd name="connsiteX2" fmla="*/ 3089538 w 3093822"/>
              <a:gd name="connsiteY2" fmla="*/ 1151068 h 3692821"/>
              <a:gd name="connsiteX3" fmla="*/ 3093822 w 3093822"/>
              <a:gd name="connsiteY3" fmla="*/ 2072321 h 3692821"/>
              <a:gd name="connsiteX4" fmla="*/ 2314988 w 3093822"/>
              <a:gd name="connsiteY4" fmla="*/ 3692821 h 3692821"/>
              <a:gd name="connsiteX5" fmla="*/ 757319 w 3093822"/>
              <a:gd name="connsiteY5" fmla="*/ 3692821 h 3692821"/>
              <a:gd name="connsiteX6" fmla="*/ 0 w 3093822"/>
              <a:gd name="connsiteY6" fmla="*/ 1157921 h 3692821"/>
              <a:gd name="connsiteX0" fmla="*/ 0 w 3104579"/>
              <a:gd name="connsiteY0" fmla="*/ 1157921 h 3692821"/>
              <a:gd name="connsiteX1" fmla="*/ 1542627 w 3104579"/>
              <a:gd name="connsiteY1" fmla="*/ 0 h 3692821"/>
              <a:gd name="connsiteX2" fmla="*/ 3089538 w 3104579"/>
              <a:gd name="connsiteY2" fmla="*/ 1151068 h 3692821"/>
              <a:gd name="connsiteX3" fmla="*/ 3104579 w 3104579"/>
              <a:gd name="connsiteY3" fmla="*/ 2814598 h 3692821"/>
              <a:gd name="connsiteX4" fmla="*/ 2314988 w 3104579"/>
              <a:gd name="connsiteY4" fmla="*/ 3692821 h 3692821"/>
              <a:gd name="connsiteX5" fmla="*/ 757319 w 3104579"/>
              <a:gd name="connsiteY5" fmla="*/ 3692821 h 3692821"/>
              <a:gd name="connsiteX6" fmla="*/ 0 w 3104579"/>
              <a:gd name="connsiteY6" fmla="*/ 1157921 h 3692821"/>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757319 w 3104579"/>
              <a:gd name="connsiteY5" fmla="*/ 3692821 h 3994035"/>
              <a:gd name="connsiteX6" fmla="*/ 0 w 3104579"/>
              <a:gd name="connsiteY6" fmla="*/ 1157921 h 3994035"/>
              <a:gd name="connsiteX0" fmla="*/ 0 w 3104579"/>
              <a:gd name="connsiteY0" fmla="*/ 1157921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57921 h 3994035"/>
              <a:gd name="connsiteX0" fmla="*/ 0 w 3104579"/>
              <a:gd name="connsiteY0" fmla="*/ 1168679 h 3994035"/>
              <a:gd name="connsiteX1" fmla="*/ 1542627 w 3104579"/>
              <a:gd name="connsiteY1" fmla="*/ 0 h 3994035"/>
              <a:gd name="connsiteX2" fmla="*/ 3089538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 name="connsiteX0" fmla="*/ 0 w 3104579"/>
              <a:gd name="connsiteY0" fmla="*/ 1168679 h 3994035"/>
              <a:gd name="connsiteX1" fmla="*/ 1542627 w 3104579"/>
              <a:gd name="connsiteY1" fmla="*/ 0 h 3994035"/>
              <a:gd name="connsiteX2" fmla="*/ 3100295 w 3104579"/>
              <a:gd name="connsiteY2" fmla="*/ 1151068 h 3994035"/>
              <a:gd name="connsiteX3" fmla="*/ 3104579 w 3104579"/>
              <a:gd name="connsiteY3" fmla="*/ 2814598 h 3994035"/>
              <a:gd name="connsiteX4" fmla="*/ 1540438 w 3104579"/>
              <a:gd name="connsiteY4" fmla="*/ 3994035 h 3994035"/>
              <a:gd name="connsiteX5" fmla="*/ 4284 w 3104579"/>
              <a:gd name="connsiteY5" fmla="*/ 2853725 h 3994035"/>
              <a:gd name="connsiteX6" fmla="*/ 0 w 3104579"/>
              <a:gd name="connsiteY6" fmla="*/ 1168679 h 3994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04579" h="3994035">
                <a:moveTo>
                  <a:pt x="0" y="1168679"/>
                </a:moveTo>
                <a:lnTo>
                  <a:pt x="1542627" y="0"/>
                </a:lnTo>
                <a:lnTo>
                  <a:pt x="3100295" y="1151068"/>
                </a:lnTo>
                <a:lnTo>
                  <a:pt x="3104579" y="2814598"/>
                </a:lnTo>
                <a:lnTo>
                  <a:pt x="1540438" y="3994035"/>
                </a:lnTo>
                <a:lnTo>
                  <a:pt x="4284" y="2853725"/>
                </a:lnTo>
                <a:lnTo>
                  <a:pt x="0" y="1168679"/>
                </a:lnTo>
                <a:close/>
              </a:path>
            </a:pathLst>
          </a:custGeom>
          <a:solidFill>
            <a:schemeClr val="bg1"/>
          </a:solidFill>
        </p:spPr>
        <p:txBody>
          <a:bodyPr/>
          <a:lstStyle/>
          <a:p>
            <a:endParaRPr lang="sv-SE"/>
          </a:p>
        </p:txBody>
      </p:sp>
      <p:sp>
        <p:nvSpPr>
          <p:cNvPr id="16" name="Platshållare för text 12">
            <a:extLst>
              <a:ext uri="{FF2B5EF4-FFF2-40B4-BE49-F238E27FC236}">
                <a16:creationId xmlns:a16="http://schemas.microsoft.com/office/drawing/2014/main" id="{4C16B975-8481-49EF-85B2-019EF1DB9189}"/>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17" name="Platshållare för sidfot 5">
            <a:extLst>
              <a:ext uri="{FF2B5EF4-FFF2-40B4-BE49-F238E27FC236}">
                <a16:creationId xmlns:a16="http://schemas.microsoft.com/office/drawing/2014/main" id="{2D0B0CAB-9EFB-495C-BF3F-C2A542EAECCE}"/>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27163110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ext - Obj">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p:txBody>
          <a:bodyPr/>
          <a:lstStyle/>
          <a:p>
            <a:r>
              <a:rPr lang="sv-SE"/>
              <a:t>Klicka här för att ändra mall för rubrikformat</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12" name="Platshållare för text 6">
            <a:extLst>
              <a:ext uri="{FF2B5EF4-FFF2-40B4-BE49-F238E27FC236}">
                <a16:creationId xmlns:a16="http://schemas.microsoft.com/office/drawing/2014/main" id="{4A8D53C4-8A67-4681-8824-CEBD558DD74C}"/>
              </a:ext>
            </a:extLst>
          </p:cNvPr>
          <p:cNvSpPr>
            <a:spLocks noGrp="1"/>
          </p:cNvSpPr>
          <p:nvPr>
            <p:ph type="body" sz="quarter" idx="21"/>
          </p:nvPr>
        </p:nvSpPr>
        <p:spPr>
          <a:xfrm>
            <a:off x="469899" y="1068388"/>
            <a:ext cx="3843918" cy="312261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innehåll 4">
            <a:extLst>
              <a:ext uri="{FF2B5EF4-FFF2-40B4-BE49-F238E27FC236}">
                <a16:creationId xmlns:a16="http://schemas.microsoft.com/office/drawing/2014/main" id="{B6E2CE16-DC15-43CB-AD80-085D5F8F24DA}"/>
              </a:ext>
            </a:extLst>
          </p:cNvPr>
          <p:cNvSpPr>
            <a:spLocks noGrp="1"/>
          </p:cNvSpPr>
          <p:nvPr>
            <p:ph sz="quarter" idx="19"/>
          </p:nvPr>
        </p:nvSpPr>
        <p:spPr>
          <a:xfrm>
            <a:off x="4635500" y="1068388"/>
            <a:ext cx="4038599" cy="2998003"/>
          </a:xfrm>
          <a:solidFill>
            <a:schemeClr val="bg1"/>
          </a:solidFill>
        </p:spPr>
        <p:txBody>
          <a:bodyPr lIns="72000" tIns="72000" rIns="72000" bIns="7200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5" name="Platshållare för text 12">
            <a:extLst>
              <a:ext uri="{FF2B5EF4-FFF2-40B4-BE49-F238E27FC236}">
                <a16:creationId xmlns:a16="http://schemas.microsoft.com/office/drawing/2014/main" id="{722B9103-6880-4AD6-AADD-F5C6E2B6206B}"/>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16" name="Platshållare för sidfot 5">
            <a:extLst>
              <a:ext uri="{FF2B5EF4-FFF2-40B4-BE49-F238E27FC236}">
                <a16:creationId xmlns:a16="http://schemas.microsoft.com/office/drawing/2014/main" id="{88C7F0BB-5FD6-44AE-B605-2277AF2951EE}"/>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249410384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Section Blue">
    <p:spTree>
      <p:nvGrpSpPr>
        <p:cNvPr id="1" name=""/>
        <p:cNvGrpSpPr/>
        <p:nvPr/>
      </p:nvGrpSpPr>
      <p:grpSpPr>
        <a:xfrm>
          <a:off x="0" y="0"/>
          <a:ext cx="0" cy="0"/>
          <a:chOff x="0" y="0"/>
          <a:chExt cx="0" cy="0"/>
        </a:xfrm>
      </p:grpSpPr>
      <p:sp>
        <p:nvSpPr>
          <p:cNvPr id="20" name="Rektangel 19"/>
          <p:cNvSpPr/>
          <p:nvPr userDrawn="1"/>
        </p:nvSpPr>
        <p:spPr>
          <a:xfrm>
            <a:off x="0" y="0"/>
            <a:ext cx="9144000" cy="5143500"/>
          </a:xfrm>
          <a:prstGeom prst="rect">
            <a:avLst/>
          </a:prstGeom>
          <a:solidFill>
            <a:schemeClr val="tx2"/>
          </a:solidFill>
          <a:ln>
            <a:noFill/>
          </a:ln>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sv-SE"/>
          </a:p>
        </p:txBody>
      </p:sp>
      <p:grpSp>
        <p:nvGrpSpPr>
          <p:cNvPr id="22" name="Grupp 21">
            <a:extLst>
              <a:ext uri="{FF2B5EF4-FFF2-40B4-BE49-F238E27FC236}">
                <a16:creationId xmlns:a16="http://schemas.microsoft.com/office/drawing/2014/main" id="{58A4F037-5372-4F50-AB2C-80E4F015FDE0}"/>
              </a:ext>
            </a:extLst>
          </p:cNvPr>
          <p:cNvGrpSpPr/>
          <p:nvPr userDrawn="1"/>
        </p:nvGrpSpPr>
        <p:grpSpPr>
          <a:xfrm>
            <a:off x="4099911" y="-1785593"/>
            <a:ext cx="8908892" cy="8714685"/>
            <a:chOff x="3589405" y="387640"/>
            <a:chExt cx="5873827" cy="5872463"/>
          </a:xfrm>
          <a:solidFill>
            <a:schemeClr val="bg1">
              <a:alpha val="10000"/>
            </a:schemeClr>
          </a:solidFill>
        </p:grpSpPr>
        <p:sp>
          <p:nvSpPr>
            <p:cNvPr id="23" name="Freeform 5">
              <a:extLst>
                <a:ext uri="{FF2B5EF4-FFF2-40B4-BE49-F238E27FC236}">
                  <a16:creationId xmlns:a16="http://schemas.microsoft.com/office/drawing/2014/main" id="{7C1D4E85-F2CE-4336-8CC8-25E235311297}"/>
                </a:ext>
              </a:extLst>
            </p:cNvPr>
            <p:cNvSpPr>
              <a:spLocks/>
            </p:cNvSpPr>
            <p:nvPr/>
          </p:nvSpPr>
          <p:spPr bwMode="auto">
            <a:xfrm>
              <a:off x="3871774" y="678194"/>
              <a:ext cx="1392749" cy="1400934"/>
            </a:xfrm>
            <a:custGeom>
              <a:avLst/>
              <a:gdLst>
                <a:gd name="T0" fmla="*/ 2096 w 2096"/>
                <a:gd name="T1" fmla="*/ 0 h 2108"/>
                <a:gd name="T2" fmla="*/ 877 w 2096"/>
                <a:gd name="T3" fmla="*/ 863 h 2108"/>
                <a:gd name="T4" fmla="*/ 0 w 2096"/>
                <a:gd name="T5" fmla="*/ 2108 h 2108"/>
                <a:gd name="T6" fmla="*/ 981 w 2096"/>
                <a:gd name="T7" fmla="*/ 948 h 2108"/>
                <a:gd name="T8" fmla="*/ 2096 w 2096"/>
                <a:gd name="T9" fmla="*/ 0 h 2108"/>
              </a:gdLst>
              <a:ahLst/>
              <a:cxnLst>
                <a:cxn ang="0">
                  <a:pos x="T0" y="T1"/>
                </a:cxn>
                <a:cxn ang="0">
                  <a:pos x="T2" y="T3"/>
                </a:cxn>
                <a:cxn ang="0">
                  <a:pos x="T4" y="T5"/>
                </a:cxn>
                <a:cxn ang="0">
                  <a:pos x="T6" y="T7"/>
                </a:cxn>
                <a:cxn ang="0">
                  <a:pos x="T8" y="T9"/>
                </a:cxn>
              </a:cxnLst>
              <a:rect l="0" t="0" r="r" b="b"/>
              <a:pathLst>
                <a:path w="2096" h="2108">
                  <a:moveTo>
                    <a:pt x="2096" y="0"/>
                  </a:moveTo>
                  <a:cubicBezTo>
                    <a:pt x="1655" y="211"/>
                    <a:pt x="1242" y="498"/>
                    <a:pt x="877" y="863"/>
                  </a:cubicBezTo>
                  <a:cubicBezTo>
                    <a:pt x="504" y="1235"/>
                    <a:pt x="213" y="1658"/>
                    <a:pt x="0" y="2108"/>
                  </a:cubicBezTo>
                  <a:cubicBezTo>
                    <a:pt x="254" y="1741"/>
                    <a:pt x="588" y="1343"/>
                    <a:pt x="981" y="948"/>
                  </a:cubicBezTo>
                  <a:cubicBezTo>
                    <a:pt x="1360" y="571"/>
                    <a:pt x="1741" y="249"/>
                    <a:pt x="209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4" name="Freeform 6">
              <a:extLst>
                <a:ext uri="{FF2B5EF4-FFF2-40B4-BE49-F238E27FC236}">
                  <a16:creationId xmlns:a16="http://schemas.microsoft.com/office/drawing/2014/main" id="{AAC8634F-3E34-4168-8D60-19B3A00C0D81}"/>
                </a:ext>
              </a:extLst>
            </p:cNvPr>
            <p:cNvSpPr>
              <a:spLocks/>
            </p:cNvSpPr>
            <p:nvPr/>
          </p:nvSpPr>
          <p:spPr bwMode="auto">
            <a:xfrm>
              <a:off x="3635784" y="435383"/>
              <a:ext cx="2381724" cy="2399457"/>
            </a:xfrm>
            <a:custGeom>
              <a:avLst/>
              <a:gdLst>
                <a:gd name="T0" fmla="*/ 446 w 3585"/>
                <a:gd name="T1" fmla="*/ 2866 h 3609"/>
                <a:gd name="T2" fmla="*/ 484 w 3585"/>
                <a:gd name="T3" fmla="*/ 2811 h 3609"/>
                <a:gd name="T4" fmla="*/ 1565 w 3585"/>
                <a:gd name="T5" fmla="*/ 1541 h 3609"/>
                <a:gd name="T6" fmla="*/ 2835 w 3585"/>
                <a:gd name="T7" fmla="*/ 460 h 3609"/>
                <a:gd name="T8" fmla="*/ 2891 w 3585"/>
                <a:gd name="T9" fmla="*/ 422 h 3609"/>
                <a:gd name="T10" fmla="*/ 2945 w 3585"/>
                <a:gd name="T11" fmla="*/ 385 h 3609"/>
                <a:gd name="T12" fmla="*/ 3585 w 3585"/>
                <a:gd name="T13" fmla="*/ 0 h 3609"/>
                <a:gd name="T14" fmla="*/ 3071 w 3585"/>
                <a:gd name="T15" fmla="*/ 123 h 3609"/>
                <a:gd name="T16" fmla="*/ 2863 w 3585"/>
                <a:gd name="T17" fmla="*/ 239 h 3609"/>
                <a:gd name="T18" fmla="*/ 2809 w 3585"/>
                <a:gd name="T19" fmla="*/ 272 h 3609"/>
                <a:gd name="T20" fmla="*/ 2752 w 3585"/>
                <a:gd name="T21" fmla="*/ 307 h 3609"/>
                <a:gd name="T22" fmla="*/ 1420 w 3585"/>
                <a:gd name="T23" fmla="*/ 1396 h 3609"/>
                <a:gd name="T24" fmla="*/ 331 w 3585"/>
                <a:gd name="T25" fmla="*/ 2728 h 3609"/>
                <a:gd name="T26" fmla="*/ 296 w 3585"/>
                <a:gd name="T27" fmla="*/ 2785 h 3609"/>
                <a:gd name="T28" fmla="*/ 263 w 3585"/>
                <a:gd name="T29" fmla="*/ 2839 h 3609"/>
                <a:gd name="T30" fmla="*/ 113 w 3585"/>
                <a:gd name="T31" fmla="*/ 3114 h 3609"/>
                <a:gd name="T32" fmla="*/ 0 w 3585"/>
                <a:gd name="T33" fmla="*/ 3609 h 3609"/>
                <a:gd name="T34" fmla="*/ 408 w 3585"/>
                <a:gd name="T35" fmla="*/ 2921 h 3609"/>
                <a:gd name="T36" fmla="*/ 446 w 3585"/>
                <a:gd name="T37" fmla="*/ 2866 h 3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85" h="3609">
                  <a:moveTo>
                    <a:pt x="446" y="2866"/>
                  </a:moveTo>
                  <a:cubicBezTo>
                    <a:pt x="459" y="2848"/>
                    <a:pt x="471" y="2830"/>
                    <a:pt x="484" y="2811"/>
                  </a:cubicBezTo>
                  <a:cubicBezTo>
                    <a:pt x="775" y="2399"/>
                    <a:pt x="1141" y="1966"/>
                    <a:pt x="1565" y="1541"/>
                  </a:cubicBezTo>
                  <a:cubicBezTo>
                    <a:pt x="1990" y="1117"/>
                    <a:pt x="2423" y="751"/>
                    <a:pt x="2835" y="460"/>
                  </a:cubicBezTo>
                  <a:cubicBezTo>
                    <a:pt x="2854" y="447"/>
                    <a:pt x="2872" y="435"/>
                    <a:pt x="2891" y="422"/>
                  </a:cubicBezTo>
                  <a:cubicBezTo>
                    <a:pt x="2909" y="409"/>
                    <a:pt x="2927" y="397"/>
                    <a:pt x="2945" y="385"/>
                  </a:cubicBezTo>
                  <a:cubicBezTo>
                    <a:pt x="3167" y="233"/>
                    <a:pt x="3382" y="104"/>
                    <a:pt x="3585" y="0"/>
                  </a:cubicBezTo>
                  <a:cubicBezTo>
                    <a:pt x="3412" y="31"/>
                    <a:pt x="3240" y="72"/>
                    <a:pt x="3071" y="123"/>
                  </a:cubicBezTo>
                  <a:cubicBezTo>
                    <a:pt x="3004" y="158"/>
                    <a:pt x="2935" y="196"/>
                    <a:pt x="2863" y="239"/>
                  </a:cubicBezTo>
                  <a:cubicBezTo>
                    <a:pt x="2845" y="249"/>
                    <a:pt x="2827" y="261"/>
                    <a:pt x="2809" y="272"/>
                  </a:cubicBezTo>
                  <a:cubicBezTo>
                    <a:pt x="2790" y="284"/>
                    <a:pt x="2771" y="294"/>
                    <a:pt x="2752" y="307"/>
                  </a:cubicBezTo>
                  <a:cubicBezTo>
                    <a:pt x="2343" y="565"/>
                    <a:pt x="1875" y="939"/>
                    <a:pt x="1420" y="1396"/>
                  </a:cubicBezTo>
                  <a:cubicBezTo>
                    <a:pt x="963" y="1851"/>
                    <a:pt x="589" y="2319"/>
                    <a:pt x="331" y="2728"/>
                  </a:cubicBezTo>
                  <a:cubicBezTo>
                    <a:pt x="318" y="2747"/>
                    <a:pt x="308" y="2766"/>
                    <a:pt x="296" y="2785"/>
                  </a:cubicBezTo>
                  <a:cubicBezTo>
                    <a:pt x="285" y="2803"/>
                    <a:pt x="273" y="2821"/>
                    <a:pt x="263" y="2839"/>
                  </a:cubicBezTo>
                  <a:cubicBezTo>
                    <a:pt x="205" y="2935"/>
                    <a:pt x="156" y="3027"/>
                    <a:pt x="113" y="3114"/>
                  </a:cubicBezTo>
                  <a:cubicBezTo>
                    <a:pt x="65" y="3277"/>
                    <a:pt x="28" y="3443"/>
                    <a:pt x="0" y="3609"/>
                  </a:cubicBezTo>
                  <a:cubicBezTo>
                    <a:pt x="107" y="3392"/>
                    <a:pt x="245" y="3161"/>
                    <a:pt x="408" y="2921"/>
                  </a:cubicBezTo>
                  <a:cubicBezTo>
                    <a:pt x="421" y="2903"/>
                    <a:pt x="433" y="2885"/>
                    <a:pt x="446" y="28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5" name="Freeform 7">
              <a:extLst>
                <a:ext uri="{FF2B5EF4-FFF2-40B4-BE49-F238E27FC236}">
                  <a16:creationId xmlns:a16="http://schemas.microsoft.com/office/drawing/2014/main" id="{1044E1AF-5D57-4C57-A718-661729CA160C}"/>
                </a:ext>
              </a:extLst>
            </p:cNvPr>
            <p:cNvSpPr>
              <a:spLocks/>
            </p:cNvSpPr>
            <p:nvPr/>
          </p:nvSpPr>
          <p:spPr bwMode="auto">
            <a:xfrm>
              <a:off x="3589405" y="387640"/>
              <a:ext cx="3051498" cy="3077416"/>
            </a:xfrm>
            <a:custGeom>
              <a:avLst/>
              <a:gdLst>
                <a:gd name="T0" fmla="*/ 267 w 4592"/>
                <a:gd name="T1" fmla="*/ 4024 h 4629"/>
                <a:gd name="T2" fmla="*/ 1026 w 4592"/>
                <a:gd name="T3" fmla="*/ 2858 h 4629"/>
                <a:gd name="T4" fmla="*/ 1121 w 4592"/>
                <a:gd name="T5" fmla="*/ 2738 h 4629"/>
                <a:gd name="T6" fmla="*/ 1236 w 4592"/>
                <a:gd name="T7" fmla="*/ 2597 h 4629"/>
                <a:gd name="T8" fmla="*/ 1896 w 4592"/>
                <a:gd name="T9" fmla="*/ 1875 h 4629"/>
                <a:gd name="T10" fmla="*/ 2618 w 4592"/>
                <a:gd name="T11" fmla="*/ 1215 h 4629"/>
                <a:gd name="T12" fmla="*/ 2759 w 4592"/>
                <a:gd name="T13" fmla="*/ 1101 h 4629"/>
                <a:gd name="T14" fmla="*/ 2878 w 4592"/>
                <a:gd name="T15" fmla="*/ 1006 h 4629"/>
                <a:gd name="T16" fmla="*/ 4045 w 4592"/>
                <a:gd name="T17" fmla="*/ 246 h 4629"/>
                <a:gd name="T18" fmla="*/ 4104 w 4592"/>
                <a:gd name="T19" fmla="*/ 217 h 4629"/>
                <a:gd name="T20" fmla="*/ 4159 w 4592"/>
                <a:gd name="T21" fmla="*/ 189 h 4629"/>
                <a:gd name="T22" fmla="*/ 4592 w 4592"/>
                <a:gd name="T23" fmla="*/ 6 h 4629"/>
                <a:gd name="T24" fmla="*/ 4098 w 4592"/>
                <a:gd name="T25" fmla="*/ 16 h 4629"/>
                <a:gd name="T26" fmla="*/ 4059 w 4592"/>
                <a:gd name="T27" fmla="*/ 19 h 4629"/>
                <a:gd name="T28" fmla="*/ 4034 w 4592"/>
                <a:gd name="T29" fmla="*/ 29 h 4629"/>
                <a:gd name="T30" fmla="*/ 3987 w 4592"/>
                <a:gd name="T31" fmla="*/ 49 h 4629"/>
                <a:gd name="T32" fmla="*/ 3976 w 4592"/>
                <a:gd name="T33" fmla="*/ 53 h 4629"/>
                <a:gd name="T34" fmla="*/ 3018 w 4592"/>
                <a:gd name="T35" fmla="*/ 598 h 4629"/>
                <a:gd name="T36" fmla="*/ 2950 w 4592"/>
                <a:gd name="T37" fmla="*/ 644 h 4629"/>
                <a:gd name="T38" fmla="*/ 2877 w 4592"/>
                <a:gd name="T39" fmla="*/ 698 h 4629"/>
                <a:gd name="T40" fmla="*/ 1717 w 4592"/>
                <a:gd name="T41" fmla="*/ 1696 h 4629"/>
                <a:gd name="T42" fmla="*/ 718 w 4592"/>
                <a:gd name="T43" fmla="*/ 2856 h 4629"/>
                <a:gd name="T44" fmla="*/ 665 w 4592"/>
                <a:gd name="T45" fmla="*/ 2929 h 4629"/>
                <a:gd name="T46" fmla="*/ 618 w 4592"/>
                <a:gd name="T47" fmla="*/ 2997 h 4629"/>
                <a:gd name="T48" fmla="*/ 74 w 4592"/>
                <a:gd name="T49" fmla="*/ 3955 h 4629"/>
                <a:gd name="T50" fmla="*/ 50 w 4592"/>
                <a:gd name="T51" fmla="*/ 4013 h 4629"/>
                <a:gd name="T52" fmla="*/ 28 w 4592"/>
                <a:gd name="T53" fmla="*/ 4070 h 4629"/>
                <a:gd name="T54" fmla="*/ 17 w 4592"/>
                <a:gd name="T55" fmla="*/ 4101 h 4629"/>
                <a:gd name="T56" fmla="*/ 8 w 4592"/>
                <a:gd name="T57" fmla="*/ 4629 h 4629"/>
                <a:gd name="T58" fmla="*/ 210 w 4592"/>
                <a:gd name="T59" fmla="*/ 4138 h 4629"/>
                <a:gd name="T60" fmla="*/ 238 w 4592"/>
                <a:gd name="T61" fmla="*/ 4083 h 4629"/>
                <a:gd name="T62" fmla="*/ 267 w 4592"/>
                <a:gd name="T63" fmla="*/ 4024 h 4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92" h="4629">
                  <a:moveTo>
                    <a:pt x="267" y="4024"/>
                  </a:moveTo>
                  <a:cubicBezTo>
                    <a:pt x="457" y="3655"/>
                    <a:pt x="713" y="3259"/>
                    <a:pt x="1026" y="2858"/>
                  </a:cubicBezTo>
                  <a:cubicBezTo>
                    <a:pt x="1057" y="2818"/>
                    <a:pt x="1089" y="2778"/>
                    <a:pt x="1121" y="2738"/>
                  </a:cubicBezTo>
                  <a:cubicBezTo>
                    <a:pt x="1159" y="2691"/>
                    <a:pt x="1197" y="2644"/>
                    <a:pt x="1236" y="2597"/>
                  </a:cubicBezTo>
                  <a:cubicBezTo>
                    <a:pt x="1437" y="2356"/>
                    <a:pt x="1658" y="2114"/>
                    <a:pt x="1896" y="1875"/>
                  </a:cubicBezTo>
                  <a:cubicBezTo>
                    <a:pt x="2134" y="1637"/>
                    <a:pt x="2376" y="1417"/>
                    <a:pt x="2618" y="1215"/>
                  </a:cubicBezTo>
                  <a:cubicBezTo>
                    <a:pt x="2665" y="1176"/>
                    <a:pt x="2712" y="1138"/>
                    <a:pt x="2759" y="1101"/>
                  </a:cubicBezTo>
                  <a:cubicBezTo>
                    <a:pt x="2799" y="1068"/>
                    <a:pt x="2839" y="1037"/>
                    <a:pt x="2878" y="1006"/>
                  </a:cubicBezTo>
                  <a:cubicBezTo>
                    <a:pt x="3280" y="693"/>
                    <a:pt x="3675" y="437"/>
                    <a:pt x="4045" y="246"/>
                  </a:cubicBezTo>
                  <a:cubicBezTo>
                    <a:pt x="4065" y="236"/>
                    <a:pt x="4084" y="226"/>
                    <a:pt x="4104" y="217"/>
                  </a:cubicBezTo>
                  <a:cubicBezTo>
                    <a:pt x="4122" y="208"/>
                    <a:pt x="4141" y="198"/>
                    <a:pt x="4159" y="189"/>
                  </a:cubicBezTo>
                  <a:cubicBezTo>
                    <a:pt x="4309" y="116"/>
                    <a:pt x="4453" y="55"/>
                    <a:pt x="4592" y="6"/>
                  </a:cubicBezTo>
                  <a:cubicBezTo>
                    <a:pt x="4427" y="0"/>
                    <a:pt x="4262" y="3"/>
                    <a:pt x="4098" y="16"/>
                  </a:cubicBezTo>
                  <a:cubicBezTo>
                    <a:pt x="4085" y="17"/>
                    <a:pt x="4072" y="18"/>
                    <a:pt x="4059" y="19"/>
                  </a:cubicBezTo>
                  <a:cubicBezTo>
                    <a:pt x="4051" y="22"/>
                    <a:pt x="4043" y="26"/>
                    <a:pt x="4034" y="29"/>
                  </a:cubicBezTo>
                  <a:cubicBezTo>
                    <a:pt x="4019" y="35"/>
                    <a:pt x="4003" y="42"/>
                    <a:pt x="3987" y="49"/>
                  </a:cubicBezTo>
                  <a:cubicBezTo>
                    <a:pt x="3983" y="50"/>
                    <a:pt x="3980" y="51"/>
                    <a:pt x="3976" y="53"/>
                  </a:cubicBezTo>
                  <a:cubicBezTo>
                    <a:pt x="3689" y="174"/>
                    <a:pt x="3362" y="358"/>
                    <a:pt x="3018" y="598"/>
                  </a:cubicBezTo>
                  <a:cubicBezTo>
                    <a:pt x="2995" y="613"/>
                    <a:pt x="2973" y="628"/>
                    <a:pt x="2950" y="644"/>
                  </a:cubicBezTo>
                  <a:cubicBezTo>
                    <a:pt x="2926" y="661"/>
                    <a:pt x="2902" y="680"/>
                    <a:pt x="2877" y="698"/>
                  </a:cubicBezTo>
                  <a:cubicBezTo>
                    <a:pt x="2499" y="973"/>
                    <a:pt x="2103" y="1309"/>
                    <a:pt x="1717" y="1696"/>
                  </a:cubicBezTo>
                  <a:cubicBezTo>
                    <a:pt x="1330" y="2082"/>
                    <a:pt x="994" y="2478"/>
                    <a:pt x="718" y="2856"/>
                  </a:cubicBezTo>
                  <a:cubicBezTo>
                    <a:pt x="701" y="2881"/>
                    <a:pt x="682" y="2905"/>
                    <a:pt x="665" y="2929"/>
                  </a:cubicBezTo>
                  <a:cubicBezTo>
                    <a:pt x="649" y="2952"/>
                    <a:pt x="634" y="2974"/>
                    <a:pt x="618" y="2997"/>
                  </a:cubicBezTo>
                  <a:cubicBezTo>
                    <a:pt x="379" y="3341"/>
                    <a:pt x="195" y="3668"/>
                    <a:pt x="74" y="3955"/>
                  </a:cubicBezTo>
                  <a:cubicBezTo>
                    <a:pt x="66" y="3975"/>
                    <a:pt x="57" y="3994"/>
                    <a:pt x="50" y="4013"/>
                  </a:cubicBezTo>
                  <a:cubicBezTo>
                    <a:pt x="42" y="4032"/>
                    <a:pt x="35" y="4051"/>
                    <a:pt x="28" y="4070"/>
                  </a:cubicBezTo>
                  <a:cubicBezTo>
                    <a:pt x="24" y="4080"/>
                    <a:pt x="21" y="4090"/>
                    <a:pt x="17" y="4101"/>
                  </a:cubicBezTo>
                  <a:cubicBezTo>
                    <a:pt x="4" y="4276"/>
                    <a:pt x="0" y="4452"/>
                    <a:pt x="8" y="4629"/>
                  </a:cubicBezTo>
                  <a:cubicBezTo>
                    <a:pt x="60" y="4472"/>
                    <a:pt x="127" y="4309"/>
                    <a:pt x="210" y="4138"/>
                  </a:cubicBezTo>
                  <a:cubicBezTo>
                    <a:pt x="219" y="4120"/>
                    <a:pt x="228" y="4101"/>
                    <a:pt x="238" y="4083"/>
                  </a:cubicBezTo>
                  <a:cubicBezTo>
                    <a:pt x="247" y="4063"/>
                    <a:pt x="257" y="4044"/>
                    <a:pt x="267" y="40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6" name="Freeform 8">
              <a:extLst>
                <a:ext uri="{FF2B5EF4-FFF2-40B4-BE49-F238E27FC236}">
                  <a16:creationId xmlns:a16="http://schemas.microsoft.com/office/drawing/2014/main" id="{3377C1A4-0564-4448-BF92-C18ABDBCE824}"/>
                </a:ext>
              </a:extLst>
            </p:cNvPr>
            <p:cNvSpPr>
              <a:spLocks/>
            </p:cNvSpPr>
            <p:nvPr/>
          </p:nvSpPr>
          <p:spPr bwMode="auto">
            <a:xfrm>
              <a:off x="3736728" y="524050"/>
              <a:ext cx="4067755" cy="4096401"/>
            </a:xfrm>
            <a:custGeom>
              <a:avLst/>
              <a:gdLst>
                <a:gd name="T0" fmla="*/ 711 w 6120"/>
                <a:gd name="T1" fmla="*/ 4802 h 6162"/>
                <a:gd name="T2" fmla="*/ 755 w 6120"/>
                <a:gd name="T3" fmla="*/ 4721 h 6162"/>
                <a:gd name="T4" fmla="*/ 2492 w 6120"/>
                <a:gd name="T5" fmla="*/ 2487 h 6162"/>
                <a:gd name="T6" fmla="*/ 4726 w 6120"/>
                <a:gd name="T7" fmla="*/ 750 h 6162"/>
                <a:gd name="T8" fmla="*/ 4807 w 6120"/>
                <a:gd name="T9" fmla="*/ 706 h 6162"/>
                <a:gd name="T10" fmla="*/ 4883 w 6120"/>
                <a:gd name="T11" fmla="*/ 666 h 6162"/>
                <a:gd name="T12" fmla="*/ 5747 w 6120"/>
                <a:gd name="T13" fmla="*/ 308 h 6162"/>
                <a:gd name="T14" fmla="*/ 5804 w 6120"/>
                <a:gd name="T15" fmla="*/ 292 h 6162"/>
                <a:gd name="T16" fmla="*/ 5862 w 6120"/>
                <a:gd name="T17" fmla="*/ 276 h 6162"/>
                <a:gd name="T18" fmla="*/ 6120 w 6120"/>
                <a:gd name="T19" fmla="*/ 226 h 6162"/>
                <a:gd name="T20" fmla="*/ 5817 w 6120"/>
                <a:gd name="T21" fmla="*/ 96 h 6162"/>
                <a:gd name="T22" fmla="*/ 5740 w 6120"/>
                <a:gd name="T23" fmla="*/ 67 h 6162"/>
                <a:gd name="T24" fmla="*/ 5659 w 6120"/>
                <a:gd name="T25" fmla="*/ 37 h 6162"/>
                <a:gd name="T26" fmla="*/ 5541 w 6120"/>
                <a:gd name="T27" fmla="*/ 0 h 6162"/>
                <a:gd name="T28" fmla="*/ 4988 w 6120"/>
                <a:gd name="T29" fmla="*/ 131 h 6162"/>
                <a:gd name="T30" fmla="*/ 4928 w 6120"/>
                <a:gd name="T31" fmla="*/ 153 h 6162"/>
                <a:gd name="T32" fmla="*/ 4868 w 6120"/>
                <a:gd name="T33" fmla="*/ 175 h 6162"/>
                <a:gd name="T34" fmla="*/ 3700 w 6120"/>
                <a:gd name="T35" fmla="*/ 791 h 6162"/>
                <a:gd name="T36" fmla="*/ 3593 w 6120"/>
                <a:gd name="T37" fmla="*/ 862 h 6162"/>
                <a:gd name="T38" fmla="*/ 3473 w 6120"/>
                <a:gd name="T39" fmla="*/ 946 h 6162"/>
                <a:gd name="T40" fmla="*/ 2108 w 6120"/>
                <a:gd name="T41" fmla="*/ 2103 h 6162"/>
                <a:gd name="T42" fmla="*/ 951 w 6120"/>
                <a:gd name="T43" fmla="*/ 3469 h 6162"/>
                <a:gd name="T44" fmla="*/ 866 w 6120"/>
                <a:gd name="T45" fmla="*/ 3588 h 6162"/>
                <a:gd name="T46" fmla="*/ 796 w 6120"/>
                <a:gd name="T47" fmla="*/ 3695 h 6162"/>
                <a:gd name="T48" fmla="*/ 180 w 6120"/>
                <a:gd name="T49" fmla="*/ 4863 h 6162"/>
                <a:gd name="T50" fmla="*/ 157 w 6120"/>
                <a:gd name="T51" fmla="*/ 4924 h 6162"/>
                <a:gd name="T52" fmla="*/ 136 w 6120"/>
                <a:gd name="T53" fmla="*/ 4983 h 6162"/>
                <a:gd name="T54" fmla="*/ 0 w 6120"/>
                <a:gd name="T55" fmla="*/ 5601 h 6162"/>
                <a:gd name="T56" fmla="*/ 9 w 6120"/>
                <a:gd name="T57" fmla="*/ 5631 h 6162"/>
                <a:gd name="T58" fmla="*/ 39 w 6120"/>
                <a:gd name="T59" fmla="*/ 5719 h 6162"/>
                <a:gd name="T60" fmla="*/ 69 w 6120"/>
                <a:gd name="T61" fmla="*/ 5799 h 6162"/>
                <a:gd name="T62" fmla="*/ 225 w 6120"/>
                <a:gd name="T63" fmla="*/ 6162 h 6162"/>
                <a:gd name="T64" fmla="*/ 282 w 6120"/>
                <a:gd name="T65" fmla="*/ 5857 h 6162"/>
                <a:gd name="T66" fmla="*/ 297 w 6120"/>
                <a:gd name="T67" fmla="*/ 5799 h 6162"/>
                <a:gd name="T68" fmla="*/ 313 w 6120"/>
                <a:gd name="T69" fmla="*/ 5742 h 6162"/>
                <a:gd name="T70" fmla="*/ 671 w 6120"/>
                <a:gd name="T71" fmla="*/ 4877 h 6162"/>
                <a:gd name="T72" fmla="*/ 711 w 6120"/>
                <a:gd name="T73" fmla="*/ 4802 h 6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20" h="6162">
                  <a:moveTo>
                    <a:pt x="711" y="4802"/>
                  </a:moveTo>
                  <a:cubicBezTo>
                    <a:pt x="726" y="4775"/>
                    <a:pt x="740" y="4748"/>
                    <a:pt x="755" y="4721"/>
                  </a:cubicBezTo>
                  <a:cubicBezTo>
                    <a:pt x="1151" y="4012"/>
                    <a:pt x="1746" y="3234"/>
                    <a:pt x="2492" y="2487"/>
                  </a:cubicBezTo>
                  <a:cubicBezTo>
                    <a:pt x="3239" y="1741"/>
                    <a:pt x="4017" y="1146"/>
                    <a:pt x="4726" y="750"/>
                  </a:cubicBezTo>
                  <a:cubicBezTo>
                    <a:pt x="4753" y="735"/>
                    <a:pt x="4780" y="721"/>
                    <a:pt x="4807" y="706"/>
                  </a:cubicBezTo>
                  <a:cubicBezTo>
                    <a:pt x="4832" y="693"/>
                    <a:pt x="4857" y="679"/>
                    <a:pt x="4883" y="666"/>
                  </a:cubicBezTo>
                  <a:cubicBezTo>
                    <a:pt x="5189" y="506"/>
                    <a:pt x="5480" y="385"/>
                    <a:pt x="5747" y="308"/>
                  </a:cubicBezTo>
                  <a:cubicBezTo>
                    <a:pt x="5766" y="302"/>
                    <a:pt x="5785" y="297"/>
                    <a:pt x="5804" y="292"/>
                  </a:cubicBezTo>
                  <a:cubicBezTo>
                    <a:pt x="5824" y="286"/>
                    <a:pt x="5843" y="281"/>
                    <a:pt x="5862" y="276"/>
                  </a:cubicBezTo>
                  <a:cubicBezTo>
                    <a:pt x="5951" y="254"/>
                    <a:pt x="6037" y="238"/>
                    <a:pt x="6120" y="226"/>
                  </a:cubicBezTo>
                  <a:cubicBezTo>
                    <a:pt x="6020" y="179"/>
                    <a:pt x="5919" y="136"/>
                    <a:pt x="5817" y="96"/>
                  </a:cubicBezTo>
                  <a:cubicBezTo>
                    <a:pt x="5791" y="86"/>
                    <a:pt x="5766" y="76"/>
                    <a:pt x="5740" y="67"/>
                  </a:cubicBezTo>
                  <a:cubicBezTo>
                    <a:pt x="5713" y="57"/>
                    <a:pt x="5686" y="47"/>
                    <a:pt x="5659" y="37"/>
                  </a:cubicBezTo>
                  <a:cubicBezTo>
                    <a:pt x="5620" y="24"/>
                    <a:pt x="5580" y="12"/>
                    <a:pt x="5541" y="0"/>
                  </a:cubicBezTo>
                  <a:cubicBezTo>
                    <a:pt x="5373" y="19"/>
                    <a:pt x="5187" y="62"/>
                    <a:pt x="4988" y="131"/>
                  </a:cubicBezTo>
                  <a:cubicBezTo>
                    <a:pt x="4969" y="137"/>
                    <a:pt x="4948" y="145"/>
                    <a:pt x="4928" y="153"/>
                  </a:cubicBezTo>
                  <a:cubicBezTo>
                    <a:pt x="4909" y="160"/>
                    <a:pt x="4888" y="168"/>
                    <a:pt x="4868" y="175"/>
                  </a:cubicBezTo>
                  <a:cubicBezTo>
                    <a:pt x="4509" y="311"/>
                    <a:pt x="4113" y="520"/>
                    <a:pt x="3700" y="791"/>
                  </a:cubicBezTo>
                  <a:cubicBezTo>
                    <a:pt x="3665" y="815"/>
                    <a:pt x="3629" y="837"/>
                    <a:pt x="3593" y="862"/>
                  </a:cubicBezTo>
                  <a:cubicBezTo>
                    <a:pt x="3554" y="889"/>
                    <a:pt x="3513" y="918"/>
                    <a:pt x="3473" y="946"/>
                  </a:cubicBezTo>
                  <a:cubicBezTo>
                    <a:pt x="3022" y="1264"/>
                    <a:pt x="2557" y="1653"/>
                    <a:pt x="2108" y="2103"/>
                  </a:cubicBezTo>
                  <a:cubicBezTo>
                    <a:pt x="1657" y="2553"/>
                    <a:pt x="1269" y="3017"/>
                    <a:pt x="951" y="3469"/>
                  </a:cubicBezTo>
                  <a:cubicBezTo>
                    <a:pt x="922" y="3509"/>
                    <a:pt x="893" y="3549"/>
                    <a:pt x="866" y="3588"/>
                  </a:cubicBezTo>
                  <a:cubicBezTo>
                    <a:pt x="842" y="3624"/>
                    <a:pt x="819" y="3660"/>
                    <a:pt x="796" y="3695"/>
                  </a:cubicBezTo>
                  <a:cubicBezTo>
                    <a:pt x="525" y="4108"/>
                    <a:pt x="316" y="4504"/>
                    <a:pt x="180" y="4863"/>
                  </a:cubicBezTo>
                  <a:cubicBezTo>
                    <a:pt x="173" y="4883"/>
                    <a:pt x="165" y="4904"/>
                    <a:pt x="157" y="4924"/>
                  </a:cubicBezTo>
                  <a:cubicBezTo>
                    <a:pt x="150" y="4943"/>
                    <a:pt x="142" y="4964"/>
                    <a:pt x="136" y="4983"/>
                  </a:cubicBezTo>
                  <a:cubicBezTo>
                    <a:pt x="58" y="5209"/>
                    <a:pt x="13" y="5416"/>
                    <a:pt x="0" y="5601"/>
                  </a:cubicBezTo>
                  <a:cubicBezTo>
                    <a:pt x="3" y="5611"/>
                    <a:pt x="6" y="5621"/>
                    <a:pt x="9" y="5631"/>
                  </a:cubicBezTo>
                  <a:cubicBezTo>
                    <a:pt x="19" y="5660"/>
                    <a:pt x="29" y="5690"/>
                    <a:pt x="39" y="5719"/>
                  </a:cubicBezTo>
                  <a:cubicBezTo>
                    <a:pt x="49" y="5746"/>
                    <a:pt x="59" y="5772"/>
                    <a:pt x="69" y="5799"/>
                  </a:cubicBezTo>
                  <a:cubicBezTo>
                    <a:pt x="116" y="5922"/>
                    <a:pt x="168" y="6043"/>
                    <a:pt x="225" y="6162"/>
                  </a:cubicBezTo>
                  <a:cubicBezTo>
                    <a:pt x="236" y="6065"/>
                    <a:pt x="255" y="5963"/>
                    <a:pt x="282" y="5857"/>
                  </a:cubicBezTo>
                  <a:cubicBezTo>
                    <a:pt x="286" y="5838"/>
                    <a:pt x="291" y="5819"/>
                    <a:pt x="297" y="5799"/>
                  </a:cubicBezTo>
                  <a:cubicBezTo>
                    <a:pt x="302" y="5780"/>
                    <a:pt x="307" y="5761"/>
                    <a:pt x="313" y="5742"/>
                  </a:cubicBezTo>
                  <a:cubicBezTo>
                    <a:pt x="390" y="5475"/>
                    <a:pt x="511" y="5184"/>
                    <a:pt x="671" y="4877"/>
                  </a:cubicBezTo>
                  <a:cubicBezTo>
                    <a:pt x="684" y="4852"/>
                    <a:pt x="698" y="4827"/>
                    <a:pt x="711" y="48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7" name="Freeform 9">
              <a:extLst>
                <a:ext uri="{FF2B5EF4-FFF2-40B4-BE49-F238E27FC236}">
                  <a16:creationId xmlns:a16="http://schemas.microsoft.com/office/drawing/2014/main" id="{6EC9FAE3-1492-416A-BCFC-66F77187622F}"/>
                </a:ext>
              </a:extLst>
            </p:cNvPr>
            <p:cNvSpPr>
              <a:spLocks/>
            </p:cNvSpPr>
            <p:nvPr/>
          </p:nvSpPr>
          <p:spPr bwMode="auto">
            <a:xfrm>
              <a:off x="4160964" y="945558"/>
              <a:ext cx="4516544" cy="4545190"/>
            </a:xfrm>
            <a:custGeom>
              <a:avLst/>
              <a:gdLst>
                <a:gd name="T0" fmla="*/ 6710 w 6796"/>
                <a:gd name="T1" fmla="*/ 461 h 6838"/>
                <a:gd name="T2" fmla="*/ 6619 w 6796"/>
                <a:gd name="T3" fmla="*/ 375 h 6838"/>
                <a:gd name="T4" fmla="*/ 6553 w 6796"/>
                <a:gd name="T5" fmla="*/ 312 h 6838"/>
                <a:gd name="T6" fmla="*/ 6484 w 6796"/>
                <a:gd name="T7" fmla="*/ 252 h 6838"/>
                <a:gd name="T8" fmla="*/ 6170 w 6796"/>
                <a:gd name="T9" fmla="*/ 1 h 6838"/>
                <a:gd name="T10" fmla="*/ 6125 w 6796"/>
                <a:gd name="T11" fmla="*/ 0 h 6838"/>
                <a:gd name="T12" fmla="*/ 5991 w 6796"/>
                <a:gd name="T13" fmla="*/ 6 h 6838"/>
                <a:gd name="T14" fmla="*/ 5933 w 6796"/>
                <a:gd name="T15" fmla="*/ 11 h 6838"/>
                <a:gd name="T16" fmla="*/ 5874 w 6796"/>
                <a:gd name="T17" fmla="*/ 18 h 6838"/>
                <a:gd name="T18" fmla="*/ 5184 w 6796"/>
                <a:gd name="T19" fmla="*/ 205 h 6838"/>
                <a:gd name="T20" fmla="*/ 5119 w 6796"/>
                <a:gd name="T21" fmla="*/ 231 h 6838"/>
                <a:gd name="T22" fmla="*/ 5050 w 6796"/>
                <a:gd name="T23" fmla="*/ 259 h 6838"/>
                <a:gd name="T24" fmla="*/ 3758 w 6796"/>
                <a:gd name="T25" fmla="*/ 987 h 6838"/>
                <a:gd name="T26" fmla="*/ 3625 w 6796"/>
                <a:gd name="T27" fmla="*/ 1081 h 6838"/>
                <a:gd name="T28" fmla="*/ 3479 w 6796"/>
                <a:gd name="T29" fmla="*/ 1189 h 6838"/>
                <a:gd name="T30" fmla="*/ 2254 w 6796"/>
                <a:gd name="T31" fmla="*/ 2254 h 6838"/>
                <a:gd name="T32" fmla="*/ 1188 w 6796"/>
                <a:gd name="T33" fmla="*/ 3479 h 6838"/>
                <a:gd name="T34" fmla="*/ 1081 w 6796"/>
                <a:gd name="T35" fmla="*/ 3626 h 6838"/>
                <a:gd name="T36" fmla="*/ 987 w 6796"/>
                <a:gd name="T37" fmla="*/ 3758 h 6838"/>
                <a:gd name="T38" fmla="*/ 259 w 6796"/>
                <a:gd name="T39" fmla="*/ 5050 h 6838"/>
                <a:gd name="T40" fmla="*/ 231 w 6796"/>
                <a:gd name="T41" fmla="*/ 5119 h 6838"/>
                <a:gd name="T42" fmla="*/ 205 w 6796"/>
                <a:gd name="T43" fmla="*/ 5184 h 6838"/>
                <a:gd name="T44" fmla="*/ 18 w 6796"/>
                <a:gd name="T45" fmla="*/ 5874 h 6838"/>
                <a:gd name="T46" fmla="*/ 11 w 6796"/>
                <a:gd name="T47" fmla="*/ 5933 h 6838"/>
                <a:gd name="T48" fmla="*/ 6 w 6796"/>
                <a:gd name="T49" fmla="*/ 5991 h 6838"/>
                <a:gd name="T50" fmla="*/ 0 w 6796"/>
                <a:gd name="T51" fmla="*/ 6125 h 6838"/>
                <a:gd name="T52" fmla="*/ 3 w 6796"/>
                <a:gd name="T53" fmla="*/ 6220 h 6838"/>
                <a:gd name="T54" fmla="*/ 208 w 6796"/>
                <a:gd name="T55" fmla="*/ 6475 h 6838"/>
                <a:gd name="T56" fmla="*/ 270 w 6796"/>
                <a:gd name="T57" fmla="*/ 6547 h 6838"/>
                <a:gd name="T58" fmla="*/ 332 w 6796"/>
                <a:gd name="T59" fmla="*/ 6615 h 6838"/>
                <a:gd name="T60" fmla="*/ 442 w 6796"/>
                <a:gd name="T61" fmla="*/ 6729 h 6838"/>
                <a:gd name="T62" fmla="*/ 556 w 6796"/>
                <a:gd name="T63" fmla="*/ 6838 h 6838"/>
                <a:gd name="T64" fmla="*/ 548 w 6796"/>
                <a:gd name="T65" fmla="*/ 6702 h 6838"/>
                <a:gd name="T66" fmla="*/ 551 w 6796"/>
                <a:gd name="T67" fmla="*/ 6619 h 6838"/>
                <a:gd name="T68" fmla="*/ 556 w 6796"/>
                <a:gd name="T69" fmla="*/ 6560 h 6838"/>
                <a:gd name="T70" fmla="*/ 561 w 6796"/>
                <a:gd name="T71" fmla="*/ 6501 h 6838"/>
                <a:gd name="T72" fmla="*/ 700 w 6796"/>
                <a:gd name="T73" fmla="*/ 5918 h 6838"/>
                <a:gd name="T74" fmla="*/ 724 w 6796"/>
                <a:gd name="T75" fmla="*/ 5852 h 6838"/>
                <a:gd name="T76" fmla="*/ 750 w 6796"/>
                <a:gd name="T77" fmla="*/ 5782 h 6838"/>
                <a:gd name="T78" fmla="*/ 1285 w 6796"/>
                <a:gd name="T79" fmla="*/ 4735 h 6838"/>
                <a:gd name="T80" fmla="*/ 1353 w 6796"/>
                <a:gd name="T81" fmla="*/ 4628 h 6838"/>
                <a:gd name="T82" fmla="*/ 1430 w 6796"/>
                <a:gd name="T83" fmla="*/ 4511 h 6838"/>
                <a:gd name="T84" fmla="*/ 2828 w 6796"/>
                <a:gd name="T85" fmla="*/ 2828 h 6838"/>
                <a:gd name="T86" fmla="*/ 4511 w 6796"/>
                <a:gd name="T87" fmla="*/ 1430 h 6838"/>
                <a:gd name="T88" fmla="*/ 4627 w 6796"/>
                <a:gd name="T89" fmla="*/ 1354 h 6838"/>
                <a:gd name="T90" fmla="*/ 4735 w 6796"/>
                <a:gd name="T91" fmla="*/ 1285 h 6838"/>
                <a:gd name="T92" fmla="*/ 5781 w 6796"/>
                <a:gd name="T93" fmla="*/ 750 h 6838"/>
                <a:gd name="T94" fmla="*/ 5851 w 6796"/>
                <a:gd name="T95" fmla="*/ 724 h 6838"/>
                <a:gd name="T96" fmla="*/ 5918 w 6796"/>
                <a:gd name="T97" fmla="*/ 700 h 6838"/>
                <a:gd name="T98" fmla="*/ 6501 w 6796"/>
                <a:gd name="T99" fmla="*/ 561 h 6838"/>
                <a:gd name="T100" fmla="*/ 6560 w 6796"/>
                <a:gd name="T101" fmla="*/ 556 h 6838"/>
                <a:gd name="T102" fmla="*/ 6620 w 6796"/>
                <a:gd name="T103" fmla="*/ 551 h 6838"/>
                <a:gd name="T104" fmla="*/ 6702 w 6796"/>
                <a:gd name="T105" fmla="*/ 548 h 6838"/>
                <a:gd name="T106" fmla="*/ 6796 w 6796"/>
                <a:gd name="T107" fmla="*/ 552 h 6838"/>
                <a:gd name="T108" fmla="*/ 6710 w 6796"/>
                <a:gd name="T109" fmla="*/ 461 h 6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796" h="6838">
                  <a:moveTo>
                    <a:pt x="6710" y="461"/>
                  </a:moveTo>
                  <a:cubicBezTo>
                    <a:pt x="6680" y="431"/>
                    <a:pt x="6649" y="403"/>
                    <a:pt x="6619" y="375"/>
                  </a:cubicBezTo>
                  <a:cubicBezTo>
                    <a:pt x="6597" y="354"/>
                    <a:pt x="6575" y="332"/>
                    <a:pt x="6553" y="312"/>
                  </a:cubicBezTo>
                  <a:cubicBezTo>
                    <a:pt x="6530" y="291"/>
                    <a:pt x="6507" y="272"/>
                    <a:pt x="6484" y="252"/>
                  </a:cubicBezTo>
                  <a:cubicBezTo>
                    <a:pt x="6382" y="163"/>
                    <a:pt x="6278" y="79"/>
                    <a:pt x="6170" y="1"/>
                  </a:cubicBezTo>
                  <a:cubicBezTo>
                    <a:pt x="6155" y="1"/>
                    <a:pt x="6140" y="0"/>
                    <a:pt x="6125" y="0"/>
                  </a:cubicBezTo>
                  <a:cubicBezTo>
                    <a:pt x="6082" y="0"/>
                    <a:pt x="6037" y="2"/>
                    <a:pt x="5991" y="6"/>
                  </a:cubicBezTo>
                  <a:cubicBezTo>
                    <a:pt x="5972" y="7"/>
                    <a:pt x="5953" y="9"/>
                    <a:pt x="5933" y="11"/>
                  </a:cubicBezTo>
                  <a:cubicBezTo>
                    <a:pt x="5914" y="13"/>
                    <a:pt x="5894" y="15"/>
                    <a:pt x="5874" y="18"/>
                  </a:cubicBezTo>
                  <a:cubicBezTo>
                    <a:pt x="5664" y="47"/>
                    <a:pt x="5432" y="110"/>
                    <a:pt x="5184" y="205"/>
                  </a:cubicBezTo>
                  <a:cubicBezTo>
                    <a:pt x="5162" y="214"/>
                    <a:pt x="5141" y="222"/>
                    <a:pt x="5119" y="231"/>
                  </a:cubicBezTo>
                  <a:cubicBezTo>
                    <a:pt x="5096" y="240"/>
                    <a:pt x="5073" y="249"/>
                    <a:pt x="5050" y="259"/>
                  </a:cubicBezTo>
                  <a:cubicBezTo>
                    <a:pt x="4649" y="427"/>
                    <a:pt x="4210" y="673"/>
                    <a:pt x="3758" y="987"/>
                  </a:cubicBezTo>
                  <a:cubicBezTo>
                    <a:pt x="3714" y="1018"/>
                    <a:pt x="3670" y="1049"/>
                    <a:pt x="3625" y="1081"/>
                  </a:cubicBezTo>
                  <a:cubicBezTo>
                    <a:pt x="3576" y="1116"/>
                    <a:pt x="3528" y="1152"/>
                    <a:pt x="3479" y="1189"/>
                  </a:cubicBezTo>
                  <a:cubicBezTo>
                    <a:pt x="3071" y="1494"/>
                    <a:pt x="2657" y="1851"/>
                    <a:pt x="2254" y="2254"/>
                  </a:cubicBezTo>
                  <a:cubicBezTo>
                    <a:pt x="1851" y="2657"/>
                    <a:pt x="1494" y="3071"/>
                    <a:pt x="1188" y="3479"/>
                  </a:cubicBezTo>
                  <a:cubicBezTo>
                    <a:pt x="1151" y="3528"/>
                    <a:pt x="1116" y="3577"/>
                    <a:pt x="1081" y="3626"/>
                  </a:cubicBezTo>
                  <a:cubicBezTo>
                    <a:pt x="1049" y="3670"/>
                    <a:pt x="1017" y="3714"/>
                    <a:pt x="987" y="3758"/>
                  </a:cubicBezTo>
                  <a:cubicBezTo>
                    <a:pt x="673" y="4210"/>
                    <a:pt x="427" y="4649"/>
                    <a:pt x="259" y="5050"/>
                  </a:cubicBezTo>
                  <a:cubicBezTo>
                    <a:pt x="249" y="5073"/>
                    <a:pt x="240" y="5096"/>
                    <a:pt x="231" y="5119"/>
                  </a:cubicBezTo>
                  <a:cubicBezTo>
                    <a:pt x="222" y="5141"/>
                    <a:pt x="214" y="5162"/>
                    <a:pt x="205" y="5184"/>
                  </a:cubicBezTo>
                  <a:cubicBezTo>
                    <a:pt x="110" y="5432"/>
                    <a:pt x="47" y="5665"/>
                    <a:pt x="18" y="5874"/>
                  </a:cubicBezTo>
                  <a:cubicBezTo>
                    <a:pt x="15" y="5894"/>
                    <a:pt x="13" y="5914"/>
                    <a:pt x="11" y="5933"/>
                  </a:cubicBezTo>
                  <a:cubicBezTo>
                    <a:pt x="8" y="5953"/>
                    <a:pt x="7" y="5972"/>
                    <a:pt x="6" y="5991"/>
                  </a:cubicBezTo>
                  <a:cubicBezTo>
                    <a:pt x="2" y="6037"/>
                    <a:pt x="0" y="6082"/>
                    <a:pt x="0" y="6125"/>
                  </a:cubicBezTo>
                  <a:cubicBezTo>
                    <a:pt x="0" y="6157"/>
                    <a:pt x="1" y="6189"/>
                    <a:pt x="3" y="6220"/>
                  </a:cubicBezTo>
                  <a:cubicBezTo>
                    <a:pt x="67" y="6307"/>
                    <a:pt x="136" y="6392"/>
                    <a:pt x="208" y="6475"/>
                  </a:cubicBezTo>
                  <a:cubicBezTo>
                    <a:pt x="228" y="6499"/>
                    <a:pt x="249" y="6524"/>
                    <a:pt x="270" y="6547"/>
                  </a:cubicBezTo>
                  <a:cubicBezTo>
                    <a:pt x="290" y="6570"/>
                    <a:pt x="312" y="6592"/>
                    <a:pt x="332" y="6615"/>
                  </a:cubicBezTo>
                  <a:cubicBezTo>
                    <a:pt x="368" y="6653"/>
                    <a:pt x="404" y="6692"/>
                    <a:pt x="442" y="6729"/>
                  </a:cubicBezTo>
                  <a:cubicBezTo>
                    <a:pt x="479" y="6767"/>
                    <a:pt x="517" y="6802"/>
                    <a:pt x="556" y="6838"/>
                  </a:cubicBezTo>
                  <a:cubicBezTo>
                    <a:pt x="551" y="6794"/>
                    <a:pt x="548" y="6749"/>
                    <a:pt x="548" y="6702"/>
                  </a:cubicBezTo>
                  <a:cubicBezTo>
                    <a:pt x="548" y="6675"/>
                    <a:pt x="550" y="6647"/>
                    <a:pt x="551" y="6619"/>
                  </a:cubicBezTo>
                  <a:cubicBezTo>
                    <a:pt x="552" y="6600"/>
                    <a:pt x="554" y="6580"/>
                    <a:pt x="556" y="6560"/>
                  </a:cubicBezTo>
                  <a:cubicBezTo>
                    <a:pt x="557" y="6541"/>
                    <a:pt x="559" y="6521"/>
                    <a:pt x="561" y="6501"/>
                  </a:cubicBezTo>
                  <a:cubicBezTo>
                    <a:pt x="582" y="6322"/>
                    <a:pt x="629" y="6126"/>
                    <a:pt x="700" y="5918"/>
                  </a:cubicBezTo>
                  <a:cubicBezTo>
                    <a:pt x="708" y="5896"/>
                    <a:pt x="716" y="5874"/>
                    <a:pt x="724" y="5852"/>
                  </a:cubicBezTo>
                  <a:cubicBezTo>
                    <a:pt x="733" y="5828"/>
                    <a:pt x="741" y="5805"/>
                    <a:pt x="750" y="5782"/>
                  </a:cubicBezTo>
                  <a:cubicBezTo>
                    <a:pt x="875" y="5455"/>
                    <a:pt x="1056" y="5102"/>
                    <a:pt x="1285" y="4735"/>
                  </a:cubicBezTo>
                  <a:cubicBezTo>
                    <a:pt x="1308" y="4699"/>
                    <a:pt x="1330" y="4664"/>
                    <a:pt x="1353" y="4628"/>
                  </a:cubicBezTo>
                  <a:cubicBezTo>
                    <a:pt x="1378" y="4589"/>
                    <a:pt x="1404" y="4550"/>
                    <a:pt x="1430" y="4511"/>
                  </a:cubicBezTo>
                  <a:cubicBezTo>
                    <a:pt x="1799" y="3961"/>
                    <a:pt x="2271" y="3385"/>
                    <a:pt x="2828" y="2828"/>
                  </a:cubicBezTo>
                  <a:cubicBezTo>
                    <a:pt x="3385" y="2271"/>
                    <a:pt x="3960" y="1799"/>
                    <a:pt x="4511" y="1430"/>
                  </a:cubicBezTo>
                  <a:cubicBezTo>
                    <a:pt x="4550" y="1404"/>
                    <a:pt x="4589" y="1379"/>
                    <a:pt x="4627" y="1354"/>
                  </a:cubicBezTo>
                  <a:cubicBezTo>
                    <a:pt x="4663" y="1330"/>
                    <a:pt x="4699" y="1308"/>
                    <a:pt x="4735" y="1285"/>
                  </a:cubicBezTo>
                  <a:cubicBezTo>
                    <a:pt x="5102" y="1056"/>
                    <a:pt x="5455" y="875"/>
                    <a:pt x="5781" y="750"/>
                  </a:cubicBezTo>
                  <a:cubicBezTo>
                    <a:pt x="5805" y="741"/>
                    <a:pt x="5828" y="733"/>
                    <a:pt x="5851" y="724"/>
                  </a:cubicBezTo>
                  <a:cubicBezTo>
                    <a:pt x="5874" y="716"/>
                    <a:pt x="5896" y="708"/>
                    <a:pt x="5918" y="700"/>
                  </a:cubicBezTo>
                  <a:cubicBezTo>
                    <a:pt x="6126" y="629"/>
                    <a:pt x="6322" y="582"/>
                    <a:pt x="6501" y="561"/>
                  </a:cubicBezTo>
                  <a:cubicBezTo>
                    <a:pt x="6521" y="559"/>
                    <a:pt x="6541" y="557"/>
                    <a:pt x="6560" y="556"/>
                  </a:cubicBezTo>
                  <a:cubicBezTo>
                    <a:pt x="6580" y="554"/>
                    <a:pt x="6600" y="552"/>
                    <a:pt x="6620" y="551"/>
                  </a:cubicBezTo>
                  <a:cubicBezTo>
                    <a:pt x="6647" y="550"/>
                    <a:pt x="6675" y="549"/>
                    <a:pt x="6702" y="548"/>
                  </a:cubicBezTo>
                  <a:cubicBezTo>
                    <a:pt x="6734" y="548"/>
                    <a:pt x="6765" y="550"/>
                    <a:pt x="6796" y="552"/>
                  </a:cubicBezTo>
                  <a:cubicBezTo>
                    <a:pt x="6767" y="521"/>
                    <a:pt x="6739" y="491"/>
                    <a:pt x="6710" y="4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8" name="Freeform 10">
              <a:extLst>
                <a:ext uri="{FF2B5EF4-FFF2-40B4-BE49-F238E27FC236}">
                  <a16:creationId xmlns:a16="http://schemas.microsoft.com/office/drawing/2014/main" id="{54CE5925-9480-4C02-A7F9-3B31E37C904C}"/>
                </a:ext>
              </a:extLst>
            </p:cNvPr>
            <p:cNvSpPr>
              <a:spLocks/>
            </p:cNvSpPr>
            <p:nvPr/>
          </p:nvSpPr>
          <p:spPr bwMode="auto">
            <a:xfrm>
              <a:off x="3956348" y="740943"/>
              <a:ext cx="4194616" cy="4225990"/>
            </a:xfrm>
            <a:custGeom>
              <a:avLst/>
              <a:gdLst>
                <a:gd name="T0" fmla="*/ 1126 w 6312"/>
                <a:gd name="T1" fmla="*/ 4101 h 6355"/>
                <a:gd name="T2" fmla="*/ 1212 w 6312"/>
                <a:gd name="T3" fmla="*/ 3976 h 6355"/>
                <a:gd name="T4" fmla="*/ 2479 w 6312"/>
                <a:gd name="T5" fmla="*/ 2477 h 6355"/>
                <a:gd name="T6" fmla="*/ 3978 w 6312"/>
                <a:gd name="T7" fmla="*/ 1210 h 6355"/>
                <a:gd name="T8" fmla="*/ 4103 w 6312"/>
                <a:gd name="T9" fmla="*/ 1124 h 6355"/>
                <a:gd name="T10" fmla="*/ 4216 w 6312"/>
                <a:gd name="T11" fmla="*/ 1049 h 6355"/>
                <a:gd name="T12" fmla="*/ 5392 w 6312"/>
                <a:gd name="T13" fmla="*/ 423 h 6355"/>
                <a:gd name="T14" fmla="*/ 5456 w 6312"/>
                <a:gd name="T15" fmla="*/ 399 h 6355"/>
                <a:gd name="T16" fmla="*/ 5518 w 6312"/>
                <a:gd name="T17" fmla="*/ 376 h 6355"/>
                <a:gd name="T18" fmla="*/ 6164 w 6312"/>
                <a:gd name="T19" fmla="*/ 208 h 6355"/>
                <a:gd name="T20" fmla="*/ 6222 w 6312"/>
                <a:gd name="T21" fmla="*/ 201 h 6355"/>
                <a:gd name="T22" fmla="*/ 6281 w 6312"/>
                <a:gd name="T23" fmla="*/ 195 h 6355"/>
                <a:gd name="T24" fmla="*/ 6312 w 6312"/>
                <a:gd name="T25" fmla="*/ 193 h 6355"/>
                <a:gd name="T26" fmla="*/ 6276 w 6312"/>
                <a:gd name="T27" fmla="*/ 170 h 6355"/>
                <a:gd name="T28" fmla="*/ 6203 w 6312"/>
                <a:gd name="T29" fmla="*/ 124 h 6355"/>
                <a:gd name="T30" fmla="*/ 6122 w 6312"/>
                <a:gd name="T31" fmla="*/ 74 h 6355"/>
                <a:gd name="T32" fmla="*/ 5988 w 6312"/>
                <a:gd name="T33" fmla="*/ 0 h 6355"/>
                <a:gd name="T34" fmla="*/ 5542 w 6312"/>
                <a:gd name="T35" fmla="*/ 68 h 6355"/>
                <a:gd name="T36" fmla="*/ 5484 w 6312"/>
                <a:gd name="T37" fmla="*/ 83 h 6355"/>
                <a:gd name="T38" fmla="*/ 5425 w 6312"/>
                <a:gd name="T39" fmla="*/ 101 h 6355"/>
                <a:gd name="T40" fmla="*/ 4488 w 6312"/>
                <a:gd name="T41" fmla="*/ 508 h 6355"/>
                <a:gd name="T42" fmla="*/ 4405 w 6312"/>
                <a:gd name="T43" fmla="*/ 555 h 6355"/>
                <a:gd name="T44" fmla="*/ 4316 w 6312"/>
                <a:gd name="T45" fmla="*/ 606 h 6355"/>
                <a:gd name="T46" fmla="*/ 2245 w 6312"/>
                <a:gd name="T47" fmla="*/ 2243 h 6355"/>
                <a:gd name="T48" fmla="*/ 608 w 6312"/>
                <a:gd name="T49" fmla="*/ 4314 h 6355"/>
                <a:gd name="T50" fmla="*/ 557 w 6312"/>
                <a:gd name="T51" fmla="*/ 4404 h 6355"/>
                <a:gd name="T52" fmla="*/ 510 w 6312"/>
                <a:gd name="T53" fmla="*/ 4486 h 6355"/>
                <a:gd name="T54" fmla="*/ 103 w 6312"/>
                <a:gd name="T55" fmla="*/ 5423 h 6355"/>
                <a:gd name="T56" fmla="*/ 85 w 6312"/>
                <a:gd name="T57" fmla="*/ 5482 h 6355"/>
                <a:gd name="T58" fmla="*/ 70 w 6312"/>
                <a:gd name="T59" fmla="*/ 5540 h 6355"/>
                <a:gd name="T60" fmla="*/ 1 w 6312"/>
                <a:gd name="T61" fmla="*/ 6034 h 6355"/>
                <a:gd name="T62" fmla="*/ 1 w 6312"/>
                <a:gd name="T63" fmla="*/ 6039 h 6355"/>
                <a:gd name="T64" fmla="*/ 36 w 6312"/>
                <a:gd name="T65" fmla="*/ 6102 h 6355"/>
                <a:gd name="T66" fmla="*/ 85 w 6312"/>
                <a:gd name="T67" fmla="*/ 6186 h 6355"/>
                <a:gd name="T68" fmla="*/ 134 w 6312"/>
                <a:gd name="T69" fmla="*/ 6264 h 6355"/>
                <a:gd name="T70" fmla="*/ 192 w 6312"/>
                <a:gd name="T71" fmla="*/ 6355 h 6355"/>
                <a:gd name="T72" fmla="*/ 197 w 6312"/>
                <a:gd name="T73" fmla="*/ 6279 h 6355"/>
                <a:gd name="T74" fmla="*/ 203 w 6312"/>
                <a:gd name="T75" fmla="*/ 6220 h 6355"/>
                <a:gd name="T76" fmla="*/ 210 w 6312"/>
                <a:gd name="T77" fmla="*/ 6162 h 6355"/>
                <a:gd name="T78" fmla="*/ 378 w 6312"/>
                <a:gd name="T79" fmla="*/ 5516 h 6355"/>
                <a:gd name="T80" fmla="*/ 400 w 6312"/>
                <a:gd name="T81" fmla="*/ 5454 h 6355"/>
                <a:gd name="T82" fmla="*/ 425 w 6312"/>
                <a:gd name="T83" fmla="*/ 5390 h 6355"/>
                <a:gd name="T84" fmla="*/ 1050 w 6312"/>
                <a:gd name="T85" fmla="*/ 4214 h 6355"/>
                <a:gd name="T86" fmla="*/ 1126 w 6312"/>
                <a:gd name="T87" fmla="*/ 4101 h 6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2" h="6355">
                  <a:moveTo>
                    <a:pt x="1126" y="4101"/>
                  </a:moveTo>
                  <a:cubicBezTo>
                    <a:pt x="1154" y="4060"/>
                    <a:pt x="1183" y="4018"/>
                    <a:pt x="1212" y="3976"/>
                  </a:cubicBezTo>
                  <a:cubicBezTo>
                    <a:pt x="1559" y="3480"/>
                    <a:pt x="1986" y="2971"/>
                    <a:pt x="2479" y="2477"/>
                  </a:cubicBezTo>
                  <a:cubicBezTo>
                    <a:pt x="2973" y="1984"/>
                    <a:pt x="3482" y="1557"/>
                    <a:pt x="3978" y="1210"/>
                  </a:cubicBezTo>
                  <a:cubicBezTo>
                    <a:pt x="4020" y="1181"/>
                    <a:pt x="4061" y="1152"/>
                    <a:pt x="4103" y="1124"/>
                  </a:cubicBezTo>
                  <a:cubicBezTo>
                    <a:pt x="4141" y="1098"/>
                    <a:pt x="4179" y="1073"/>
                    <a:pt x="4216" y="1049"/>
                  </a:cubicBezTo>
                  <a:cubicBezTo>
                    <a:pt x="4626" y="780"/>
                    <a:pt x="5024" y="569"/>
                    <a:pt x="5392" y="423"/>
                  </a:cubicBezTo>
                  <a:cubicBezTo>
                    <a:pt x="5414" y="415"/>
                    <a:pt x="5435" y="407"/>
                    <a:pt x="5456" y="399"/>
                  </a:cubicBezTo>
                  <a:cubicBezTo>
                    <a:pt x="5477" y="391"/>
                    <a:pt x="5498" y="383"/>
                    <a:pt x="5518" y="376"/>
                  </a:cubicBezTo>
                  <a:cubicBezTo>
                    <a:pt x="5747" y="293"/>
                    <a:pt x="5964" y="236"/>
                    <a:pt x="6164" y="208"/>
                  </a:cubicBezTo>
                  <a:cubicBezTo>
                    <a:pt x="6183" y="206"/>
                    <a:pt x="6203" y="203"/>
                    <a:pt x="6222" y="201"/>
                  </a:cubicBezTo>
                  <a:cubicBezTo>
                    <a:pt x="6242" y="199"/>
                    <a:pt x="6262" y="197"/>
                    <a:pt x="6281" y="195"/>
                  </a:cubicBezTo>
                  <a:cubicBezTo>
                    <a:pt x="6292" y="194"/>
                    <a:pt x="6302" y="193"/>
                    <a:pt x="6312" y="193"/>
                  </a:cubicBezTo>
                  <a:cubicBezTo>
                    <a:pt x="6300" y="185"/>
                    <a:pt x="6288" y="178"/>
                    <a:pt x="6276" y="170"/>
                  </a:cubicBezTo>
                  <a:cubicBezTo>
                    <a:pt x="6252" y="155"/>
                    <a:pt x="6228" y="139"/>
                    <a:pt x="6203" y="124"/>
                  </a:cubicBezTo>
                  <a:cubicBezTo>
                    <a:pt x="6176" y="108"/>
                    <a:pt x="6149" y="90"/>
                    <a:pt x="6122" y="74"/>
                  </a:cubicBezTo>
                  <a:cubicBezTo>
                    <a:pt x="6077" y="49"/>
                    <a:pt x="6032" y="24"/>
                    <a:pt x="5988" y="0"/>
                  </a:cubicBezTo>
                  <a:cubicBezTo>
                    <a:pt x="5852" y="4"/>
                    <a:pt x="5703" y="27"/>
                    <a:pt x="5542" y="68"/>
                  </a:cubicBezTo>
                  <a:cubicBezTo>
                    <a:pt x="5523" y="73"/>
                    <a:pt x="5503" y="78"/>
                    <a:pt x="5484" y="83"/>
                  </a:cubicBezTo>
                  <a:cubicBezTo>
                    <a:pt x="5464" y="89"/>
                    <a:pt x="5445" y="95"/>
                    <a:pt x="5425" y="101"/>
                  </a:cubicBezTo>
                  <a:cubicBezTo>
                    <a:pt x="5140" y="186"/>
                    <a:pt x="4823" y="324"/>
                    <a:pt x="4488" y="508"/>
                  </a:cubicBezTo>
                  <a:cubicBezTo>
                    <a:pt x="4461" y="523"/>
                    <a:pt x="4433" y="539"/>
                    <a:pt x="4405" y="555"/>
                  </a:cubicBezTo>
                  <a:cubicBezTo>
                    <a:pt x="4376" y="572"/>
                    <a:pt x="4346" y="588"/>
                    <a:pt x="4316" y="606"/>
                  </a:cubicBezTo>
                  <a:cubicBezTo>
                    <a:pt x="3656" y="993"/>
                    <a:pt x="2935" y="1552"/>
                    <a:pt x="2245" y="2243"/>
                  </a:cubicBezTo>
                  <a:cubicBezTo>
                    <a:pt x="1554" y="2933"/>
                    <a:pt x="995" y="3654"/>
                    <a:pt x="608" y="4314"/>
                  </a:cubicBezTo>
                  <a:cubicBezTo>
                    <a:pt x="590" y="4344"/>
                    <a:pt x="573" y="4374"/>
                    <a:pt x="557" y="4404"/>
                  </a:cubicBezTo>
                  <a:cubicBezTo>
                    <a:pt x="541" y="4431"/>
                    <a:pt x="525" y="4459"/>
                    <a:pt x="510" y="4486"/>
                  </a:cubicBezTo>
                  <a:cubicBezTo>
                    <a:pt x="326" y="4822"/>
                    <a:pt x="188" y="5138"/>
                    <a:pt x="103" y="5423"/>
                  </a:cubicBezTo>
                  <a:cubicBezTo>
                    <a:pt x="97" y="5443"/>
                    <a:pt x="91" y="5462"/>
                    <a:pt x="85" y="5482"/>
                  </a:cubicBezTo>
                  <a:cubicBezTo>
                    <a:pt x="80" y="5501"/>
                    <a:pt x="75" y="5521"/>
                    <a:pt x="70" y="5540"/>
                  </a:cubicBezTo>
                  <a:cubicBezTo>
                    <a:pt x="24" y="5720"/>
                    <a:pt x="0" y="5886"/>
                    <a:pt x="1" y="6034"/>
                  </a:cubicBezTo>
                  <a:cubicBezTo>
                    <a:pt x="1" y="6035"/>
                    <a:pt x="1" y="6037"/>
                    <a:pt x="1" y="6039"/>
                  </a:cubicBezTo>
                  <a:cubicBezTo>
                    <a:pt x="12" y="6060"/>
                    <a:pt x="24" y="6081"/>
                    <a:pt x="36" y="6102"/>
                  </a:cubicBezTo>
                  <a:cubicBezTo>
                    <a:pt x="52" y="6130"/>
                    <a:pt x="68" y="6158"/>
                    <a:pt x="85" y="6186"/>
                  </a:cubicBezTo>
                  <a:cubicBezTo>
                    <a:pt x="101" y="6212"/>
                    <a:pt x="117" y="6238"/>
                    <a:pt x="134" y="6264"/>
                  </a:cubicBezTo>
                  <a:cubicBezTo>
                    <a:pt x="153" y="6294"/>
                    <a:pt x="172" y="6325"/>
                    <a:pt x="192" y="6355"/>
                  </a:cubicBezTo>
                  <a:cubicBezTo>
                    <a:pt x="193" y="6330"/>
                    <a:pt x="195" y="6305"/>
                    <a:pt x="197" y="6279"/>
                  </a:cubicBezTo>
                  <a:cubicBezTo>
                    <a:pt x="199" y="6260"/>
                    <a:pt x="201" y="6240"/>
                    <a:pt x="203" y="6220"/>
                  </a:cubicBezTo>
                  <a:cubicBezTo>
                    <a:pt x="205" y="6201"/>
                    <a:pt x="208" y="6181"/>
                    <a:pt x="210" y="6162"/>
                  </a:cubicBezTo>
                  <a:cubicBezTo>
                    <a:pt x="238" y="5962"/>
                    <a:pt x="295" y="5745"/>
                    <a:pt x="378" y="5516"/>
                  </a:cubicBezTo>
                  <a:cubicBezTo>
                    <a:pt x="385" y="5496"/>
                    <a:pt x="392" y="5475"/>
                    <a:pt x="400" y="5454"/>
                  </a:cubicBezTo>
                  <a:cubicBezTo>
                    <a:pt x="408" y="5433"/>
                    <a:pt x="417" y="5412"/>
                    <a:pt x="425" y="5390"/>
                  </a:cubicBezTo>
                  <a:cubicBezTo>
                    <a:pt x="571" y="5022"/>
                    <a:pt x="782" y="4624"/>
                    <a:pt x="1050" y="4214"/>
                  </a:cubicBezTo>
                  <a:cubicBezTo>
                    <a:pt x="1075" y="4177"/>
                    <a:pt x="1100" y="4139"/>
                    <a:pt x="1126" y="410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9" name="Freeform 11">
              <a:extLst>
                <a:ext uri="{FF2B5EF4-FFF2-40B4-BE49-F238E27FC236}">
                  <a16:creationId xmlns:a16="http://schemas.microsoft.com/office/drawing/2014/main" id="{9BF6A145-B04A-4D96-B42A-F9F9564194A0}"/>
                </a:ext>
              </a:extLst>
            </p:cNvPr>
            <p:cNvSpPr>
              <a:spLocks/>
            </p:cNvSpPr>
            <p:nvPr/>
          </p:nvSpPr>
          <p:spPr bwMode="auto">
            <a:xfrm>
              <a:off x="4604297" y="1387527"/>
              <a:ext cx="4412873" cy="4441519"/>
            </a:xfrm>
            <a:custGeom>
              <a:avLst/>
              <a:gdLst>
                <a:gd name="T0" fmla="*/ 4682 w 6640"/>
                <a:gd name="T1" fmla="*/ 1069 h 6679"/>
                <a:gd name="T2" fmla="*/ 4782 w 6640"/>
                <a:gd name="T3" fmla="*/ 1013 h 6679"/>
                <a:gd name="T4" fmla="*/ 4876 w 6640"/>
                <a:gd name="T5" fmla="*/ 962 h 6679"/>
                <a:gd name="T6" fmla="*/ 5665 w 6640"/>
                <a:gd name="T7" fmla="*/ 626 h 6679"/>
                <a:gd name="T8" fmla="*/ 5735 w 6640"/>
                <a:gd name="T9" fmla="*/ 605 h 6679"/>
                <a:gd name="T10" fmla="*/ 5804 w 6640"/>
                <a:gd name="T11" fmla="*/ 586 h 6679"/>
                <a:gd name="T12" fmla="*/ 6300 w 6640"/>
                <a:gd name="T13" fmla="*/ 507 h 6679"/>
                <a:gd name="T14" fmla="*/ 6355 w 6640"/>
                <a:gd name="T15" fmla="*/ 505 h 6679"/>
                <a:gd name="T16" fmla="*/ 6360 w 6640"/>
                <a:gd name="T17" fmla="*/ 505 h 6679"/>
                <a:gd name="T18" fmla="*/ 6419 w 6640"/>
                <a:gd name="T19" fmla="*/ 507 h 6679"/>
                <a:gd name="T20" fmla="*/ 6640 w 6640"/>
                <a:gd name="T21" fmla="*/ 536 h 6679"/>
                <a:gd name="T22" fmla="*/ 6443 w 6640"/>
                <a:gd name="T23" fmla="*/ 254 h 6679"/>
                <a:gd name="T24" fmla="*/ 6385 w 6640"/>
                <a:gd name="T25" fmla="*/ 179 h 6679"/>
                <a:gd name="T26" fmla="*/ 6323 w 6640"/>
                <a:gd name="T27" fmla="*/ 102 h 6679"/>
                <a:gd name="T28" fmla="*/ 6253 w 6640"/>
                <a:gd name="T29" fmla="*/ 21 h 6679"/>
                <a:gd name="T30" fmla="*/ 6036 w 6640"/>
                <a:gd name="T31" fmla="*/ 1 h 6679"/>
                <a:gd name="T32" fmla="*/ 5943 w 6640"/>
                <a:gd name="T33" fmla="*/ 3 h 6679"/>
                <a:gd name="T34" fmla="*/ 5884 w 6640"/>
                <a:gd name="T35" fmla="*/ 8 h 6679"/>
                <a:gd name="T36" fmla="*/ 5824 w 6640"/>
                <a:gd name="T37" fmla="*/ 15 h 6679"/>
                <a:gd name="T38" fmla="*/ 5212 w 6640"/>
                <a:gd name="T39" fmla="*/ 174 h 6679"/>
                <a:gd name="T40" fmla="*/ 5142 w 6640"/>
                <a:gd name="T41" fmla="*/ 200 h 6679"/>
                <a:gd name="T42" fmla="*/ 5070 w 6640"/>
                <a:gd name="T43" fmla="*/ 229 h 6679"/>
                <a:gd name="T44" fmla="*/ 3933 w 6640"/>
                <a:gd name="T45" fmla="*/ 848 h 6679"/>
                <a:gd name="T46" fmla="*/ 3812 w 6640"/>
                <a:gd name="T47" fmla="*/ 929 h 6679"/>
                <a:gd name="T48" fmla="*/ 3679 w 6640"/>
                <a:gd name="T49" fmla="*/ 1023 h 6679"/>
                <a:gd name="T50" fmla="*/ 2245 w 6640"/>
                <a:gd name="T51" fmla="*/ 2245 h 6679"/>
                <a:gd name="T52" fmla="*/ 1023 w 6640"/>
                <a:gd name="T53" fmla="*/ 3679 h 6679"/>
                <a:gd name="T54" fmla="*/ 929 w 6640"/>
                <a:gd name="T55" fmla="*/ 3812 h 6679"/>
                <a:gd name="T56" fmla="*/ 848 w 6640"/>
                <a:gd name="T57" fmla="*/ 3933 h 6679"/>
                <a:gd name="T58" fmla="*/ 229 w 6640"/>
                <a:gd name="T59" fmla="*/ 5070 h 6679"/>
                <a:gd name="T60" fmla="*/ 200 w 6640"/>
                <a:gd name="T61" fmla="*/ 5142 h 6679"/>
                <a:gd name="T62" fmla="*/ 174 w 6640"/>
                <a:gd name="T63" fmla="*/ 5212 h 6679"/>
                <a:gd name="T64" fmla="*/ 15 w 6640"/>
                <a:gd name="T65" fmla="*/ 5824 h 6679"/>
                <a:gd name="T66" fmla="*/ 8 w 6640"/>
                <a:gd name="T67" fmla="*/ 5884 h 6679"/>
                <a:gd name="T68" fmla="*/ 3 w 6640"/>
                <a:gd name="T69" fmla="*/ 5943 h 6679"/>
                <a:gd name="T70" fmla="*/ 1 w 6640"/>
                <a:gd name="T71" fmla="*/ 6036 h 6679"/>
                <a:gd name="T72" fmla="*/ 30 w 6640"/>
                <a:gd name="T73" fmla="*/ 6297 h 6679"/>
                <a:gd name="T74" fmla="*/ 54 w 6640"/>
                <a:gd name="T75" fmla="*/ 6318 h 6679"/>
                <a:gd name="T76" fmla="*/ 132 w 6640"/>
                <a:gd name="T77" fmla="*/ 6383 h 6679"/>
                <a:gd name="T78" fmla="*/ 211 w 6640"/>
                <a:gd name="T79" fmla="*/ 6444 h 6679"/>
                <a:gd name="T80" fmla="*/ 547 w 6640"/>
                <a:gd name="T81" fmla="*/ 6679 h 6679"/>
                <a:gd name="T82" fmla="*/ 507 w 6640"/>
                <a:gd name="T83" fmla="*/ 6419 h 6679"/>
                <a:gd name="T84" fmla="*/ 505 w 6640"/>
                <a:gd name="T85" fmla="*/ 6360 h 6679"/>
                <a:gd name="T86" fmla="*/ 505 w 6640"/>
                <a:gd name="T87" fmla="*/ 6356 h 6679"/>
                <a:gd name="T88" fmla="*/ 507 w 6640"/>
                <a:gd name="T89" fmla="*/ 6300 h 6679"/>
                <a:gd name="T90" fmla="*/ 586 w 6640"/>
                <a:gd name="T91" fmla="*/ 5804 h 6679"/>
                <a:gd name="T92" fmla="*/ 605 w 6640"/>
                <a:gd name="T93" fmla="*/ 5735 h 6679"/>
                <a:gd name="T94" fmla="*/ 626 w 6640"/>
                <a:gd name="T95" fmla="*/ 5665 h 6679"/>
                <a:gd name="T96" fmla="*/ 962 w 6640"/>
                <a:gd name="T97" fmla="*/ 4876 h 6679"/>
                <a:gd name="T98" fmla="*/ 1013 w 6640"/>
                <a:gd name="T99" fmla="*/ 4781 h 6679"/>
                <a:gd name="T100" fmla="*/ 1069 w 6640"/>
                <a:gd name="T101" fmla="*/ 4682 h 6679"/>
                <a:gd name="T102" fmla="*/ 2654 w 6640"/>
                <a:gd name="T103" fmla="*/ 2654 h 6679"/>
                <a:gd name="T104" fmla="*/ 4682 w 6640"/>
                <a:gd name="T105" fmla="*/ 1069 h 6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640" h="6679">
                  <a:moveTo>
                    <a:pt x="4682" y="1069"/>
                  </a:moveTo>
                  <a:cubicBezTo>
                    <a:pt x="4715" y="1050"/>
                    <a:pt x="4748" y="1031"/>
                    <a:pt x="4782" y="1013"/>
                  </a:cubicBezTo>
                  <a:cubicBezTo>
                    <a:pt x="4813" y="996"/>
                    <a:pt x="4845" y="979"/>
                    <a:pt x="4876" y="962"/>
                  </a:cubicBezTo>
                  <a:cubicBezTo>
                    <a:pt x="5153" y="816"/>
                    <a:pt x="5418" y="703"/>
                    <a:pt x="5665" y="626"/>
                  </a:cubicBezTo>
                  <a:cubicBezTo>
                    <a:pt x="5688" y="619"/>
                    <a:pt x="5712" y="612"/>
                    <a:pt x="5735" y="605"/>
                  </a:cubicBezTo>
                  <a:cubicBezTo>
                    <a:pt x="5758" y="599"/>
                    <a:pt x="5781" y="592"/>
                    <a:pt x="5804" y="586"/>
                  </a:cubicBezTo>
                  <a:cubicBezTo>
                    <a:pt x="5981" y="539"/>
                    <a:pt x="6147" y="513"/>
                    <a:pt x="6300" y="507"/>
                  </a:cubicBezTo>
                  <a:cubicBezTo>
                    <a:pt x="6318" y="506"/>
                    <a:pt x="6337" y="505"/>
                    <a:pt x="6355" y="505"/>
                  </a:cubicBezTo>
                  <a:cubicBezTo>
                    <a:pt x="6357" y="505"/>
                    <a:pt x="6358" y="505"/>
                    <a:pt x="6360" y="505"/>
                  </a:cubicBezTo>
                  <a:cubicBezTo>
                    <a:pt x="6380" y="505"/>
                    <a:pt x="6399" y="506"/>
                    <a:pt x="6419" y="507"/>
                  </a:cubicBezTo>
                  <a:cubicBezTo>
                    <a:pt x="6496" y="511"/>
                    <a:pt x="6571" y="520"/>
                    <a:pt x="6640" y="536"/>
                  </a:cubicBezTo>
                  <a:cubicBezTo>
                    <a:pt x="6579" y="440"/>
                    <a:pt x="6513" y="346"/>
                    <a:pt x="6443" y="254"/>
                  </a:cubicBezTo>
                  <a:cubicBezTo>
                    <a:pt x="6424" y="229"/>
                    <a:pt x="6404" y="204"/>
                    <a:pt x="6385" y="179"/>
                  </a:cubicBezTo>
                  <a:cubicBezTo>
                    <a:pt x="6364" y="153"/>
                    <a:pt x="6344" y="128"/>
                    <a:pt x="6323" y="102"/>
                  </a:cubicBezTo>
                  <a:cubicBezTo>
                    <a:pt x="6300" y="75"/>
                    <a:pt x="6276" y="48"/>
                    <a:pt x="6253" y="21"/>
                  </a:cubicBezTo>
                  <a:cubicBezTo>
                    <a:pt x="6186" y="8"/>
                    <a:pt x="6114" y="1"/>
                    <a:pt x="6036" y="1"/>
                  </a:cubicBezTo>
                  <a:cubicBezTo>
                    <a:pt x="6006" y="0"/>
                    <a:pt x="5975" y="2"/>
                    <a:pt x="5943" y="3"/>
                  </a:cubicBezTo>
                  <a:cubicBezTo>
                    <a:pt x="5924" y="4"/>
                    <a:pt x="5904" y="6"/>
                    <a:pt x="5884" y="8"/>
                  </a:cubicBezTo>
                  <a:cubicBezTo>
                    <a:pt x="5864" y="10"/>
                    <a:pt x="5844" y="13"/>
                    <a:pt x="5824" y="15"/>
                  </a:cubicBezTo>
                  <a:cubicBezTo>
                    <a:pt x="5639" y="39"/>
                    <a:pt x="5433" y="93"/>
                    <a:pt x="5212" y="174"/>
                  </a:cubicBezTo>
                  <a:cubicBezTo>
                    <a:pt x="5189" y="183"/>
                    <a:pt x="5166" y="191"/>
                    <a:pt x="5142" y="200"/>
                  </a:cubicBezTo>
                  <a:cubicBezTo>
                    <a:pt x="5118" y="210"/>
                    <a:pt x="5094" y="219"/>
                    <a:pt x="5070" y="229"/>
                  </a:cubicBezTo>
                  <a:cubicBezTo>
                    <a:pt x="4719" y="373"/>
                    <a:pt x="4334" y="582"/>
                    <a:pt x="3933" y="848"/>
                  </a:cubicBezTo>
                  <a:cubicBezTo>
                    <a:pt x="3893" y="874"/>
                    <a:pt x="3852" y="902"/>
                    <a:pt x="3812" y="929"/>
                  </a:cubicBezTo>
                  <a:cubicBezTo>
                    <a:pt x="3767" y="960"/>
                    <a:pt x="3723" y="991"/>
                    <a:pt x="3679" y="1023"/>
                  </a:cubicBezTo>
                  <a:cubicBezTo>
                    <a:pt x="3206" y="1360"/>
                    <a:pt x="2718" y="1771"/>
                    <a:pt x="2245" y="2245"/>
                  </a:cubicBezTo>
                  <a:cubicBezTo>
                    <a:pt x="1771" y="2718"/>
                    <a:pt x="1360" y="3206"/>
                    <a:pt x="1023" y="3679"/>
                  </a:cubicBezTo>
                  <a:cubicBezTo>
                    <a:pt x="991" y="3723"/>
                    <a:pt x="960" y="3768"/>
                    <a:pt x="929" y="3812"/>
                  </a:cubicBezTo>
                  <a:cubicBezTo>
                    <a:pt x="902" y="3852"/>
                    <a:pt x="874" y="3893"/>
                    <a:pt x="848" y="3933"/>
                  </a:cubicBezTo>
                  <a:cubicBezTo>
                    <a:pt x="582" y="4334"/>
                    <a:pt x="373" y="4719"/>
                    <a:pt x="229" y="5070"/>
                  </a:cubicBezTo>
                  <a:cubicBezTo>
                    <a:pt x="219" y="5094"/>
                    <a:pt x="210" y="5118"/>
                    <a:pt x="200" y="5142"/>
                  </a:cubicBezTo>
                  <a:cubicBezTo>
                    <a:pt x="191" y="5166"/>
                    <a:pt x="183" y="5189"/>
                    <a:pt x="174" y="5212"/>
                  </a:cubicBezTo>
                  <a:cubicBezTo>
                    <a:pt x="93" y="5433"/>
                    <a:pt x="39" y="5639"/>
                    <a:pt x="15" y="5824"/>
                  </a:cubicBezTo>
                  <a:cubicBezTo>
                    <a:pt x="12" y="5844"/>
                    <a:pt x="10" y="5864"/>
                    <a:pt x="8" y="5884"/>
                  </a:cubicBezTo>
                  <a:cubicBezTo>
                    <a:pt x="6" y="5904"/>
                    <a:pt x="5" y="5924"/>
                    <a:pt x="3" y="5943"/>
                  </a:cubicBezTo>
                  <a:cubicBezTo>
                    <a:pt x="2" y="5975"/>
                    <a:pt x="0" y="6006"/>
                    <a:pt x="1" y="6036"/>
                  </a:cubicBezTo>
                  <a:cubicBezTo>
                    <a:pt x="1" y="6131"/>
                    <a:pt x="10" y="6218"/>
                    <a:pt x="30" y="6297"/>
                  </a:cubicBezTo>
                  <a:cubicBezTo>
                    <a:pt x="38" y="6304"/>
                    <a:pt x="46" y="6311"/>
                    <a:pt x="54" y="6318"/>
                  </a:cubicBezTo>
                  <a:cubicBezTo>
                    <a:pt x="80" y="6340"/>
                    <a:pt x="106" y="6362"/>
                    <a:pt x="132" y="6383"/>
                  </a:cubicBezTo>
                  <a:cubicBezTo>
                    <a:pt x="158" y="6404"/>
                    <a:pt x="184" y="6424"/>
                    <a:pt x="211" y="6444"/>
                  </a:cubicBezTo>
                  <a:cubicBezTo>
                    <a:pt x="320" y="6528"/>
                    <a:pt x="432" y="6606"/>
                    <a:pt x="547" y="6679"/>
                  </a:cubicBezTo>
                  <a:cubicBezTo>
                    <a:pt x="524" y="6598"/>
                    <a:pt x="511" y="6511"/>
                    <a:pt x="507" y="6419"/>
                  </a:cubicBezTo>
                  <a:cubicBezTo>
                    <a:pt x="506" y="6399"/>
                    <a:pt x="505" y="6380"/>
                    <a:pt x="505" y="6360"/>
                  </a:cubicBezTo>
                  <a:cubicBezTo>
                    <a:pt x="505" y="6358"/>
                    <a:pt x="505" y="6357"/>
                    <a:pt x="505" y="6356"/>
                  </a:cubicBezTo>
                  <a:cubicBezTo>
                    <a:pt x="505" y="6337"/>
                    <a:pt x="506" y="6318"/>
                    <a:pt x="507" y="6300"/>
                  </a:cubicBezTo>
                  <a:cubicBezTo>
                    <a:pt x="512" y="6147"/>
                    <a:pt x="539" y="5981"/>
                    <a:pt x="586" y="5804"/>
                  </a:cubicBezTo>
                  <a:cubicBezTo>
                    <a:pt x="592" y="5781"/>
                    <a:pt x="599" y="5758"/>
                    <a:pt x="605" y="5735"/>
                  </a:cubicBezTo>
                  <a:cubicBezTo>
                    <a:pt x="612" y="5712"/>
                    <a:pt x="619" y="5688"/>
                    <a:pt x="626" y="5665"/>
                  </a:cubicBezTo>
                  <a:cubicBezTo>
                    <a:pt x="703" y="5418"/>
                    <a:pt x="817" y="5153"/>
                    <a:pt x="962" y="4876"/>
                  </a:cubicBezTo>
                  <a:cubicBezTo>
                    <a:pt x="979" y="4845"/>
                    <a:pt x="996" y="4813"/>
                    <a:pt x="1013" y="4781"/>
                  </a:cubicBezTo>
                  <a:cubicBezTo>
                    <a:pt x="1031" y="4748"/>
                    <a:pt x="1050" y="4715"/>
                    <a:pt x="1069" y="4682"/>
                  </a:cubicBezTo>
                  <a:cubicBezTo>
                    <a:pt x="1441" y="4031"/>
                    <a:pt x="1982" y="3328"/>
                    <a:pt x="2654" y="2654"/>
                  </a:cubicBezTo>
                  <a:cubicBezTo>
                    <a:pt x="3328" y="1982"/>
                    <a:pt x="4031" y="1441"/>
                    <a:pt x="4682" y="10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0" name="Freeform 12">
              <a:extLst>
                <a:ext uri="{FF2B5EF4-FFF2-40B4-BE49-F238E27FC236}">
                  <a16:creationId xmlns:a16="http://schemas.microsoft.com/office/drawing/2014/main" id="{6967A9C6-FB4D-4270-BB09-0FBE5B7A6E5E}"/>
                </a:ext>
              </a:extLst>
            </p:cNvPr>
            <p:cNvSpPr>
              <a:spLocks/>
            </p:cNvSpPr>
            <p:nvPr/>
          </p:nvSpPr>
          <p:spPr bwMode="auto">
            <a:xfrm>
              <a:off x="5525067" y="2309661"/>
              <a:ext cx="3917703" cy="3936801"/>
            </a:xfrm>
            <a:custGeom>
              <a:avLst/>
              <a:gdLst>
                <a:gd name="T0" fmla="*/ 3424 w 5896"/>
                <a:gd name="T1" fmla="*/ 1876 h 5920"/>
                <a:gd name="T2" fmla="*/ 3633 w 5896"/>
                <a:gd name="T3" fmla="*/ 1712 h 5920"/>
                <a:gd name="T4" fmla="*/ 3808 w 5896"/>
                <a:gd name="T5" fmla="*/ 1582 h 5920"/>
                <a:gd name="T6" fmla="*/ 4916 w 5896"/>
                <a:gd name="T7" fmla="*/ 937 h 5920"/>
                <a:gd name="T8" fmla="*/ 5004 w 5896"/>
                <a:gd name="T9" fmla="*/ 901 h 5920"/>
                <a:gd name="T10" fmla="*/ 5086 w 5896"/>
                <a:gd name="T11" fmla="*/ 873 h 5920"/>
                <a:gd name="T12" fmla="*/ 5614 w 5896"/>
                <a:gd name="T13" fmla="*/ 767 h 5920"/>
                <a:gd name="T14" fmla="*/ 5621 w 5896"/>
                <a:gd name="T15" fmla="*/ 767 h 5920"/>
                <a:gd name="T16" fmla="*/ 5682 w 5896"/>
                <a:gd name="T17" fmla="*/ 770 h 5920"/>
                <a:gd name="T18" fmla="*/ 5742 w 5896"/>
                <a:gd name="T19" fmla="*/ 777 h 5920"/>
                <a:gd name="T20" fmla="*/ 5896 w 5896"/>
                <a:gd name="T21" fmla="*/ 821 h 5920"/>
                <a:gd name="T22" fmla="*/ 5826 w 5896"/>
                <a:gd name="T23" fmla="*/ 476 h 5920"/>
                <a:gd name="T24" fmla="*/ 5792 w 5896"/>
                <a:gd name="T25" fmla="*/ 349 h 5920"/>
                <a:gd name="T26" fmla="*/ 5752 w 5896"/>
                <a:gd name="T27" fmla="*/ 214 h 5920"/>
                <a:gd name="T28" fmla="*/ 5714 w 5896"/>
                <a:gd name="T29" fmla="*/ 97 h 5920"/>
                <a:gd name="T30" fmla="*/ 5444 w 5896"/>
                <a:gd name="T31" fmla="*/ 9 h 5920"/>
                <a:gd name="T32" fmla="*/ 5385 w 5896"/>
                <a:gd name="T33" fmla="*/ 3 h 5920"/>
                <a:gd name="T34" fmla="*/ 5324 w 5896"/>
                <a:gd name="T35" fmla="*/ 1 h 5920"/>
                <a:gd name="T36" fmla="*/ 5312 w 5896"/>
                <a:gd name="T37" fmla="*/ 0 h 5920"/>
                <a:gd name="T38" fmla="*/ 5307 w 5896"/>
                <a:gd name="T39" fmla="*/ 0 h 5920"/>
                <a:gd name="T40" fmla="*/ 4713 w 5896"/>
                <a:gd name="T41" fmla="*/ 112 h 5920"/>
                <a:gd name="T42" fmla="*/ 4636 w 5896"/>
                <a:gd name="T43" fmla="*/ 137 h 5920"/>
                <a:gd name="T44" fmla="*/ 4555 w 5896"/>
                <a:gd name="T45" fmla="*/ 168 h 5920"/>
                <a:gd name="T46" fmla="*/ 3688 w 5896"/>
                <a:gd name="T47" fmla="*/ 607 h 5920"/>
                <a:gd name="T48" fmla="*/ 3564 w 5896"/>
                <a:gd name="T49" fmla="*/ 684 h 5920"/>
                <a:gd name="T50" fmla="*/ 3430 w 5896"/>
                <a:gd name="T51" fmla="*/ 773 h 5920"/>
                <a:gd name="T52" fmla="*/ 1980 w 5896"/>
                <a:gd name="T53" fmla="*/ 1980 h 5920"/>
                <a:gd name="T54" fmla="*/ 774 w 5896"/>
                <a:gd name="T55" fmla="*/ 3429 h 5920"/>
                <a:gd name="T56" fmla="*/ 685 w 5896"/>
                <a:gd name="T57" fmla="*/ 3563 h 5920"/>
                <a:gd name="T58" fmla="*/ 607 w 5896"/>
                <a:gd name="T59" fmla="*/ 3688 h 5920"/>
                <a:gd name="T60" fmla="*/ 169 w 5896"/>
                <a:gd name="T61" fmla="*/ 4554 h 5920"/>
                <a:gd name="T62" fmla="*/ 137 w 5896"/>
                <a:gd name="T63" fmla="*/ 4635 h 5920"/>
                <a:gd name="T64" fmla="*/ 113 w 5896"/>
                <a:gd name="T65" fmla="*/ 4712 h 5920"/>
                <a:gd name="T66" fmla="*/ 1 w 5896"/>
                <a:gd name="T67" fmla="*/ 5311 h 5920"/>
                <a:gd name="T68" fmla="*/ 2 w 5896"/>
                <a:gd name="T69" fmla="*/ 5323 h 5920"/>
                <a:gd name="T70" fmla="*/ 4 w 5896"/>
                <a:gd name="T71" fmla="*/ 5384 h 5920"/>
                <a:gd name="T72" fmla="*/ 10 w 5896"/>
                <a:gd name="T73" fmla="*/ 5443 h 5920"/>
                <a:gd name="T74" fmla="*/ 121 w 5896"/>
                <a:gd name="T75" fmla="*/ 5747 h 5920"/>
                <a:gd name="T76" fmla="*/ 150 w 5896"/>
                <a:gd name="T77" fmla="*/ 5756 h 5920"/>
                <a:gd name="T78" fmla="*/ 291 w 5896"/>
                <a:gd name="T79" fmla="*/ 5800 h 5920"/>
                <a:gd name="T80" fmla="*/ 425 w 5896"/>
                <a:gd name="T81" fmla="*/ 5836 h 5920"/>
                <a:gd name="T82" fmla="*/ 835 w 5896"/>
                <a:gd name="T83" fmla="*/ 5920 h 5920"/>
                <a:gd name="T84" fmla="*/ 778 w 5896"/>
                <a:gd name="T85" fmla="*/ 5741 h 5920"/>
                <a:gd name="T86" fmla="*/ 771 w 5896"/>
                <a:gd name="T87" fmla="*/ 5681 h 5920"/>
                <a:gd name="T88" fmla="*/ 769 w 5896"/>
                <a:gd name="T89" fmla="*/ 5620 h 5920"/>
                <a:gd name="T90" fmla="*/ 768 w 5896"/>
                <a:gd name="T91" fmla="*/ 5612 h 5920"/>
                <a:gd name="T92" fmla="*/ 874 w 5896"/>
                <a:gd name="T93" fmla="*/ 5084 h 5920"/>
                <a:gd name="T94" fmla="*/ 903 w 5896"/>
                <a:gd name="T95" fmla="*/ 5002 h 5920"/>
                <a:gd name="T96" fmla="*/ 938 w 5896"/>
                <a:gd name="T97" fmla="*/ 4915 h 5920"/>
                <a:gd name="T98" fmla="*/ 1583 w 5896"/>
                <a:gd name="T99" fmla="*/ 3807 h 5920"/>
                <a:gd name="T100" fmla="*/ 1713 w 5896"/>
                <a:gd name="T101" fmla="*/ 3632 h 5920"/>
                <a:gd name="T102" fmla="*/ 1877 w 5896"/>
                <a:gd name="T103" fmla="*/ 3424 h 5920"/>
                <a:gd name="T104" fmla="*/ 2610 w 5896"/>
                <a:gd name="T105" fmla="*/ 2610 h 5920"/>
                <a:gd name="T106" fmla="*/ 3424 w 5896"/>
                <a:gd name="T107" fmla="*/ 1876 h 5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96" h="5920">
                  <a:moveTo>
                    <a:pt x="3424" y="1876"/>
                  </a:moveTo>
                  <a:cubicBezTo>
                    <a:pt x="3494" y="1819"/>
                    <a:pt x="3564" y="1765"/>
                    <a:pt x="3633" y="1712"/>
                  </a:cubicBezTo>
                  <a:cubicBezTo>
                    <a:pt x="3692" y="1667"/>
                    <a:pt x="3750" y="1624"/>
                    <a:pt x="3808" y="1582"/>
                  </a:cubicBezTo>
                  <a:cubicBezTo>
                    <a:pt x="4204" y="1295"/>
                    <a:pt x="4581" y="1076"/>
                    <a:pt x="4916" y="937"/>
                  </a:cubicBezTo>
                  <a:cubicBezTo>
                    <a:pt x="4945" y="925"/>
                    <a:pt x="4975" y="912"/>
                    <a:pt x="5004" y="901"/>
                  </a:cubicBezTo>
                  <a:cubicBezTo>
                    <a:pt x="5032" y="891"/>
                    <a:pt x="5058" y="882"/>
                    <a:pt x="5086" y="873"/>
                  </a:cubicBezTo>
                  <a:cubicBezTo>
                    <a:pt x="5281" y="806"/>
                    <a:pt x="5460" y="768"/>
                    <a:pt x="5614" y="767"/>
                  </a:cubicBezTo>
                  <a:cubicBezTo>
                    <a:pt x="5616" y="767"/>
                    <a:pt x="5618" y="767"/>
                    <a:pt x="5621" y="767"/>
                  </a:cubicBezTo>
                  <a:cubicBezTo>
                    <a:pt x="5642" y="768"/>
                    <a:pt x="5662" y="768"/>
                    <a:pt x="5682" y="770"/>
                  </a:cubicBezTo>
                  <a:cubicBezTo>
                    <a:pt x="5702" y="771"/>
                    <a:pt x="5722" y="774"/>
                    <a:pt x="5742" y="777"/>
                  </a:cubicBezTo>
                  <a:cubicBezTo>
                    <a:pt x="5797" y="785"/>
                    <a:pt x="5849" y="800"/>
                    <a:pt x="5896" y="821"/>
                  </a:cubicBezTo>
                  <a:cubicBezTo>
                    <a:pt x="5877" y="705"/>
                    <a:pt x="5854" y="590"/>
                    <a:pt x="5826" y="476"/>
                  </a:cubicBezTo>
                  <a:cubicBezTo>
                    <a:pt x="5816" y="433"/>
                    <a:pt x="5804" y="391"/>
                    <a:pt x="5792" y="349"/>
                  </a:cubicBezTo>
                  <a:cubicBezTo>
                    <a:pt x="5779" y="304"/>
                    <a:pt x="5766" y="259"/>
                    <a:pt x="5752" y="214"/>
                  </a:cubicBezTo>
                  <a:cubicBezTo>
                    <a:pt x="5740" y="175"/>
                    <a:pt x="5728" y="136"/>
                    <a:pt x="5714" y="97"/>
                  </a:cubicBezTo>
                  <a:cubicBezTo>
                    <a:pt x="5639" y="51"/>
                    <a:pt x="5549" y="22"/>
                    <a:pt x="5444" y="9"/>
                  </a:cubicBezTo>
                  <a:cubicBezTo>
                    <a:pt x="5425" y="6"/>
                    <a:pt x="5405" y="4"/>
                    <a:pt x="5385" y="3"/>
                  </a:cubicBezTo>
                  <a:cubicBezTo>
                    <a:pt x="5365" y="1"/>
                    <a:pt x="5345" y="1"/>
                    <a:pt x="5324" y="1"/>
                  </a:cubicBezTo>
                  <a:cubicBezTo>
                    <a:pt x="5320" y="1"/>
                    <a:pt x="5316" y="0"/>
                    <a:pt x="5312" y="0"/>
                  </a:cubicBezTo>
                  <a:cubicBezTo>
                    <a:pt x="5311" y="0"/>
                    <a:pt x="5309" y="0"/>
                    <a:pt x="5307" y="0"/>
                  </a:cubicBezTo>
                  <a:cubicBezTo>
                    <a:pt x="5135" y="0"/>
                    <a:pt x="4934" y="40"/>
                    <a:pt x="4713" y="112"/>
                  </a:cubicBezTo>
                  <a:cubicBezTo>
                    <a:pt x="4687" y="120"/>
                    <a:pt x="4662" y="127"/>
                    <a:pt x="4636" y="137"/>
                  </a:cubicBezTo>
                  <a:cubicBezTo>
                    <a:pt x="4610" y="146"/>
                    <a:pt x="4582" y="158"/>
                    <a:pt x="4555" y="168"/>
                  </a:cubicBezTo>
                  <a:cubicBezTo>
                    <a:pt x="4287" y="270"/>
                    <a:pt x="3995" y="418"/>
                    <a:pt x="3688" y="607"/>
                  </a:cubicBezTo>
                  <a:cubicBezTo>
                    <a:pt x="3647" y="632"/>
                    <a:pt x="3606" y="657"/>
                    <a:pt x="3564" y="684"/>
                  </a:cubicBezTo>
                  <a:cubicBezTo>
                    <a:pt x="3520" y="713"/>
                    <a:pt x="3475" y="743"/>
                    <a:pt x="3430" y="773"/>
                  </a:cubicBezTo>
                  <a:cubicBezTo>
                    <a:pt x="2956" y="1092"/>
                    <a:pt x="2460" y="1499"/>
                    <a:pt x="1980" y="1980"/>
                  </a:cubicBezTo>
                  <a:cubicBezTo>
                    <a:pt x="1500" y="2459"/>
                    <a:pt x="1093" y="2956"/>
                    <a:pt x="774" y="3429"/>
                  </a:cubicBezTo>
                  <a:cubicBezTo>
                    <a:pt x="744" y="3474"/>
                    <a:pt x="714" y="3519"/>
                    <a:pt x="685" y="3563"/>
                  </a:cubicBezTo>
                  <a:cubicBezTo>
                    <a:pt x="658" y="3605"/>
                    <a:pt x="633" y="3646"/>
                    <a:pt x="607" y="3688"/>
                  </a:cubicBezTo>
                  <a:cubicBezTo>
                    <a:pt x="419" y="3994"/>
                    <a:pt x="271" y="4287"/>
                    <a:pt x="169" y="4554"/>
                  </a:cubicBezTo>
                  <a:cubicBezTo>
                    <a:pt x="158" y="4581"/>
                    <a:pt x="147" y="4609"/>
                    <a:pt x="137" y="4635"/>
                  </a:cubicBezTo>
                  <a:cubicBezTo>
                    <a:pt x="128" y="4661"/>
                    <a:pt x="121" y="4686"/>
                    <a:pt x="113" y="4712"/>
                  </a:cubicBezTo>
                  <a:cubicBezTo>
                    <a:pt x="40" y="4935"/>
                    <a:pt x="0" y="5138"/>
                    <a:pt x="1" y="5311"/>
                  </a:cubicBezTo>
                  <a:cubicBezTo>
                    <a:pt x="1" y="5315"/>
                    <a:pt x="1" y="5319"/>
                    <a:pt x="2" y="5323"/>
                  </a:cubicBezTo>
                  <a:cubicBezTo>
                    <a:pt x="2" y="5344"/>
                    <a:pt x="2" y="5364"/>
                    <a:pt x="4" y="5384"/>
                  </a:cubicBezTo>
                  <a:cubicBezTo>
                    <a:pt x="5" y="5404"/>
                    <a:pt x="7" y="5424"/>
                    <a:pt x="10" y="5443"/>
                  </a:cubicBezTo>
                  <a:cubicBezTo>
                    <a:pt x="25" y="5564"/>
                    <a:pt x="62" y="5665"/>
                    <a:pt x="121" y="5747"/>
                  </a:cubicBezTo>
                  <a:cubicBezTo>
                    <a:pt x="131" y="5750"/>
                    <a:pt x="140" y="5753"/>
                    <a:pt x="150" y="5756"/>
                  </a:cubicBezTo>
                  <a:cubicBezTo>
                    <a:pt x="197" y="5771"/>
                    <a:pt x="244" y="5786"/>
                    <a:pt x="291" y="5800"/>
                  </a:cubicBezTo>
                  <a:cubicBezTo>
                    <a:pt x="336" y="5813"/>
                    <a:pt x="380" y="5825"/>
                    <a:pt x="425" y="5836"/>
                  </a:cubicBezTo>
                  <a:cubicBezTo>
                    <a:pt x="560" y="5870"/>
                    <a:pt x="697" y="5898"/>
                    <a:pt x="835" y="5920"/>
                  </a:cubicBezTo>
                  <a:cubicBezTo>
                    <a:pt x="807" y="5866"/>
                    <a:pt x="788" y="5806"/>
                    <a:pt x="778" y="5741"/>
                  </a:cubicBezTo>
                  <a:cubicBezTo>
                    <a:pt x="775" y="5721"/>
                    <a:pt x="773" y="5701"/>
                    <a:pt x="771" y="5681"/>
                  </a:cubicBezTo>
                  <a:cubicBezTo>
                    <a:pt x="769" y="5661"/>
                    <a:pt x="769" y="5641"/>
                    <a:pt x="769" y="5620"/>
                  </a:cubicBezTo>
                  <a:cubicBezTo>
                    <a:pt x="769" y="5617"/>
                    <a:pt x="768" y="5615"/>
                    <a:pt x="768" y="5612"/>
                  </a:cubicBezTo>
                  <a:cubicBezTo>
                    <a:pt x="769" y="5459"/>
                    <a:pt x="807" y="5280"/>
                    <a:pt x="874" y="5084"/>
                  </a:cubicBezTo>
                  <a:cubicBezTo>
                    <a:pt x="884" y="5057"/>
                    <a:pt x="892" y="5030"/>
                    <a:pt x="903" y="5002"/>
                  </a:cubicBezTo>
                  <a:cubicBezTo>
                    <a:pt x="913" y="4974"/>
                    <a:pt x="926" y="4944"/>
                    <a:pt x="938" y="4915"/>
                  </a:cubicBezTo>
                  <a:cubicBezTo>
                    <a:pt x="1077" y="4580"/>
                    <a:pt x="1296" y="4203"/>
                    <a:pt x="1583" y="3807"/>
                  </a:cubicBezTo>
                  <a:cubicBezTo>
                    <a:pt x="1625" y="3749"/>
                    <a:pt x="1668" y="3691"/>
                    <a:pt x="1713" y="3632"/>
                  </a:cubicBezTo>
                  <a:cubicBezTo>
                    <a:pt x="1765" y="3563"/>
                    <a:pt x="1820" y="3493"/>
                    <a:pt x="1877" y="3424"/>
                  </a:cubicBezTo>
                  <a:cubicBezTo>
                    <a:pt x="2095" y="3154"/>
                    <a:pt x="2341" y="2880"/>
                    <a:pt x="2610" y="2610"/>
                  </a:cubicBezTo>
                  <a:cubicBezTo>
                    <a:pt x="2881" y="2340"/>
                    <a:pt x="3155" y="2095"/>
                    <a:pt x="3424" y="187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1" name="Freeform 13">
              <a:extLst>
                <a:ext uri="{FF2B5EF4-FFF2-40B4-BE49-F238E27FC236}">
                  <a16:creationId xmlns:a16="http://schemas.microsoft.com/office/drawing/2014/main" id="{85D81FB3-8A4F-49F2-A164-8A0BF5C67920}"/>
                </a:ext>
              </a:extLst>
            </p:cNvPr>
            <p:cNvSpPr>
              <a:spLocks/>
            </p:cNvSpPr>
            <p:nvPr/>
          </p:nvSpPr>
          <p:spPr bwMode="auto">
            <a:xfrm>
              <a:off x="6849611" y="3634205"/>
              <a:ext cx="2613621" cy="2625898"/>
            </a:xfrm>
            <a:custGeom>
              <a:avLst/>
              <a:gdLst>
                <a:gd name="T0" fmla="*/ 3902 w 3934"/>
                <a:gd name="T1" fmla="*/ 32 h 3950"/>
                <a:gd name="T2" fmla="*/ 3727 w 3934"/>
                <a:gd name="T3" fmla="*/ 0 h 3950"/>
                <a:gd name="T4" fmla="*/ 3687 w 3934"/>
                <a:gd name="T5" fmla="*/ 3 h 3950"/>
                <a:gd name="T6" fmla="*/ 3616 w 3934"/>
                <a:gd name="T7" fmla="*/ 8 h 3950"/>
                <a:gd name="T8" fmla="*/ 3541 w 3934"/>
                <a:gd name="T9" fmla="*/ 21 h 3950"/>
                <a:gd name="T10" fmla="*/ 3005 w 3934"/>
                <a:gd name="T11" fmla="*/ 222 h 3950"/>
                <a:gd name="T12" fmla="*/ 2891 w 3934"/>
                <a:gd name="T13" fmla="*/ 283 h 3950"/>
                <a:gd name="T14" fmla="*/ 2768 w 3934"/>
                <a:gd name="T15" fmla="*/ 353 h 3950"/>
                <a:gd name="T16" fmla="*/ 1424 w 3934"/>
                <a:gd name="T17" fmla="*/ 1424 h 3950"/>
                <a:gd name="T18" fmla="*/ 353 w 3934"/>
                <a:gd name="T19" fmla="*/ 2768 h 3950"/>
                <a:gd name="T20" fmla="*/ 283 w 3934"/>
                <a:gd name="T21" fmla="*/ 2891 h 3950"/>
                <a:gd name="T22" fmla="*/ 222 w 3934"/>
                <a:gd name="T23" fmla="*/ 3005 h 3950"/>
                <a:gd name="T24" fmla="*/ 22 w 3934"/>
                <a:gd name="T25" fmla="*/ 3540 h 3950"/>
                <a:gd name="T26" fmla="*/ 8 w 3934"/>
                <a:gd name="T27" fmla="*/ 3616 h 3950"/>
                <a:gd name="T28" fmla="*/ 3 w 3934"/>
                <a:gd name="T29" fmla="*/ 3686 h 3950"/>
                <a:gd name="T30" fmla="*/ 1 w 3934"/>
                <a:gd name="T31" fmla="*/ 3727 h 3950"/>
                <a:gd name="T32" fmla="*/ 32 w 3934"/>
                <a:gd name="T33" fmla="*/ 3902 h 3950"/>
                <a:gd name="T34" fmla="*/ 56 w 3934"/>
                <a:gd name="T35" fmla="*/ 3950 h 3950"/>
                <a:gd name="T36" fmla="*/ 79 w 3934"/>
                <a:gd name="T37" fmla="*/ 3947 h 3950"/>
                <a:gd name="T38" fmla="*/ 282 w 3934"/>
                <a:gd name="T39" fmla="*/ 3917 h 3950"/>
                <a:gd name="T40" fmla="*/ 1127 w 3934"/>
                <a:gd name="T41" fmla="*/ 3685 h 3950"/>
                <a:gd name="T42" fmla="*/ 1020 w 3934"/>
                <a:gd name="T43" fmla="*/ 3624 h 3950"/>
                <a:gd name="T44" fmla="*/ 959 w 3934"/>
                <a:gd name="T45" fmla="*/ 3517 h 3950"/>
                <a:gd name="T46" fmla="*/ 946 w 3934"/>
                <a:gd name="T47" fmla="*/ 3454 h 3950"/>
                <a:gd name="T48" fmla="*/ 943 w 3934"/>
                <a:gd name="T49" fmla="*/ 3410 h 3950"/>
                <a:gd name="T50" fmla="*/ 945 w 3934"/>
                <a:gd name="T51" fmla="*/ 3382 h 3950"/>
                <a:gd name="T52" fmla="*/ 1060 w 3934"/>
                <a:gd name="T53" fmla="*/ 2995 h 3950"/>
                <a:gd name="T54" fmla="*/ 1123 w 3934"/>
                <a:gd name="T55" fmla="*/ 2873 h 3950"/>
                <a:gd name="T56" fmla="*/ 1207 w 3934"/>
                <a:gd name="T57" fmla="*/ 2729 h 3950"/>
                <a:gd name="T58" fmla="*/ 1890 w 3934"/>
                <a:gd name="T59" fmla="*/ 1890 h 3950"/>
                <a:gd name="T60" fmla="*/ 2729 w 3934"/>
                <a:gd name="T61" fmla="*/ 1207 h 3950"/>
                <a:gd name="T62" fmla="*/ 2873 w 3934"/>
                <a:gd name="T63" fmla="*/ 1123 h 3950"/>
                <a:gd name="T64" fmla="*/ 2994 w 3934"/>
                <a:gd name="T65" fmla="*/ 1061 h 3950"/>
                <a:gd name="T66" fmla="*/ 3382 w 3934"/>
                <a:gd name="T67" fmla="*/ 946 h 3950"/>
                <a:gd name="T68" fmla="*/ 3410 w 3934"/>
                <a:gd name="T69" fmla="*/ 943 h 3950"/>
                <a:gd name="T70" fmla="*/ 3454 w 3934"/>
                <a:gd name="T71" fmla="*/ 947 h 3950"/>
                <a:gd name="T72" fmla="*/ 3517 w 3934"/>
                <a:gd name="T73" fmla="*/ 959 h 3950"/>
                <a:gd name="T74" fmla="*/ 3624 w 3934"/>
                <a:gd name="T75" fmla="*/ 1020 h 3950"/>
                <a:gd name="T76" fmla="*/ 3679 w 3934"/>
                <a:gd name="T77" fmla="*/ 1109 h 3950"/>
                <a:gd name="T78" fmla="*/ 3893 w 3934"/>
                <a:gd name="T79" fmla="*/ 331 h 3950"/>
                <a:gd name="T80" fmla="*/ 3924 w 3934"/>
                <a:gd name="T81" fmla="*/ 131 h 3950"/>
                <a:gd name="T82" fmla="*/ 3934 w 3934"/>
                <a:gd name="T83" fmla="*/ 47 h 3950"/>
                <a:gd name="T84" fmla="*/ 3902 w 3934"/>
                <a:gd name="T85" fmla="*/ 32 h 3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34" h="3950">
                  <a:moveTo>
                    <a:pt x="3902" y="32"/>
                  </a:moveTo>
                  <a:cubicBezTo>
                    <a:pt x="3854" y="12"/>
                    <a:pt x="3797" y="1"/>
                    <a:pt x="3727" y="0"/>
                  </a:cubicBezTo>
                  <a:cubicBezTo>
                    <a:pt x="3714" y="0"/>
                    <a:pt x="3700" y="2"/>
                    <a:pt x="3687" y="3"/>
                  </a:cubicBezTo>
                  <a:cubicBezTo>
                    <a:pt x="3664" y="4"/>
                    <a:pt x="3641" y="5"/>
                    <a:pt x="3616" y="8"/>
                  </a:cubicBezTo>
                  <a:cubicBezTo>
                    <a:pt x="3592" y="12"/>
                    <a:pt x="3567" y="16"/>
                    <a:pt x="3541" y="21"/>
                  </a:cubicBezTo>
                  <a:cubicBezTo>
                    <a:pt x="3386" y="53"/>
                    <a:pt x="3204" y="121"/>
                    <a:pt x="3005" y="222"/>
                  </a:cubicBezTo>
                  <a:cubicBezTo>
                    <a:pt x="2967" y="241"/>
                    <a:pt x="2929" y="262"/>
                    <a:pt x="2891" y="283"/>
                  </a:cubicBezTo>
                  <a:cubicBezTo>
                    <a:pt x="2851" y="305"/>
                    <a:pt x="2810" y="329"/>
                    <a:pt x="2768" y="353"/>
                  </a:cubicBezTo>
                  <a:cubicBezTo>
                    <a:pt x="2350" y="601"/>
                    <a:pt x="1878" y="968"/>
                    <a:pt x="1424" y="1424"/>
                  </a:cubicBezTo>
                  <a:cubicBezTo>
                    <a:pt x="967" y="1878"/>
                    <a:pt x="601" y="2350"/>
                    <a:pt x="353" y="2768"/>
                  </a:cubicBezTo>
                  <a:cubicBezTo>
                    <a:pt x="329" y="2810"/>
                    <a:pt x="305" y="2851"/>
                    <a:pt x="283" y="2891"/>
                  </a:cubicBezTo>
                  <a:cubicBezTo>
                    <a:pt x="261" y="2930"/>
                    <a:pt x="241" y="2968"/>
                    <a:pt x="222" y="3005"/>
                  </a:cubicBezTo>
                  <a:cubicBezTo>
                    <a:pt x="121" y="3204"/>
                    <a:pt x="53" y="3386"/>
                    <a:pt x="22" y="3540"/>
                  </a:cubicBezTo>
                  <a:cubicBezTo>
                    <a:pt x="16" y="3566"/>
                    <a:pt x="12" y="3592"/>
                    <a:pt x="8" y="3616"/>
                  </a:cubicBezTo>
                  <a:cubicBezTo>
                    <a:pt x="5" y="3641"/>
                    <a:pt x="4" y="3664"/>
                    <a:pt x="3" y="3686"/>
                  </a:cubicBezTo>
                  <a:cubicBezTo>
                    <a:pt x="2" y="3700"/>
                    <a:pt x="0" y="3714"/>
                    <a:pt x="1" y="3727"/>
                  </a:cubicBezTo>
                  <a:cubicBezTo>
                    <a:pt x="1" y="3797"/>
                    <a:pt x="12" y="3854"/>
                    <a:pt x="32" y="3902"/>
                  </a:cubicBezTo>
                  <a:cubicBezTo>
                    <a:pt x="39" y="3919"/>
                    <a:pt x="47" y="3935"/>
                    <a:pt x="56" y="3950"/>
                  </a:cubicBezTo>
                  <a:cubicBezTo>
                    <a:pt x="64" y="3949"/>
                    <a:pt x="71" y="3948"/>
                    <a:pt x="79" y="3947"/>
                  </a:cubicBezTo>
                  <a:cubicBezTo>
                    <a:pt x="147" y="3939"/>
                    <a:pt x="214" y="3929"/>
                    <a:pt x="282" y="3917"/>
                  </a:cubicBezTo>
                  <a:cubicBezTo>
                    <a:pt x="569" y="3868"/>
                    <a:pt x="852" y="3791"/>
                    <a:pt x="1127" y="3685"/>
                  </a:cubicBezTo>
                  <a:cubicBezTo>
                    <a:pt x="1087" y="3673"/>
                    <a:pt x="1050" y="3653"/>
                    <a:pt x="1020" y="3624"/>
                  </a:cubicBezTo>
                  <a:cubicBezTo>
                    <a:pt x="990" y="3594"/>
                    <a:pt x="971" y="3557"/>
                    <a:pt x="959" y="3517"/>
                  </a:cubicBezTo>
                  <a:cubicBezTo>
                    <a:pt x="953" y="3497"/>
                    <a:pt x="949" y="3476"/>
                    <a:pt x="946" y="3454"/>
                  </a:cubicBezTo>
                  <a:cubicBezTo>
                    <a:pt x="945" y="3440"/>
                    <a:pt x="943" y="3425"/>
                    <a:pt x="943" y="3410"/>
                  </a:cubicBezTo>
                  <a:cubicBezTo>
                    <a:pt x="944" y="3401"/>
                    <a:pt x="945" y="3392"/>
                    <a:pt x="945" y="3382"/>
                  </a:cubicBezTo>
                  <a:cubicBezTo>
                    <a:pt x="952" y="3271"/>
                    <a:pt x="992" y="3140"/>
                    <a:pt x="1060" y="2995"/>
                  </a:cubicBezTo>
                  <a:cubicBezTo>
                    <a:pt x="1079" y="2955"/>
                    <a:pt x="1100" y="2914"/>
                    <a:pt x="1123" y="2873"/>
                  </a:cubicBezTo>
                  <a:cubicBezTo>
                    <a:pt x="1148" y="2826"/>
                    <a:pt x="1176" y="2778"/>
                    <a:pt x="1207" y="2729"/>
                  </a:cubicBezTo>
                  <a:cubicBezTo>
                    <a:pt x="1371" y="2466"/>
                    <a:pt x="1606" y="2176"/>
                    <a:pt x="1890" y="1890"/>
                  </a:cubicBezTo>
                  <a:cubicBezTo>
                    <a:pt x="2176" y="1606"/>
                    <a:pt x="2466" y="1372"/>
                    <a:pt x="2729" y="1207"/>
                  </a:cubicBezTo>
                  <a:cubicBezTo>
                    <a:pt x="2778" y="1176"/>
                    <a:pt x="2825" y="1149"/>
                    <a:pt x="2873" y="1123"/>
                  </a:cubicBezTo>
                  <a:cubicBezTo>
                    <a:pt x="2914" y="1100"/>
                    <a:pt x="2955" y="1079"/>
                    <a:pt x="2994" y="1061"/>
                  </a:cubicBezTo>
                  <a:cubicBezTo>
                    <a:pt x="3140" y="992"/>
                    <a:pt x="3271" y="953"/>
                    <a:pt x="3382" y="946"/>
                  </a:cubicBezTo>
                  <a:cubicBezTo>
                    <a:pt x="3392" y="945"/>
                    <a:pt x="3401" y="944"/>
                    <a:pt x="3410" y="943"/>
                  </a:cubicBezTo>
                  <a:cubicBezTo>
                    <a:pt x="3425" y="943"/>
                    <a:pt x="3440" y="945"/>
                    <a:pt x="3454" y="947"/>
                  </a:cubicBezTo>
                  <a:cubicBezTo>
                    <a:pt x="3476" y="949"/>
                    <a:pt x="3497" y="953"/>
                    <a:pt x="3517" y="959"/>
                  </a:cubicBezTo>
                  <a:cubicBezTo>
                    <a:pt x="3557" y="971"/>
                    <a:pt x="3594" y="990"/>
                    <a:pt x="3624" y="1020"/>
                  </a:cubicBezTo>
                  <a:cubicBezTo>
                    <a:pt x="3649" y="1045"/>
                    <a:pt x="3667" y="1076"/>
                    <a:pt x="3679" y="1109"/>
                  </a:cubicBezTo>
                  <a:cubicBezTo>
                    <a:pt x="3774" y="856"/>
                    <a:pt x="3846" y="595"/>
                    <a:pt x="3893" y="331"/>
                  </a:cubicBezTo>
                  <a:cubicBezTo>
                    <a:pt x="3905" y="265"/>
                    <a:pt x="3915" y="198"/>
                    <a:pt x="3924" y="131"/>
                  </a:cubicBezTo>
                  <a:cubicBezTo>
                    <a:pt x="3928" y="103"/>
                    <a:pt x="3931" y="75"/>
                    <a:pt x="3934" y="47"/>
                  </a:cubicBezTo>
                  <a:cubicBezTo>
                    <a:pt x="3924" y="41"/>
                    <a:pt x="3913" y="37"/>
                    <a:pt x="3902" y="3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sp>
        <p:nvSpPr>
          <p:cNvPr id="8" name="Platshållare för bild 7"/>
          <p:cNvSpPr>
            <a:spLocks noGrp="1"/>
          </p:cNvSpPr>
          <p:nvPr>
            <p:ph type="pic" sz="quarter" idx="15" hasCustomPrompt="1"/>
          </p:nvPr>
        </p:nvSpPr>
        <p:spPr>
          <a:xfrm>
            <a:off x="4584700" y="952575"/>
            <a:ext cx="4156148" cy="3289235"/>
          </a:xfrm>
          <a:prstGeom prst="rect">
            <a:avLst/>
          </a:prstGeom>
        </p:spPr>
        <p:txBody>
          <a:bodyPr/>
          <a:lstStyle>
            <a:lvl1pPr marL="0" indent="0">
              <a:buNone/>
              <a:defRPr/>
            </a:lvl1pPr>
          </a:lstStyle>
          <a:p>
            <a:r>
              <a:rPr lang="sv-SE"/>
              <a:t> </a:t>
            </a:r>
          </a:p>
        </p:txBody>
      </p:sp>
      <p:pic>
        <p:nvPicPr>
          <p:cNvPr id="10" name="Bildobjekt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0201" y="4398480"/>
            <a:ext cx="1411510" cy="510908"/>
          </a:xfrm>
          <a:prstGeom prst="rect">
            <a:avLst/>
          </a:prstGeom>
        </p:spPr>
      </p:pic>
      <p:sp>
        <p:nvSpPr>
          <p:cNvPr id="34" name="Rubrik 33"/>
          <p:cNvSpPr>
            <a:spLocks noGrp="1"/>
          </p:cNvSpPr>
          <p:nvPr>
            <p:ph type="title" hasCustomPrompt="1"/>
          </p:nvPr>
        </p:nvSpPr>
        <p:spPr>
          <a:xfrm>
            <a:off x="381000" y="231127"/>
            <a:ext cx="7401639" cy="2007664"/>
          </a:xfrm>
          <a:prstGeom prst="rect">
            <a:avLst/>
          </a:prstGeom>
        </p:spPr>
        <p:txBody>
          <a:bodyPr lIns="0" tIns="0" rIns="0" bIns="0" anchor="t" anchorCtr="0">
            <a:normAutofit/>
          </a:bodyPr>
          <a:lstStyle>
            <a:lvl1pPr algn="l">
              <a:defRPr sz="3600">
                <a:solidFill>
                  <a:schemeClr val="bg1"/>
                </a:solidFill>
                <a:latin typeface="Calibri"/>
                <a:cs typeface="Calibri"/>
              </a:defRPr>
            </a:lvl1pPr>
          </a:lstStyle>
          <a:p>
            <a:r>
              <a:rPr lang="en-GB"/>
              <a:t>Heading</a:t>
            </a:r>
            <a:endParaRPr lang="sv-SE"/>
          </a:p>
        </p:txBody>
      </p:sp>
      <p:sp>
        <p:nvSpPr>
          <p:cNvPr id="36" name="Platshållare för text 35"/>
          <p:cNvSpPr>
            <a:spLocks noGrp="1"/>
          </p:cNvSpPr>
          <p:nvPr>
            <p:ph type="body" sz="quarter" idx="13" hasCustomPrompt="1"/>
          </p:nvPr>
        </p:nvSpPr>
        <p:spPr>
          <a:xfrm>
            <a:off x="381000" y="2502477"/>
            <a:ext cx="4203700" cy="1206396"/>
          </a:xfrm>
          <a:prstGeom prst="rect">
            <a:avLst/>
          </a:prstGeom>
        </p:spPr>
        <p:txBody>
          <a:bodyPr lIns="0" tIns="0" rIns="0" bIns="0">
            <a:noAutofit/>
          </a:bodyPr>
          <a:lstStyle>
            <a:lvl1pPr marL="0" indent="0">
              <a:buNone/>
              <a:defRPr sz="2000">
                <a:solidFill>
                  <a:srgbClr val="FFFFFF"/>
                </a:solidFill>
              </a:defRPr>
            </a:lvl1pPr>
            <a:lvl2pPr marL="0" indent="0">
              <a:buNone/>
              <a:defRPr sz="2000">
                <a:solidFill>
                  <a:srgbClr val="FFFFFF"/>
                </a:solidFill>
              </a:defRPr>
            </a:lvl2pPr>
            <a:lvl3pPr marL="0" indent="0">
              <a:buNone/>
              <a:defRPr sz="2000">
                <a:solidFill>
                  <a:srgbClr val="FFFFFF"/>
                </a:solidFill>
              </a:defRPr>
            </a:lvl3pPr>
            <a:lvl4pPr marL="0" indent="0">
              <a:buNone/>
              <a:defRPr sz="2000">
                <a:solidFill>
                  <a:srgbClr val="FFFFFF"/>
                </a:solidFill>
              </a:defRPr>
            </a:lvl4pPr>
            <a:lvl5pPr marL="0" indent="0">
              <a:buNone/>
              <a:defRPr sz="2000">
                <a:solidFill>
                  <a:srgbClr val="FFFFFF"/>
                </a:solidFill>
              </a:defRPr>
            </a:lvl5pPr>
          </a:lstStyle>
          <a:p>
            <a:pPr lvl="0"/>
            <a:r>
              <a:rPr lang="en-GB"/>
              <a:t>Text</a:t>
            </a:r>
          </a:p>
        </p:txBody>
      </p:sp>
      <p:sp>
        <p:nvSpPr>
          <p:cNvPr id="32" name="Platshållare för sidfot 4">
            <a:extLst>
              <a:ext uri="{FF2B5EF4-FFF2-40B4-BE49-F238E27FC236}">
                <a16:creationId xmlns:a16="http://schemas.microsoft.com/office/drawing/2014/main" id="{98A93117-6794-40D6-991A-EDE4996F3EF0}"/>
              </a:ext>
            </a:extLst>
          </p:cNvPr>
          <p:cNvSpPr>
            <a:spLocks noGrp="1"/>
          </p:cNvSpPr>
          <p:nvPr>
            <p:ph type="ftr" sz="quarter" idx="11"/>
          </p:nvPr>
        </p:nvSpPr>
        <p:spPr>
          <a:xfrm>
            <a:off x="5824413" y="4483997"/>
            <a:ext cx="2509889" cy="382813"/>
          </a:xfrm>
          <a:prstGeom prst="rect">
            <a:avLst/>
          </a:prstGeom>
        </p:spPr>
        <p:txBody>
          <a:bodyPr lIns="0" tIns="0" rIns="0" bIns="0" anchor="b" anchorCtr="0"/>
          <a:lstStyle>
            <a:lvl1pPr algn="r">
              <a:defRPr sz="900" b="0">
                <a:solidFill>
                  <a:schemeClr val="bg1"/>
                </a:solidFill>
              </a:defRPr>
            </a:lvl1pPr>
          </a:lstStyle>
          <a:p>
            <a:r>
              <a:rPr lang="en-US"/>
              <a:t>Stakeholder Forum Agenda - Classification: External</a:t>
            </a:r>
            <a:endParaRPr lang="sv-SE"/>
          </a:p>
        </p:txBody>
      </p:sp>
      <p:sp>
        <p:nvSpPr>
          <p:cNvPr id="38" name="Platshållare för datum 3">
            <a:extLst>
              <a:ext uri="{FF2B5EF4-FFF2-40B4-BE49-F238E27FC236}">
                <a16:creationId xmlns:a16="http://schemas.microsoft.com/office/drawing/2014/main" id="{2FC48492-11D5-4208-B247-F360B0E3C653}"/>
              </a:ext>
            </a:extLst>
          </p:cNvPr>
          <p:cNvSpPr>
            <a:spLocks noGrp="1"/>
          </p:cNvSpPr>
          <p:nvPr>
            <p:ph type="dt" sz="half" idx="10"/>
          </p:nvPr>
        </p:nvSpPr>
        <p:spPr>
          <a:xfrm>
            <a:off x="4734099" y="4495861"/>
            <a:ext cx="1018558" cy="370949"/>
          </a:xfrm>
          <a:prstGeom prst="rect">
            <a:avLst/>
          </a:prstGeom>
        </p:spPr>
        <p:txBody>
          <a:bodyPr lIns="0" tIns="0" rIns="0" bIns="0" anchor="b" anchorCtr="0"/>
          <a:lstStyle>
            <a:lvl1pPr algn="l">
              <a:defRPr sz="900" b="0" i="0" cap="all">
                <a:solidFill>
                  <a:schemeClr val="bg1"/>
                </a:solidFill>
              </a:defRPr>
            </a:lvl1pPr>
          </a:lstStyle>
          <a:p>
            <a:r>
              <a:rPr lang="sv-SE"/>
              <a:t>26/03/2026</a:t>
            </a:r>
          </a:p>
        </p:txBody>
      </p:sp>
      <p:sp>
        <p:nvSpPr>
          <p:cNvPr id="39" name="Platshållare för bildnummer 5">
            <a:extLst>
              <a:ext uri="{FF2B5EF4-FFF2-40B4-BE49-F238E27FC236}">
                <a16:creationId xmlns:a16="http://schemas.microsoft.com/office/drawing/2014/main" id="{0EE06EAF-20B9-4C6E-A255-508932360C31}"/>
              </a:ext>
            </a:extLst>
          </p:cNvPr>
          <p:cNvSpPr>
            <a:spLocks noGrp="1"/>
          </p:cNvSpPr>
          <p:nvPr>
            <p:ph type="sldNum" sz="quarter" idx="12"/>
          </p:nvPr>
        </p:nvSpPr>
        <p:spPr>
          <a:xfrm>
            <a:off x="8383230" y="4469824"/>
            <a:ext cx="368658" cy="396987"/>
          </a:xfrm>
          <a:prstGeom prst="rect">
            <a:avLst/>
          </a:prstGeom>
          <a:noFill/>
        </p:spPr>
        <p:txBody>
          <a:bodyPr lIns="25400" tIns="0" rIns="0" bIns="0" anchor="b" anchorCtr="0"/>
          <a:lstStyle>
            <a:lvl1pPr algn="r">
              <a:defRPr sz="900">
                <a:solidFill>
                  <a:schemeClr val="bg1"/>
                </a:solidFill>
              </a:defRPr>
            </a:lvl1pPr>
          </a:lstStyle>
          <a:p>
            <a:fld id="{394EE31B-4DFC-CF4D-9A18-3F5D4D7C7302}" type="slidenum">
              <a:rPr lang="sv-SE" smtClean="0"/>
              <a:pPr/>
              <a:t>‹#›</a:t>
            </a:fld>
            <a:endParaRPr lang="sv-SE"/>
          </a:p>
        </p:txBody>
      </p:sp>
    </p:spTree>
    <p:extLst>
      <p:ext uri="{BB962C8B-B14F-4D97-AF65-F5344CB8AC3E}">
        <p14:creationId xmlns:p14="http://schemas.microsoft.com/office/powerpoint/2010/main" val="367276977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Text - Obj">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p:txBody>
          <a:bodyPr/>
          <a:lstStyle/>
          <a:p>
            <a:r>
              <a:rPr lang="sv-SE"/>
              <a:t>Klicka här för att ändra mall för rubrikformat</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12" name="Platshållare för text 6">
            <a:extLst>
              <a:ext uri="{FF2B5EF4-FFF2-40B4-BE49-F238E27FC236}">
                <a16:creationId xmlns:a16="http://schemas.microsoft.com/office/drawing/2014/main" id="{4A8D53C4-8A67-4681-8824-CEBD558DD74C}"/>
              </a:ext>
            </a:extLst>
          </p:cNvPr>
          <p:cNvSpPr>
            <a:spLocks noGrp="1"/>
          </p:cNvSpPr>
          <p:nvPr>
            <p:ph type="body" sz="quarter" idx="21"/>
          </p:nvPr>
        </p:nvSpPr>
        <p:spPr>
          <a:xfrm>
            <a:off x="469899" y="1068388"/>
            <a:ext cx="3843918" cy="312261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innehåll 4">
            <a:extLst>
              <a:ext uri="{FF2B5EF4-FFF2-40B4-BE49-F238E27FC236}">
                <a16:creationId xmlns:a16="http://schemas.microsoft.com/office/drawing/2014/main" id="{B6E2CE16-DC15-43CB-AD80-085D5F8F24DA}"/>
              </a:ext>
            </a:extLst>
          </p:cNvPr>
          <p:cNvSpPr>
            <a:spLocks noGrp="1"/>
          </p:cNvSpPr>
          <p:nvPr>
            <p:ph sz="quarter" idx="19"/>
          </p:nvPr>
        </p:nvSpPr>
        <p:spPr>
          <a:xfrm>
            <a:off x="4635500" y="1068388"/>
            <a:ext cx="4038599" cy="2998003"/>
          </a:xfrm>
          <a:solidFill>
            <a:schemeClr val="bg1"/>
          </a:solidFill>
        </p:spPr>
        <p:txBody>
          <a:bodyPr lIns="72000" tIns="72000" rIns="72000" bIns="7200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5" name="Platshållare för text 12">
            <a:extLst>
              <a:ext uri="{FF2B5EF4-FFF2-40B4-BE49-F238E27FC236}">
                <a16:creationId xmlns:a16="http://schemas.microsoft.com/office/drawing/2014/main" id="{722B9103-6880-4AD6-AADD-F5C6E2B6206B}"/>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16" name="Platshållare för sidfot 5">
            <a:extLst>
              <a:ext uri="{FF2B5EF4-FFF2-40B4-BE49-F238E27FC236}">
                <a16:creationId xmlns:a16="http://schemas.microsoft.com/office/drawing/2014/main" id="{88C7F0BB-5FD6-44AE-B605-2277AF2951EE}"/>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10938125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ext - Obj 2">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p:txBody>
          <a:bodyPr/>
          <a:lstStyle/>
          <a:p>
            <a:r>
              <a:rPr lang="sv-SE"/>
              <a:t>Klicka här för att ändra mall för rubrikformat</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5" name="Platshållare för innehåll 4">
            <a:extLst>
              <a:ext uri="{FF2B5EF4-FFF2-40B4-BE49-F238E27FC236}">
                <a16:creationId xmlns:a16="http://schemas.microsoft.com/office/drawing/2014/main" id="{B6E2CE16-DC15-43CB-AD80-085D5F8F24DA}"/>
              </a:ext>
            </a:extLst>
          </p:cNvPr>
          <p:cNvSpPr>
            <a:spLocks noGrp="1"/>
          </p:cNvSpPr>
          <p:nvPr>
            <p:ph sz="quarter" idx="19"/>
          </p:nvPr>
        </p:nvSpPr>
        <p:spPr>
          <a:xfrm>
            <a:off x="3940174" y="1068388"/>
            <a:ext cx="4733925" cy="3122612"/>
          </a:xfrm>
          <a:solidFill>
            <a:schemeClr val="bg1"/>
          </a:solidFill>
        </p:spPr>
        <p:txBody>
          <a:bodyPr lIns="72000" tIns="72000" rIns="72000" bIns="7200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2" name="Platshållare för text 6">
            <a:extLst>
              <a:ext uri="{FF2B5EF4-FFF2-40B4-BE49-F238E27FC236}">
                <a16:creationId xmlns:a16="http://schemas.microsoft.com/office/drawing/2014/main" id="{4A8D53C4-8A67-4681-8824-CEBD558DD74C}"/>
              </a:ext>
            </a:extLst>
          </p:cNvPr>
          <p:cNvSpPr>
            <a:spLocks noGrp="1"/>
          </p:cNvSpPr>
          <p:nvPr>
            <p:ph type="body" sz="quarter" idx="21"/>
          </p:nvPr>
        </p:nvSpPr>
        <p:spPr>
          <a:xfrm>
            <a:off x="469899" y="1068388"/>
            <a:ext cx="3343276" cy="3122612"/>
          </a:xfrm>
        </p:spPr>
        <p:txBody>
          <a:bodyPr lIns="72000" tIns="72000" rIns="72000" bIns="7200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5" name="Platshållare för text 12">
            <a:extLst>
              <a:ext uri="{FF2B5EF4-FFF2-40B4-BE49-F238E27FC236}">
                <a16:creationId xmlns:a16="http://schemas.microsoft.com/office/drawing/2014/main" id="{B6912E89-65D4-4A76-9DBE-58FABDAB9570}"/>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16" name="Platshållare för sidfot 5">
            <a:extLst>
              <a:ext uri="{FF2B5EF4-FFF2-40B4-BE49-F238E27FC236}">
                <a16:creationId xmlns:a16="http://schemas.microsoft.com/office/drawing/2014/main" id="{E8E0C49F-724B-4E59-9992-5BC15D687403}"/>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63327978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Text - Obj 2">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p:txBody>
          <a:bodyPr/>
          <a:lstStyle/>
          <a:p>
            <a:r>
              <a:rPr lang="sv-SE"/>
              <a:t>Klicka här för att ändra mall för rubrikformat</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5" name="Platshållare för innehåll 4">
            <a:extLst>
              <a:ext uri="{FF2B5EF4-FFF2-40B4-BE49-F238E27FC236}">
                <a16:creationId xmlns:a16="http://schemas.microsoft.com/office/drawing/2014/main" id="{B6E2CE16-DC15-43CB-AD80-085D5F8F24DA}"/>
              </a:ext>
            </a:extLst>
          </p:cNvPr>
          <p:cNvSpPr>
            <a:spLocks noGrp="1"/>
          </p:cNvSpPr>
          <p:nvPr>
            <p:ph sz="quarter" idx="19"/>
          </p:nvPr>
        </p:nvSpPr>
        <p:spPr>
          <a:xfrm>
            <a:off x="3940174" y="1068388"/>
            <a:ext cx="4733925" cy="3122612"/>
          </a:xfrm>
          <a:solidFill>
            <a:schemeClr val="bg1"/>
          </a:solidFill>
        </p:spPr>
        <p:txBody>
          <a:bodyPr lIns="72000" tIns="72000" rIns="72000" bIns="7200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2" name="Platshållare för text 6">
            <a:extLst>
              <a:ext uri="{FF2B5EF4-FFF2-40B4-BE49-F238E27FC236}">
                <a16:creationId xmlns:a16="http://schemas.microsoft.com/office/drawing/2014/main" id="{4A8D53C4-8A67-4681-8824-CEBD558DD74C}"/>
              </a:ext>
            </a:extLst>
          </p:cNvPr>
          <p:cNvSpPr>
            <a:spLocks noGrp="1"/>
          </p:cNvSpPr>
          <p:nvPr>
            <p:ph type="body" sz="quarter" idx="21"/>
          </p:nvPr>
        </p:nvSpPr>
        <p:spPr>
          <a:xfrm>
            <a:off x="469899" y="1068388"/>
            <a:ext cx="3343276" cy="3122612"/>
          </a:xfrm>
        </p:spPr>
        <p:txBody>
          <a:bodyPr lIns="72000" tIns="72000" rIns="72000" bIns="7200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5" name="Platshållare för text 12">
            <a:extLst>
              <a:ext uri="{FF2B5EF4-FFF2-40B4-BE49-F238E27FC236}">
                <a16:creationId xmlns:a16="http://schemas.microsoft.com/office/drawing/2014/main" id="{B6912E89-65D4-4A76-9DBE-58FABDAB9570}"/>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16" name="Platshållare för sidfot 5">
            <a:extLst>
              <a:ext uri="{FF2B5EF4-FFF2-40B4-BE49-F238E27FC236}">
                <a16:creationId xmlns:a16="http://schemas.microsoft.com/office/drawing/2014/main" id="{E8E0C49F-724B-4E59-9992-5BC15D687403}"/>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21321988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 Obj 3">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p:txBody>
          <a:bodyPr/>
          <a:lstStyle/>
          <a:p>
            <a:r>
              <a:rPr lang="sv-SE"/>
              <a:t>Klicka här för att ändra mall för rubrikformat</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5" name="Platshållare för innehåll 4">
            <a:extLst>
              <a:ext uri="{FF2B5EF4-FFF2-40B4-BE49-F238E27FC236}">
                <a16:creationId xmlns:a16="http://schemas.microsoft.com/office/drawing/2014/main" id="{B6E2CE16-DC15-43CB-AD80-085D5F8F24DA}"/>
              </a:ext>
            </a:extLst>
          </p:cNvPr>
          <p:cNvSpPr>
            <a:spLocks noGrp="1"/>
          </p:cNvSpPr>
          <p:nvPr>
            <p:ph sz="quarter" idx="19"/>
          </p:nvPr>
        </p:nvSpPr>
        <p:spPr>
          <a:xfrm>
            <a:off x="3246438" y="1068388"/>
            <a:ext cx="5427662" cy="312261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5" name="Platshållare för text 6">
            <a:extLst>
              <a:ext uri="{FF2B5EF4-FFF2-40B4-BE49-F238E27FC236}">
                <a16:creationId xmlns:a16="http://schemas.microsoft.com/office/drawing/2014/main" id="{73C6CAF7-2D9F-4774-8FE3-974539BD9E03}"/>
              </a:ext>
            </a:extLst>
          </p:cNvPr>
          <p:cNvSpPr>
            <a:spLocks noGrp="1"/>
          </p:cNvSpPr>
          <p:nvPr>
            <p:ph type="body" sz="quarter" idx="21"/>
          </p:nvPr>
        </p:nvSpPr>
        <p:spPr>
          <a:xfrm>
            <a:off x="469899" y="1068388"/>
            <a:ext cx="2649539" cy="312261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7" name="Platshållare för text 12">
            <a:extLst>
              <a:ext uri="{FF2B5EF4-FFF2-40B4-BE49-F238E27FC236}">
                <a16:creationId xmlns:a16="http://schemas.microsoft.com/office/drawing/2014/main" id="{E7027509-D80B-4E14-8DE1-8DC45900E0D8}"/>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18" name="Platshållare för sidfot 5">
            <a:extLst>
              <a:ext uri="{FF2B5EF4-FFF2-40B4-BE49-F238E27FC236}">
                <a16:creationId xmlns:a16="http://schemas.microsoft.com/office/drawing/2014/main" id="{9D263817-CB99-4506-8714-C702B936481C}"/>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39625999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Diagram 1">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p:txBody>
          <a:bodyPr/>
          <a:lstStyle/>
          <a:p>
            <a:r>
              <a:rPr lang="sv-SE"/>
              <a:t>Klicka här för att ändra mall för rubrikformat</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3" name="Rektangel 2">
            <a:extLst>
              <a:ext uri="{FF2B5EF4-FFF2-40B4-BE49-F238E27FC236}">
                <a16:creationId xmlns:a16="http://schemas.microsoft.com/office/drawing/2014/main" id="{683A0C5C-FBDD-4289-A44F-424053102D4E}"/>
              </a:ext>
            </a:extLst>
          </p:cNvPr>
          <p:cNvSpPr/>
          <p:nvPr userDrawn="1"/>
        </p:nvSpPr>
        <p:spPr>
          <a:xfrm>
            <a:off x="469900" y="1068389"/>
            <a:ext cx="8204200" cy="29011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Platshållare för diagram 6">
            <a:extLst>
              <a:ext uri="{FF2B5EF4-FFF2-40B4-BE49-F238E27FC236}">
                <a16:creationId xmlns:a16="http://schemas.microsoft.com/office/drawing/2014/main" id="{14E8041F-7658-4EBB-A861-5ED949156C8C}"/>
              </a:ext>
            </a:extLst>
          </p:cNvPr>
          <p:cNvSpPr>
            <a:spLocks noGrp="1"/>
          </p:cNvSpPr>
          <p:nvPr>
            <p:ph type="chart" sz="quarter" idx="21"/>
          </p:nvPr>
        </p:nvSpPr>
        <p:spPr>
          <a:xfrm>
            <a:off x="656216" y="1229519"/>
            <a:ext cx="7810053" cy="2621720"/>
          </a:xfrm>
        </p:spPr>
        <p:txBody>
          <a:bodyPr/>
          <a:lstStyle/>
          <a:p>
            <a:endParaRPr lang="sv-SE"/>
          </a:p>
        </p:txBody>
      </p:sp>
      <p:sp>
        <p:nvSpPr>
          <p:cNvPr id="15" name="Platshållare för text 12">
            <a:extLst>
              <a:ext uri="{FF2B5EF4-FFF2-40B4-BE49-F238E27FC236}">
                <a16:creationId xmlns:a16="http://schemas.microsoft.com/office/drawing/2014/main" id="{B9D17925-2275-42DB-85F5-E12C8BFE6F41}"/>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16" name="Platshållare för sidfot 5">
            <a:extLst>
              <a:ext uri="{FF2B5EF4-FFF2-40B4-BE49-F238E27FC236}">
                <a16:creationId xmlns:a16="http://schemas.microsoft.com/office/drawing/2014/main" id="{3333AD41-D074-45C5-A796-5E5C80AEE0D9}"/>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5057379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Diagram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p:txBody>
          <a:bodyPr/>
          <a:lstStyle/>
          <a:p>
            <a:r>
              <a:rPr lang="sv-SE"/>
              <a:t>Klicka här för att ändra mall för rubrikformat</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3" name="Rektangel 2">
            <a:extLst>
              <a:ext uri="{FF2B5EF4-FFF2-40B4-BE49-F238E27FC236}">
                <a16:creationId xmlns:a16="http://schemas.microsoft.com/office/drawing/2014/main" id="{683A0C5C-FBDD-4289-A44F-424053102D4E}"/>
              </a:ext>
            </a:extLst>
          </p:cNvPr>
          <p:cNvSpPr/>
          <p:nvPr userDrawn="1"/>
        </p:nvSpPr>
        <p:spPr>
          <a:xfrm>
            <a:off x="469900" y="1068389"/>
            <a:ext cx="8204200" cy="29011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Platshållare för diagram 6">
            <a:extLst>
              <a:ext uri="{FF2B5EF4-FFF2-40B4-BE49-F238E27FC236}">
                <a16:creationId xmlns:a16="http://schemas.microsoft.com/office/drawing/2014/main" id="{14E8041F-7658-4EBB-A861-5ED949156C8C}"/>
              </a:ext>
            </a:extLst>
          </p:cNvPr>
          <p:cNvSpPr>
            <a:spLocks noGrp="1"/>
          </p:cNvSpPr>
          <p:nvPr>
            <p:ph type="chart" sz="quarter" idx="21"/>
          </p:nvPr>
        </p:nvSpPr>
        <p:spPr>
          <a:xfrm>
            <a:off x="656216" y="1229519"/>
            <a:ext cx="7810053" cy="2621720"/>
          </a:xfrm>
        </p:spPr>
        <p:txBody>
          <a:bodyPr/>
          <a:lstStyle/>
          <a:p>
            <a:endParaRPr lang="sv-SE"/>
          </a:p>
        </p:txBody>
      </p:sp>
      <p:sp>
        <p:nvSpPr>
          <p:cNvPr id="15" name="Platshållare för text 12">
            <a:extLst>
              <a:ext uri="{FF2B5EF4-FFF2-40B4-BE49-F238E27FC236}">
                <a16:creationId xmlns:a16="http://schemas.microsoft.com/office/drawing/2014/main" id="{B9D17925-2275-42DB-85F5-E12C8BFE6F41}"/>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16" name="Platshållare för sidfot 5">
            <a:extLst>
              <a:ext uri="{FF2B5EF4-FFF2-40B4-BE49-F238E27FC236}">
                <a16:creationId xmlns:a16="http://schemas.microsoft.com/office/drawing/2014/main" id="{3333AD41-D074-45C5-A796-5E5C80AEE0D9}"/>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20806533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Rubrik">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p:txBody>
          <a:bodyPr/>
          <a:lstStyle/>
          <a:p>
            <a:r>
              <a:rPr lang="sv-SE"/>
              <a:t>Klicka här för att ändra mall för rubrikformat</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16" name="Platshållare för text 12">
            <a:extLst>
              <a:ext uri="{FF2B5EF4-FFF2-40B4-BE49-F238E27FC236}">
                <a16:creationId xmlns:a16="http://schemas.microsoft.com/office/drawing/2014/main" id="{4ECCBD35-0464-43E8-8B33-E54DDBB55051}"/>
              </a:ext>
            </a:extLst>
          </p:cNvPr>
          <p:cNvSpPr>
            <a:spLocks noGrp="1"/>
          </p:cNvSpPr>
          <p:nvPr>
            <p:ph type="body" sz="quarter" idx="18"/>
          </p:nvPr>
        </p:nvSpPr>
        <p:spPr>
          <a:xfrm>
            <a:off x="2552701" y="4334668"/>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17" name="Platshållare för sidfot 5">
            <a:extLst>
              <a:ext uri="{FF2B5EF4-FFF2-40B4-BE49-F238E27FC236}">
                <a16:creationId xmlns:a16="http://schemas.microsoft.com/office/drawing/2014/main" id="{4AF07BF4-797E-4790-8727-806E7072FC83}"/>
              </a:ext>
            </a:extLst>
          </p:cNvPr>
          <p:cNvSpPr txBox="1">
            <a:spLocks/>
          </p:cNvSpPr>
          <p:nvPr userDrawn="1"/>
        </p:nvSpPr>
        <p:spPr>
          <a:xfrm>
            <a:off x="2552700" y="4622799"/>
            <a:ext cx="5426075" cy="273844"/>
          </a:xfrm>
          <a:prstGeom prst="rect">
            <a:avLst/>
          </a:prstGeom>
        </p:spPr>
        <p:txBody>
          <a:bodyPr vert="horz" lIns="0" tIns="0" rIns="0" bIns="0" rtlCol="0" anchor="b" anchorCtr="0"/>
          <a:lstStyle>
            <a:defPPr>
              <a:defRPr lang="sv-SE"/>
            </a:defPPr>
            <a:lvl1pPr marL="0" algn="ctr" defTabSz="685800" rtl="0" eaLnBrk="1" latinLnBrk="0" hangingPunct="1">
              <a:defRPr sz="900" b="1"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r>
              <a:rPr lang="sv-SE"/>
              <a:t>Presentation</a:t>
            </a:r>
          </a:p>
        </p:txBody>
      </p:sp>
    </p:spTree>
    <p:extLst>
      <p:ext uri="{BB962C8B-B14F-4D97-AF65-F5344CB8AC3E}">
        <p14:creationId xmlns:p14="http://schemas.microsoft.com/office/powerpoint/2010/main" val="34429586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Rubrik 1">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p:txBody>
          <a:bodyPr/>
          <a:lstStyle/>
          <a:p>
            <a:r>
              <a:rPr lang="sv-SE"/>
              <a:t>Klicka här för att ändra mall för rubrikformat</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16" name="Platshållare för text 12">
            <a:extLst>
              <a:ext uri="{FF2B5EF4-FFF2-40B4-BE49-F238E27FC236}">
                <a16:creationId xmlns:a16="http://schemas.microsoft.com/office/drawing/2014/main" id="{4ECCBD35-0464-43E8-8B33-E54DDBB55051}"/>
              </a:ext>
            </a:extLst>
          </p:cNvPr>
          <p:cNvSpPr>
            <a:spLocks noGrp="1"/>
          </p:cNvSpPr>
          <p:nvPr>
            <p:ph type="body" sz="quarter" idx="18"/>
          </p:nvPr>
        </p:nvSpPr>
        <p:spPr>
          <a:xfrm>
            <a:off x="2552701" y="4334668"/>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17" name="Platshållare för sidfot 5">
            <a:extLst>
              <a:ext uri="{FF2B5EF4-FFF2-40B4-BE49-F238E27FC236}">
                <a16:creationId xmlns:a16="http://schemas.microsoft.com/office/drawing/2014/main" id="{4AF07BF4-797E-4790-8727-806E7072FC83}"/>
              </a:ext>
            </a:extLst>
          </p:cNvPr>
          <p:cNvSpPr txBox="1">
            <a:spLocks/>
          </p:cNvSpPr>
          <p:nvPr userDrawn="1"/>
        </p:nvSpPr>
        <p:spPr>
          <a:xfrm>
            <a:off x="2552700" y="4622799"/>
            <a:ext cx="5426075" cy="273844"/>
          </a:xfrm>
          <a:prstGeom prst="rect">
            <a:avLst/>
          </a:prstGeom>
        </p:spPr>
        <p:txBody>
          <a:bodyPr vert="horz" lIns="0" tIns="0" rIns="0" bIns="0" rtlCol="0" anchor="b" anchorCtr="0"/>
          <a:lstStyle>
            <a:defPPr>
              <a:defRPr lang="sv-SE"/>
            </a:defPPr>
            <a:lvl1pPr marL="0" algn="ctr" defTabSz="685800" rtl="0" eaLnBrk="1" latinLnBrk="0" hangingPunct="1">
              <a:defRPr sz="900" b="1"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r>
              <a:rPr lang="sv-SE"/>
              <a:t>Presentation</a:t>
            </a:r>
          </a:p>
        </p:txBody>
      </p:sp>
    </p:spTree>
    <p:extLst>
      <p:ext uri="{BB962C8B-B14F-4D97-AF65-F5344CB8AC3E}">
        <p14:creationId xmlns:p14="http://schemas.microsoft.com/office/powerpoint/2010/main" val="29488844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Utan Rubrik">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14" name="Platshållare för text 12">
            <a:extLst>
              <a:ext uri="{FF2B5EF4-FFF2-40B4-BE49-F238E27FC236}">
                <a16:creationId xmlns:a16="http://schemas.microsoft.com/office/drawing/2014/main" id="{7C9CE109-EB29-4182-805B-53BFD8851111}"/>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15" name="Platshållare för sidfot 5">
            <a:extLst>
              <a:ext uri="{FF2B5EF4-FFF2-40B4-BE49-F238E27FC236}">
                <a16:creationId xmlns:a16="http://schemas.microsoft.com/office/drawing/2014/main" id="{04018826-FBEC-4F76-AD4D-29EB919E870F}"/>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221673428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Utan Rubrik">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14" name="Platshållare för text 12">
            <a:extLst>
              <a:ext uri="{FF2B5EF4-FFF2-40B4-BE49-F238E27FC236}">
                <a16:creationId xmlns:a16="http://schemas.microsoft.com/office/drawing/2014/main" id="{7C9CE109-EB29-4182-805B-53BFD8851111}"/>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15" name="Platshållare för sidfot 5">
            <a:extLst>
              <a:ext uri="{FF2B5EF4-FFF2-40B4-BE49-F238E27FC236}">
                <a16:creationId xmlns:a16="http://schemas.microsoft.com/office/drawing/2014/main" id="{04018826-FBEC-4F76-AD4D-29EB919E870F}"/>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352341184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Section Red">
    <p:spTree>
      <p:nvGrpSpPr>
        <p:cNvPr id="1" name=""/>
        <p:cNvGrpSpPr/>
        <p:nvPr/>
      </p:nvGrpSpPr>
      <p:grpSpPr>
        <a:xfrm>
          <a:off x="0" y="0"/>
          <a:ext cx="0" cy="0"/>
          <a:chOff x="0" y="0"/>
          <a:chExt cx="0" cy="0"/>
        </a:xfrm>
      </p:grpSpPr>
      <p:sp>
        <p:nvSpPr>
          <p:cNvPr id="20" name="Rektangel 19"/>
          <p:cNvSpPr/>
          <p:nvPr userDrawn="1"/>
        </p:nvSpPr>
        <p:spPr>
          <a:xfrm>
            <a:off x="0" y="0"/>
            <a:ext cx="9144000" cy="5143500"/>
          </a:xfrm>
          <a:prstGeom prst="rect">
            <a:avLst/>
          </a:prstGeom>
          <a:solidFill>
            <a:schemeClr val="accent1"/>
          </a:solidFill>
          <a:ln>
            <a:noFill/>
          </a:ln>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sv-SE"/>
          </a:p>
        </p:txBody>
      </p:sp>
      <p:grpSp>
        <p:nvGrpSpPr>
          <p:cNvPr id="22" name="Grupp 21">
            <a:extLst>
              <a:ext uri="{FF2B5EF4-FFF2-40B4-BE49-F238E27FC236}">
                <a16:creationId xmlns:a16="http://schemas.microsoft.com/office/drawing/2014/main" id="{58A4F037-5372-4F50-AB2C-80E4F015FDE0}"/>
              </a:ext>
            </a:extLst>
          </p:cNvPr>
          <p:cNvGrpSpPr/>
          <p:nvPr userDrawn="1"/>
        </p:nvGrpSpPr>
        <p:grpSpPr>
          <a:xfrm>
            <a:off x="4099911" y="-1785593"/>
            <a:ext cx="8908892" cy="8714685"/>
            <a:chOff x="3589405" y="387640"/>
            <a:chExt cx="5873827" cy="5872463"/>
          </a:xfrm>
          <a:solidFill>
            <a:schemeClr val="bg1">
              <a:alpha val="10000"/>
            </a:schemeClr>
          </a:solidFill>
        </p:grpSpPr>
        <p:sp>
          <p:nvSpPr>
            <p:cNvPr id="23" name="Freeform 5">
              <a:extLst>
                <a:ext uri="{FF2B5EF4-FFF2-40B4-BE49-F238E27FC236}">
                  <a16:creationId xmlns:a16="http://schemas.microsoft.com/office/drawing/2014/main" id="{7C1D4E85-F2CE-4336-8CC8-25E235311297}"/>
                </a:ext>
              </a:extLst>
            </p:cNvPr>
            <p:cNvSpPr>
              <a:spLocks/>
            </p:cNvSpPr>
            <p:nvPr/>
          </p:nvSpPr>
          <p:spPr bwMode="auto">
            <a:xfrm>
              <a:off x="3871774" y="678194"/>
              <a:ext cx="1392749" cy="1400934"/>
            </a:xfrm>
            <a:custGeom>
              <a:avLst/>
              <a:gdLst>
                <a:gd name="T0" fmla="*/ 2096 w 2096"/>
                <a:gd name="T1" fmla="*/ 0 h 2108"/>
                <a:gd name="T2" fmla="*/ 877 w 2096"/>
                <a:gd name="T3" fmla="*/ 863 h 2108"/>
                <a:gd name="T4" fmla="*/ 0 w 2096"/>
                <a:gd name="T5" fmla="*/ 2108 h 2108"/>
                <a:gd name="T6" fmla="*/ 981 w 2096"/>
                <a:gd name="T7" fmla="*/ 948 h 2108"/>
                <a:gd name="T8" fmla="*/ 2096 w 2096"/>
                <a:gd name="T9" fmla="*/ 0 h 2108"/>
              </a:gdLst>
              <a:ahLst/>
              <a:cxnLst>
                <a:cxn ang="0">
                  <a:pos x="T0" y="T1"/>
                </a:cxn>
                <a:cxn ang="0">
                  <a:pos x="T2" y="T3"/>
                </a:cxn>
                <a:cxn ang="0">
                  <a:pos x="T4" y="T5"/>
                </a:cxn>
                <a:cxn ang="0">
                  <a:pos x="T6" y="T7"/>
                </a:cxn>
                <a:cxn ang="0">
                  <a:pos x="T8" y="T9"/>
                </a:cxn>
              </a:cxnLst>
              <a:rect l="0" t="0" r="r" b="b"/>
              <a:pathLst>
                <a:path w="2096" h="2108">
                  <a:moveTo>
                    <a:pt x="2096" y="0"/>
                  </a:moveTo>
                  <a:cubicBezTo>
                    <a:pt x="1655" y="211"/>
                    <a:pt x="1242" y="498"/>
                    <a:pt x="877" y="863"/>
                  </a:cubicBezTo>
                  <a:cubicBezTo>
                    <a:pt x="504" y="1235"/>
                    <a:pt x="213" y="1658"/>
                    <a:pt x="0" y="2108"/>
                  </a:cubicBezTo>
                  <a:cubicBezTo>
                    <a:pt x="254" y="1741"/>
                    <a:pt x="588" y="1343"/>
                    <a:pt x="981" y="948"/>
                  </a:cubicBezTo>
                  <a:cubicBezTo>
                    <a:pt x="1360" y="571"/>
                    <a:pt x="1741" y="249"/>
                    <a:pt x="209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4" name="Freeform 6">
              <a:extLst>
                <a:ext uri="{FF2B5EF4-FFF2-40B4-BE49-F238E27FC236}">
                  <a16:creationId xmlns:a16="http://schemas.microsoft.com/office/drawing/2014/main" id="{AAC8634F-3E34-4168-8D60-19B3A00C0D81}"/>
                </a:ext>
              </a:extLst>
            </p:cNvPr>
            <p:cNvSpPr>
              <a:spLocks/>
            </p:cNvSpPr>
            <p:nvPr/>
          </p:nvSpPr>
          <p:spPr bwMode="auto">
            <a:xfrm>
              <a:off x="3635784" y="435383"/>
              <a:ext cx="2381724" cy="2399457"/>
            </a:xfrm>
            <a:custGeom>
              <a:avLst/>
              <a:gdLst>
                <a:gd name="T0" fmla="*/ 446 w 3585"/>
                <a:gd name="T1" fmla="*/ 2866 h 3609"/>
                <a:gd name="T2" fmla="*/ 484 w 3585"/>
                <a:gd name="T3" fmla="*/ 2811 h 3609"/>
                <a:gd name="T4" fmla="*/ 1565 w 3585"/>
                <a:gd name="T5" fmla="*/ 1541 h 3609"/>
                <a:gd name="T6" fmla="*/ 2835 w 3585"/>
                <a:gd name="T7" fmla="*/ 460 h 3609"/>
                <a:gd name="T8" fmla="*/ 2891 w 3585"/>
                <a:gd name="T9" fmla="*/ 422 h 3609"/>
                <a:gd name="T10" fmla="*/ 2945 w 3585"/>
                <a:gd name="T11" fmla="*/ 385 h 3609"/>
                <a:gd name="T12" fmla="*/ 3585 w 3585"/>
                <a:gd name="T13" fmla="*/ 0 h 3609"/>
                <a:gd name="T14" fmla="*/ 3071 w 3585"/>
                <a:gd name="T15" fmla="*/ 123 h 3609"/>
                <a:gd name="T16" fmla="*/ 2863 w 3585"/>
                <a:gd name="T17" fmla="*/ 239 h 3609"/>
                <a:gd name="T18" fmla="*/ 2809 w 3585"/>
                <a:gd name="T19" fmla="*/ 272 h 3609"/>
                <a:gd name="T20" fmla="*/ 2752 w 3585"/>
                <a:gd name="T21" fmla="*/ 307 h 3609"/>
                <a:gd name="T22" fmla="*/ 1420 w 3585"/>
                <a:gd name="T23" fmla="*/ 1396 h 3609"/>
                <a:gd name="T24" fmla="*/ 331 w 3585"/>
                <a:gd name="T25" fmla="*/ 2728 h 3609"/>
                <a:gd name="T26" fmla="*/ 296 w 3585"/>
                <a:gd name="T27" fmla="*/ 2785 h 3609"/>
                <a:gd name="T28" fmla="*/ 263 w 3585"/>
                <a:gd name="T29" fmla="*/ 2839 h 3609"/>
                <a:gd name="T30" fmla="*/ 113 w 3585"/>
                <a:gd name="T31" fmla="*/ 3114 h 3609"/>
                <a:gd name="T32" fmla="*/ 0 w 3585"/>
                <a:gd name="T33" fmla="*/ 3609 h 3609"/>
                <a:gd name="T34" fmla="*/ 408 w 3585"/>
                <a:gd name="T35" fmla="*/ 2921 h 3609"/>
                <a:gd name="T36" fmla="*/ 446 w 3585"/>
                <a:gd name="T37" fmla="*/ 2866 h 3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85" h="3609">
                  <a:moveTo>
                    <a:pt x="446" y="2866"/>
                  </a:moveTo>
                  <a:cubicBezTo>
                    <a:pt x="459" y="2848"/>
                    <a:pt x="471" y="2830"/>
                    <a:pt x="484" y="2811"/>
                  </a:cubicBezTo>
                  <a:cubicBezTo>
                    <a:pt x="775" y="2399"/>
                    <a:pt x="1141" y="1966"/>
                    <a:pt x="1565" y="1541"/>
                  </a:cubicBezTo>
                  <a:cubicBezTo>
                    <a:pt x="1990" y="1117"/>
                    <a:pt x="2423" y="751"/>
                    <a:pt x="2835" y="460"/>
                  </a:cubicBezTo>
                  <a:cubicBezTo>
                    <a:pt x="2854" y="447"/>
                    <a:pt x="2872" y="435"/>
                    <a:pt x="2891" y="422"/>
                  </a:cubicBezTo>
                  <a:cubicBezTo>
                    <a:pt x="2909" y="409"/>
                    <a:pt x="2927" y="397"/>
                    <a:pt x="2945" y="385"/>
                  </a:cubicBezTo>
                  <a:cubicBezTo>
                    <a:pt x="3167" y="233"/>
                    <a:pt x="3382" y="104"/>
                    <a:pt x="3585" y="0"/>
                  </a:cubicBezTo>
                  <a:cubicBezTo>
                    <a:pt x="3412" y="31"/>
                    <a:pt x="3240" y="72"/>
                    <a:pt x="3071" y="123"/>
                  </a:cubicBezTo>
                  <a:cubicBezTo>
                    <a:pt x="3004" y="158"/>
                    <a:pt x="2935" y="196"/>
                    <a:pt x="2863" y="239"/>
                  </a:cubicBezTo>
                  <a:cubicBezTo>
                    <a:pt x="2845" y="249"/>
                    <a:pt x="2827" y="261"/>
                    <a:pt x="2809" y="272"/>
                  </a:cubicBezTo>
                  <a:cubicBezTo>
                    <a:pt x="2790" y="284"/>
                    <a:pt x="2771" y="294"/>
                    <a:pt x="2752" y="307"/>
                  </a:cubicBezTo>
                  <a:cubicBezTo>
                    <a:pt x="2343" y="565"/>
                    <a:pt x="1875" y="939"/>
                    <a:pt x="1420" y="1396"/>
                  </a:cubicBezTo>
                  <a:cubicBezTo>
                    <a:pt x="963" y="1851"/>
                    <a:pt x="589" y="2319"/>
                    <a:pt x="331" y="2728"/>
                  </a:cubicBezTo>
                  <a:cubicBezTo>
                    <a:pt x="318" y="2747"/>
                    <a:pt x="308" y="2766"/>
                    <a:pt x="296" y="2785"/>
                  </a:cubicBezTo>
                  <a:cubicBezTo>
                    <a:pt x="285" y="2803"/>
                    <a:pt x="273" y="2821"/>
                    <a:pt x="263" y="2839"/>
                  </a:cubicBezTo>
                  <a:cubicBezTo>
                    <a:pt x="205" y="2935"/>
                    <a:pt x="156" y="3027"/>
                    <a:pt x="113" y="3114"/>
                  </a:cubicBezTo>
                  <a:cubicBezTo>
                    <a:pt x="65" y="3277"/>
                    <a:pt x="28" y="3443"/>
                    <a:pt x="0" y="3609"/>
                  </a:cubicBezTo>
                  <a:cubicBezTo>
                    <a:pt x="107" y="3392"/>
                    <a:pt x="245" y="3161"/>
                    <a:pt x="408" y="2921"/>
                  </a:cubicBezTo>
                  <a:cubicBezTo>
                    <a:pt x="421" y="2903"/>
                    <a:pt x="433" y="2885"/>
                    <a:pt x="446" y="28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5" name="Freeform 7">
              <a:extLst>
                <a:ext uri="{FF2B5EF4-FFF2-40B4-BE49-F238E27FC236}">
                  <a16:creationId xmlns:a16="http://schemas.microsoft.com/office/drawing/2014/main" id="{1044E1AF-5D57-4C57-A718-661729CA160C}"/>
                </a:ext>
              </a:extLst>
            </p:cNvPr>
            <p:cNvSpPr>
              <a:spLocks/>
            </p:cNvSpPr>
            <p:nvPr/>
          </p:nvSpPr>
          <p:spPr bwMode="auto">
            <a:xfrm>
              <a:off x="3589405" y="387640"/>
              <a:ext cx="3051498" cy="3077416"/>
            </a:xfrm>
            <a:custGeom>
              <a:avLst/>
              <a:gdLst>
                <a:gd name="T0" fmla="*/ 267 w 4592"/>
                <a:gd name="T1" fmla="*/ 4024 h 4629"/>
                <a:gd name="T2" fmla="*/ 1026 w 4592"/>
                <a:gd name="T3" fmla="*/ 2858 h 4629"/>
                <a:gd name="T4" fmla="*/ 1121 w 4592"/>
                <a:gd name="T5" fmla="*/ 2738 h 4629"/>
                <a:gd name="T6" fmla="*/ 1236 w 4592"/>
                <a:gd name="T7" fmla="*/ 2597 h 4629"/>
                <a:gd name="T8" fmla="*/ 1896 w 4592"/>
                <a:gd name="T9" fmla="*/ 1875 h 4629"/>
                <a:gd name="T10" fmla="*/ 2618 w 4592"/>
                <a:gd name="T11" fmla="*/ 1215 h 4629"/>
                <a:gd name="T12" fmla="*/ 2759 w 4592"/>
                <a:gd name="T13" fmla="*/ 1101 h 4629"/>
                <a:gd name="T14" fmla="*/ 2878 w 4592"/>
                <a:gd name="T15" fmla="*/ 1006 h 4629"/>
                <a:gd name="T16" fmla="*/ 4045 w 4592"/>
                <a:gd name="T17" fmla="*/ 246 h 4629"/>
                <a:gd name="T18" fmla="*/ 4104 w 4592"/>
                <a:gd name="T19" fmla="*/ 217 h 4629"/>
                <a:gd name="T20" fmla="*/ 4159 w 4592"/>
                <a:gd name="T21" fmla="*/ 189 h 4629"/>
                <a:gd name="T22" fmla="*/ 4592 w 4592"/>
                <a:gd name="T23" fmla="*/ 6 h 4629"/>
                <a:gd name="T24" fmla="*/ 4098 w 4592"/>
                <a:gd name="T25" fmla="*/ 16 h 4629"/>
                <a:gd name="T26" fmla="*/ 4059 w 4592"/>
                <a:gd name="T27" fmla="*/ 19 h 4629"/>
                <a:gd name="T28" fmla="*/ 4034 w 4592"/>
                <a:gd name="T29" fmla="*/ 29 h 4629"/>
                <a:gd name="T30" fmla="*/ 3987 w 4592"/>
                <a:gd name="T31" fmla="*/ 49 h 4629"/>
                <a:gd name="T32" fmla="*/ 3976 w 4592"/>
                <a:gd name="T33" fmla="*/ 53 h 4629"/>
                <a:gd name="T34" fmla="*/ 3018 w 4592"/>
                <a:gd name="T35" fmla="*/ 598 h 4629"/>
                <a:gd name="T36" fmla="*/ 2950 w 4592"/>
                <a:gd name="T37" fmla="*/ 644 h 4629"/>
                <a:gd name="T38" fmla="*/ 2877 w 4592"/>
                <a:gd name="T39" fmla="*/ 698 h 4629"/>
                <a:gd name="T40" fmla="*/ 1717 w 4592"/>
                <a:gd name="T41" fmla="*/ 1696 h 4629"/>
                <a:gd name="T42" fmla="*/ 718 w 4592"/>
                <a:gd name="T43" fmla="*/ 2856 h 4629"/>
                <a:gd name="T44" fmla="*/ 665 w 4592"/>
                <a:gd name="T45" fmla="*/ 2929 h 4629"/>
                <a:gd name="T46" fmla="*/ 618 w 4592"/>
                <a:gd name="T47" fmla="*/ 2997 h 4629"/>
                <a:gd name="T48" fmla="*/ 74 w 4592"/>
                <a:gd name="T49" fmla="*/ 3955 h 4629"/>
                <a:gd name="T50" fmla="*/ 50 w 4592"/>
                <a:gd name="T51" fmla="*/ 4013 h 4629"/>
                <a:gd name="T52" fmla="*/ 28 w 4592"/>
                <a:gd name="T53" fmla="*/ 4070 h 4629"/>
                <a:gd name="T54" fmla="*/ 17 w 4592"/>
                <a:gd name="T55" fmla="*/ 4101 h 4629"/>
                <a:gd name="T56" fmla="*/ 8 w 4592"/>
                <a:gd name="T57" fmla="*/ 4629 h 4629"/>
                <a:gd name="T58" fmla="*/ 210 w 4592"/>
                <a:gd name="T59" fmla="*/ 4138 h 4629"/>
                <a:gd name="T60" fmla="*/ 238 w 4592"/>
                <a:gd name="T61" fmla="*/ 4083 h 4629"/>
                <a:gd name="T62" fmla="*/ 267 w 4592"/>
                <a:gd name="T63" fmla="*/ 4024 h 4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92" h="4629">
                  <a:moveTo>
                    <a:pt x="267" y="4024"/>
                  </a:moveTo>
                  <a:cubicBezTo>
                    <a:pt x="457" y="3655"/>
                    <a:pt x="713" y="3259"/>
                    <a:pt x="1026" y="2858"/>
                  </a:cubicBezTo>
                  <a:cubicBezTo>
                    <a:pt x="1057" y="2818"/>
                    <a:pt x="1089" y="2778"/>
                    <a:pt x="1121" y="2738"/>
                  </a:cubicBezTo>
                  <a:cubicBezTo>
                    <a:pt x="1159" y="2691"/>
                    <a:pt x="1197" y="2644"/>
                    <a:pt x="1236" y="2597"/>
                  </a:cubicBezTo>
                  <a:cubicBezTo>
                    <a:pt x="1437" y="2356"/>
                    <a:pt x="1658" y="2114"/>
                    <a:pt x="1896" y="1875"/>
                  </a:cubicBezTo>
                  <a:cubicBezTo>
                    <a:pt x="2134" y="1637"/>
                    <a:pt x="2376" y="1417"/>
                    <a:pt x="2618" y="1215"/>
                  </a:cubicBezTo>
                  <a:cubicBezTo>
                    <a:pt x="2665" y="1176"/>
                    <a:pt x="2712" y="1138"/>
                    <a:pt x="2759" y="1101"/>
                  </a:cubicBezTo>
                  <a:cubicBezTo>
                    <a:pt x="2799" y="1068"/>
                    <a:pt x="2839" y="1037"/>
                    <a:pt x="2878" y="1006"/>
                  </a:cubicBezTo>
                  <a:cubicBezTo>
                    <a:pt x="3280" y="693"/>
                    <a:pt x="3675" y="437"/>
                    <a:pt x="4045" y="246"/>
                  </a:cubicBezTo>
                  <a:cubicBezTo>
                    <a:pt x="4065" y="236"/>
                    <a:pt x="4084" y="226"/>
                    <a:pt x="4104" y="217"/>
                  </a:cubicBezTo>
                  <a:cubicBezTo>
                    <a:pt x="4122" y="208"/>
                    <a:pt x="4141" y="198"/>
                    <a:pt x="4159" y="189"/>
                  </a:cubicBezTo>
                  <a:cubicBezTo>
                    <a:pt x="4309" y="116"/>
                    <a:pt x="4453" y="55"/>
                    <a:pt x="4592" y="6"/>
                  </a:cubicBezTo>
                  <a:cubicBezTo>
                    <a:pt x="4427" y="0"/>
                    <a:pt x="4262" y="3"/>
                    <a:pt x="4098" y="16"/>
                  </a:cubicBezTo>
                  <a:cubicBezTo>
                    <a:pt x="4085" y="17"/>
                    <a:pt x="4072" y="18"/>
                    <a:pt x="4059" y="19"/>
                  </a:cubicBezTo>
                  <a:cubicBezTo>
                    <a:pt x="4051" y="22"/>
                    <a:pt x="4043" y="26"/>
                    <a:pt x="4034" y="29"/>
                  </a:cubicBezTo>
                  <a:cubicBezTo>
                    <a:pt x="4019" y="35"/>
                    <a:pt x="4003" y="42"/>
                    <a:pt x="3987" y="49"/>
                  </a:cubicBezTo>
                  <a:cubicBezTo>
                    <a:pt x="3983" y="50"/>
                    <a:pt x="3980" y="51"/>
                    <a:pt x="3976" y="53"/>
                  </a:cubicBezTo>
                  <a:cubicBezTo>
                    <a:pt x="3689" y="174"/>
                    <a:pt x="3362" y="358"/>
                    <a:pt x="3018" y="598"/>
                  </a:cubicBezTo>
                  <a:cubicBezTo>
                    <a:pt x="2995" y="613"/>
                    <a:pt x="2973" y="628"/>
                    <a:pt x="2950" y="644"/>
                  </a:cubicBezTo>
                  <a:cubicBezTo>
                    <a:pt x="2926" y="661"/>
                    <a:pt x="2902" y="680"/>
                    <a:pt x="2877" y="698"/>
                  </a:cubicBezTo>
                  <a:cubicBezTo>
                    <a:pt x="2499" y="973"/>
                    <a:pt x="2103" y="1309"/>
                    <a:pt x="1717" y="1696"/>
                  </a:cubicBezTo>
                  <a:cubicBezTo>
                    <a:pt x="1330" y="2082"/>
                    <a:pt x="994" y="2478"/>
                    <a:pt x="718" y="2856"/>
                  </a:cubicBezTo>
                  <a:cubicBezTo>
                    <a:pt x="701" y="2881"/>
                    <a:pt x="682" y="2905"/>
                    <a:pt x="665" y="2929"/>
                  </a:cubicBezTo>
                  <a:cubicBezTo>
                    <a:pt x="649" y="2952"/>
                    <a:pt x="634" y="2974"/>
                    <a:pt x="618" y="2997"/>
                  </a:cubicBezTo>
                  <a:cubicBezTo>
                    <a:pt x="379" y="3341"/>
                    <a:pt x="195" y="3668"/>
                    <a:pt x="74" y="3955"/>
                  </a:cubicBezTo>
                  <a:cubicBezTo>
                    <a:pt x="66" y="3975"/>
                    <a:pt x="57" y="3994"/>
                    <a:pt x="50" y="4013"/>
                  </a:cubicBezTo>
                  <a:cubicBezTo>
                    <a:pt x="42" y="4032"/>
                    <a:pt x="35" y="4051"/>
                    <a:pt x="28" y="4070"/>
                  </a:cubicBezTo>
                  <a:cubicBezTo>
                    <a:pt x="24" y="4080"/>
                    <a:pt x="21" y="4090"/>
                    <a:pt x="17" y="4101"/>
                  </a:cubicBezTo>
                  <a:cubicBezTo>
                    <a:pt x="4" y="4276"/>
                    <a:pt x="0" y="4452"/>
                    <a:pt x="8" y="4629"/>
                  </a:cubicBezTo>
                  <a:cubicBezTo>
                    <a:pt x="60" y="4472"/>
                    <a:pt x="127" y="4309"/>
                    <a:pt x="210" y="4138"/>
                  </a:cubicBezTo>
                  <a:cubicBezTo>
                    <a:pt x="219" y="4120"/>
                    <a:pt x="228" y="4101"/>
                    <a:pt x="238" y="4083"/>
                  </a:cubicBezTo>
                  <a:cubicBezTo>
                    <a:pt x="247" y="4063"/>
                    <a:pt x="257" y="4044"/>
                    <a:pt x="267" y="40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6" name="Freeform 8">
              <a:extLst>
                <a:ext uri="{FF2B5EF4-FFF2-40B4-BE49-F238E27FC236}">
                  <a16:creationId xmlns:a16="http://schemas.microsoft.com/office/drawing/2014/main" id="{3377C1A4-0564-4448-BF92-C18ABDBCE824}"/>
                </a:ext>
              </a:extLst>
            </p:cNvPr>
            <p:cNvSpPr>
              <a:spLocks/>
            </p:cNvSpPr>
            <p:nvPr/>
          </p:nvSpPr>
          <p:spPr bwMode="auto">
            <a:xfrm>
              <a:off x="3736728" y="524050"/>
              <a:ext cx="4067755" cy="4096401"/>
            </a:xfrm>
            <a:custGeom>
              <a:avLst/>
              <a:gdLst>
                <a:gd name="T0" fmla="*/ 711 w 6120"/>
                <a:gd name="T1" fmla="*/ 4802 h 6162"/>
                <a:gd name="T2" fmla="*/ 755 w 6120"/>
                <a:gd name="T3" fmla="*/ 4721 h 6162"/>
                <a:gd name="T4" fmla="*/ 2492 w 6120"/>
                <a:gd name="T5" fmla="*/ 2487 h 6162"/>
                <a:gd name="T6" fmla="*/ 4726 w 6120"/>
                <a:gd name="T7" fmla="*/ 750 h 6162"/>
                <a:gd name="T8" fmla="*/ 4807 w 6120"/>
                <a:gd name="T9" fmla="*/ 706 h 6162"/>
                <a:gd name="T10" fmla="*/ 4883 w 6120"/>
                <a:gd name="T11" fmla="*/ 666 h 6162"/>
                <a:gd name="T12" fmla="*/ 5747 w 6120"/>
                <a:gd name="T13" fmla="*/ 308 h 6162"/>
                <a:gd name="T14" fmla="*/ 5804 w 6120"/>
                <a:gd name="T15" fmla="*/ 292 h 6162"/>
                <a:gd name="T16" fmla="*/ 5862 w 6120"/>
                <a:gd name="T17" fmla="*/ 276 h 6162"/>
                <a:gd name="T18" fmla="*/ 6120 w 6120"/>
                <a:gd name="T19" fmla="*/ 226 h 6162"/>
                <a:gd name="T20" fmla="*/ 5817 w 6120"/>
                <a:gd name="T21" fmla="*/ 96 h 6162"/>
                <a:gd name="T22" fmla="*/ 5740 w 6120"/>
                <a:gd name="T23" fmla="*/ 67 h 6162"/>
                <a:gd name="T24" fmla="*/ 5659 w 6120"/>
                <a:gd name="T25" fmla="*/ 37 h 6162"/>
                <a:gd name="T26" fmla="*/ 5541 w 6120"/>
                <a:gd name="T27" fmla="*/ 0 h 6162"/>
                <a:gd name="T28" fmla="*/ 4988 w 6120"/>
                <a:gd name="T29" fmla="*/ 131 h 6162"/>
                <a:gd name="T30" fmla="*/ 4928 w 6120"/>
                <a:gd name="T31" fmla="*/ 153 h 6162"/>
                <a:gd name="T32" fmla="*/ 4868 w 6120"/>
                <a:gd name="T33" fmla="*/ 175 h 6162"/>
                <a:gd name="T34" fmla="*/ 3700 w 6120"/>
                <a:gd name="T35" fmla="*/ 791 h 6162"/>
                <a:gd name="T36" fmla="*/ 3593 w 6120"/>
                <a:gd name="T37" fmla="*/ 862 h 6162"/>
                <a:gd name="T38" fmla="*/ 3473 w 6120"/>
                <a:gd name="T39" fmla="*/ 946 h 6162"/>
                <a:gd name="T40" fmla="*/ 2108 w 6120"/>
                <a:gd name="T41" fmla="*/ 2103 h 6162"/>
                <a:gd name="T42" fmla="*/ 951 w 6120"/>
                <a:gd name="T43" fmla="*/ 3469 h 6162"/>
                <a:gd name="T44" fmla="*/ 866 w 6120"/>
                <a:gd name="T45" fmla="*/ 3588 h 6162"/>
                <a:gd name="T46" fmla="*/ 796 w 6120"/>
                <a:gd name="T47" fmla="*/ 3695 h 6162"/>
                <a:gd name="T48" fmla="*/ 180 w 6120"/>
                <a:gd name="T49" fmla="*/ 4863 h 6162"/>
                <a:gd name="T50" fmla="*/ 157 w 6120"/>
                <a:gd name="T51" fmla="*/ 4924 h 6162"/>
                <a:gd name="T52" fmla="*/ 136 w 6120"/>
                <a:gd name="T53" fmla="*/ 4983 h 6162"/>
                <a:gd name="T54" fmla="*/ 0 w 6120"/>
                <a:gd name="T55" fmla="*/ 5601 h 6162"/>
                <a:gd name="T56" fmla="*/ 9 w 6120"/>
                <a:gd name="T57" fmla="*/ 5631 h 6162"/>
                <a:gd name="T58" fmla="*/ 39 w 6120"/>
                <a:gd name="T59" fmla="*/ 5719 h 6162"/>
                <a:gd name="T60" fmla="*/ 69 w 6120"/>
                <a:gd name="T61" fmla="*/ 5799 h 6162"/>
                <a:gd name="T62" fmla="*/ 225 w 6120"/>
                <a:gd name="T63" fmla="*/ 6162 h 6162"/>
                <a:gd name="T64" fmla="*/ 282 w 6120"/>
                <a:gd name="T65" fmla="*/ 5857 h 6162"/>
                <a:gd name="T66" fmla="*/ 297 w 6120"/>
                <a:gd name="T67" fmla="*/ 5799 h 6162"/>
                <a:gd name="T68" fmla="*/ 313 w 6120"/>
                <a:gd name="T69" fmla="*/ 5742 h 6162"/>
                <a:gd name="T70" fmla="*/ 671 w 6120"/>
                <a:gd name="T71" fmla="*/ 4877 h 6162"/>
                <a:gd name="T72" fmla="*/ 711 w 6120"/>
                <a:gd name="T73" fmla="*/ 4802 h 6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20" h="6162">
                  <a:moveTo>
                    <a:pt x="711" y="4802"/>
                  </a:moveTo>
                  <a:cubicBezTo>
                    <a:pt x="726" y="4775"/>
                    <a:pt x="740" y="4748"/>
                    <a:pt x="755" y="4721"/>
                  </a:cubicBezTo>
                  <a:cubicBezTo>
                    <a:pt x="1151" y="4012"/>
                    <a:pt x="1746" y="3234"/>
                    <a:pt x="2492" y="2487"/>
                  </a:cubicBezTo>
                  <a:cubicBezTo>
                    <a:pt x="3239" y="1741"/>
                    <a:pt x="4017" y="1146"/>
                    <a:pt x="4726" y="750"/>
                  </a:cubicBezTo>
                  <a:cubicBezTo>
                    <a:pt x="4753" y="735"/>
                    <a:pt x="4780" y="721"/>
                    <a:pt x="4807" y="706"/>
                  </a:cubicBezTo>
                  <a:cubicBezTo>
                    <a:pt x="4832" y="693"/>
                    <a:pt x="4857" y="679"/>
                    <a:pt x="4883" y="666"/>
                  </a:cubicBezTo>
                  <a:cubicBezTo>
                    <a:pt x="5189" y="506"/>
                    <a:pt x="5480" y="385"/>
                    <a:pt x="5747" y="308"/>
                  </a:cubicBezTo>
                  <a:cubicBezTo>
                    <a:pt x="5766" y="302"/>
                    <a:pt x="5785" y="297"/>
                    <a:pt x="5804" y="292"/>
                  </a:cubicBezTo>
                  <a:cubicBezTo>
                    <a:pt x="5824" y="286"/>
                    <a:pt x="5843" y="281"/>
                    <a:pt x="5862" y="276"/>
                  </a:cubicBezTo>
                  <a:cubicBezTo>
                    <a:pt x="5951" y="254"/>
                    <a:pt x="6037" y="238"/>
                    <a:pt x="6120" y="226"/>
                  </a:cubicBezTo>
                  <a:cubicBezTo>
                    <a:pt x="6020" y="179"/>
                    <a:pt x="5919" y="136"/>
                    <a:pt x="5817" y="96"/>
                  </a:cubicBezTo>
                  <a:cubicBezTo>
                    <a:pt x="5791" y="86"/>
                    <a:pt x="5766" y="76"/>
                    <a:pt x="5740" y="67"/>
                  </a:cubicBezTo>
                  <a:cubicBezTo>
                    <a:pt x="5713" y="57"/>
                    <a:pt x="5686" y="47"/>
                    <a:pt x="5659" y="37"/>
                  </a:cubicBezTo>
                  <a:cubicBezTo>
                    <a:pt x="5620" y="24"/>
                    <a:pt x="5580" y="12"/>
                    <a:pt x="5541" y="0"/>
                  </a:cubicBezTo>
                  <a:cubicBezTo>
                    <a:pt x="5373" y="19"/>
                    <a:pt x="5187" y="62"/>
                    <a:pt x="4988" y="131"/>
                  </a:cubicBezTo>
                  <a:cubicBezTo>
                    <a:pt x="4969" y="137"/>
                    <a:pt x="4948" y="145"/>
                    <a:pt x="4928" y="153"/>
                  </a:cubicBezTo>
                  <a:cubicBezTo>
                    <a:pt x="4909" y="160"/>
                    <a:pt x="4888" y="168"/>
                    <a:pt x="4868" y="175"/>
                  </a:cubicBezTo>
                  <a:cubicBezTo>
                    <a:pt x="4509" y="311"/>
                    <a:pt x="4113" y="520"/>
                    <a:pt x="3700" y="791"/>
                  </a:cubicBezTo>
                  <a:cubicBezTo>
                    <a:pt x="3665" y="815"/>
                    <a:pt x="3629" y="837"/>
                    <a:pt x="3593" y="862"/>
                  </a:cubicBezTo>
                  <a:cubicBezTo>
                    <a:pt x="3554" y="889"/>
                    <a:pt x="3513" y="918"/>
                    <a:pt x="3473" y="946"/>
                  </a:cubicBezTo>
                  <a:cubicBezTo>
                    <a:pt x="3022" y="1264"/>
                    <a:pt x="2557" y="1653"/>
                    <a:pt x="2108" y="2103"/>
                  </a:cubicBezTo>
                  <a:cubicBezTo>
                    <a:pt x="1657" y="2553"/>
                    <a:pt x="1269" y="3017"/>
                    <a:pt x="951" y="3469"/>
                  </a:cubicBezTo>
                  <a:cubicBezTo>
                    <a:pt x="922" y="3509"/>
                    <a:pt x="893" y="3549"/>
                    <a:pt x="866" y="3588"/>
                  </a:cubicBezTo>
                  <a:cubicBezTo>
                    <a:pt x="842" y="3624"/>
                    <a:pt x="819" y="3660"/>
                    <a:pt x="796" y="3695"/>
                  </a:cubicBezTo>
                  <a:cubicBezTo>
                    <a:pt x="525" y="4108"/>
                    <a:pt x="316" y="4504"/>
                    <a:pt x="180" y="4863"/>
                  </a:cubicBezTo>
                  <a:cubicBezTo>
                    <a:pt x="173" y="4883"/>
                    <a:pt x="165" y="4904"/>
                    <a:pt x="157" y="4924"/>
                  </a:cubicBezTo>
                  <a:cubicBezTo>
                    <a:pt x="150" y="4943"/>
                    <a:pt x="142" y="4964"/>
                    <a:pt x="136" y="4983"/>
                  </a:cubicBezTo>
                  <a:cubicBezTo>
                    <a:pt x="58" y="5209"/>
                    <a:pt x="13" y="5416"/>
                    <a:pt x="0" y="5601"/>
                  </a:cubicBezTo>
                  <a:cubicBezTo>
                    <a:pt x="3" y="5611"/>
                    <a:pt x="6" y="5621"/>
                    <a:pt x="9" y="5631"/>
                  </a:cubicBezTo>
                  <a:cubicBezTo>
                    <a:pt x="19" y="5660"/>
                    <a:pt x="29" y="5690"/>
                    <a:pt x="39" y="5719"/>
                  </a:cubicBezTo>
                  <a:cubicBezTo>
                    <a:pt x="49" y="5746"/>
                    <a:pt x="59" y="5772"/>
                    <a:pt x="69" y="5799"/>
                  </a:cubicBezTo>
                  <a:cubicBezTo>
                    <a:pt x="116" y="5922"/>
                    <a:pt x="168" y="6043"/>
                    <a:pt x="225" y="6162"/>
                  </a:cubicBezTo>
                  <a:cubicBezTo>
                    <a:pt x="236" y="6065"/>
                    <a:pt x="255" y="5963"/>
                    <a:pt x="282" y="5857"/>
                  </a:cubicBezTo>
                  <a:cubicBezTo>
                    <a:pt x="286" y="5838"/>
                    <a:pt x="291" y="5819"/>
                    <a:pt x="297" y="5799"/>
                  </a:cubicBezTo>
                  <a:cubicBezTo>
                    <a:pt x="302" y="5780"/>
                    <a:pt x="307" y="5761"/>
                    <a:pt x="313" y="5742"/>
                  </a:cubicBezTo>
                  <a:cubicBezTo>
                    <a:pt x="390" y="5475"/>
                    <a:pt x="511" y="5184"/>
                    <a:pt x="671" y="4877"/>
                  </a:cubicBezTo>
                  <a:cubicBezTo>
                    <a:pt x="684" y="4852"/>
                    <a:pt x="698" y="4827"/>
                    <a:pt x="711" y="48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7" name="Freeform 9">
              <a:extLst>
                <a:ext uri="{FF2B5EF4-FFF2-40B4-BE49-F238E27FC236}">
                  <a16:creationId xmlns:a16="http://schemas.microsoft.com/office/drawing/2014/main" id="{6EC9FAE3-1492-416A-BCFC-66F77187622F}"/>
                </a:ext>
              </a:extLst>
            </p:cNvPr>
            <p:cNvSpPr>
              <a:spLocks/>
            </p:cNvSpPr>
            <p:nvPr/>
          </p:nvSpPr>
          <p:spPr bwMode="auto">
            <a:xfrm>
              <a:off x="4160964" y="945558"/>
              <a:ext cx="4516544" cy="4545190"/>
            </a:xfrm>
            <a:custGeom>
              <a:avLst/>
              <a:gdLst>
                <a:gd name="T0" fmla="*/ 6710 w 6796"/>
                <a:gd name="T1" fmla="*/ 461 h 6838"/>
                <a:gd name="T2" fmla="*/ 6619 w 6796"/>
                <a:gd name="T3" fmla="*/ 375 h 6838"/>
                <a:gd name="T4" fmla="*/ 6553 w 6796"/>
                <a:gd name="T5" fmla="*/ 312 h 6838"/>
                <a:gd name="T6" fmla="*/ 6484 w 6796"/>
                <a:gd name="T7" fmla="*/ 252 h 6838"/>
                <a:gd name="T8" fmla="*/ 6170 w 6796"/>
                <a:gd name="T9" fmla="*/ 1 h 6838"/>
                <a:gd name="T10" fmla="*/ 6125 w 6796"/>
                <a:gd name="T11" fmla="*/ 0 h 6838"/>
                <a:gd name="T12" fmla="*/ 5991 w 6796"/>
                <a:gd name="T13" fmla="*/ 6 h 6838"/>
                <a:gd name="T14" fmla="*/ 5933 w 6796"/>
                <a:gd name="T15" fmla="*/ 11 h 6838"/>
                <a:gd name="T16" fmla="*/ 5874 w 6796"/>
                <a:gd name="T17" fmla="*/ 18 h 6838"/>
                <a:gd name="T18" fmla="*/ 5184 w 6796"/>
                <a:gd name="T19" fmla="*/ 205 h 6838"/>
                <a:gd name="T20" fmla="*/ 5119 w 6796"/>
                <a:gd name="T21" fmla="*/ 231 h 6838"/>
                <a:gd name="T22" fmla="*/ 5050 w 6796"/>
                <a:gd name="T23" fmla="*/ 259 h 6838"/>
                <a:gd name="T24" fmla="*/ 3758 w 6796"/>
                <a:gd name="T25" fmla="*/ 987 h 6838"/>
                <a:gd name="T26" fmla="*/ 3625 w 6796"/>
                <a:gd name="T27" fmla="*/ 1081 h 6838"/>
                <a:gd name="T28" fmla="*/ 3479 w 6796"/>
                <a:gd name="T29" fmla="*/ 1189 h 6838"/>
                <a:gd name="T30" fmla="*/ 2254 w 6796"/>
                <a:gd name="T31" fmla="*/ 2254 h 6838"/>
                <a:gd name="T32" fmla="*/ 1188 w 6796"/>
                <a:gd name="T33" fmla="*/ 3479 h 6838"/>
                <a:gd name="T34" fmla="*/ 1081 w 6796"/>
                <a:gd name="T35" fmla="*/ 3626 h 6838"/>
                <a:gd name="T36" fmla="*/ 987 w 6796"/>
                <a:gd name="T37" fmla="*/ 3758 h 6838"/>
                <a:gd name="T38" fmla="*/ 259 w 6796"/>
                <a:gd name="T39" fmla="*/ 5050 h 6838"/>
                <a:gd name="T40" fmla="*/ 231 w 6796"/>
                <a:gd name="T41" fmla="*/ 5119 h 6838"/>
                <a:gd name="T42" fmla="*/ 205 w 6796"/>
                <a:gd name="T43" fmla="*/ 5184 h 6838"/>
                <a:gd name="T44" fmla="*/ 18 w 6796"/>
                <a:gd name="T45" fmla="*/ 5874 h 6838"/>
                <a:gd name="T46" fmla="*/ 11 w 6796"/>
                <a:gd name="T47" fmla="*/ 5933 h 6838"/>
                <a:gd name="T48" fmla="*/ 6 w 6796"/>
                <a:gd name="T49" fmla="*/ 5991 h 6838"/>
                <a:gd name="T50" fmla="*/ 0 w 6796"/>
                <a:gd name="T51" fmla="*/ 6125 h 6838"/>
                <a:gd name="T52" fmla="*/ 3 w 6796"/>
                <a:gd name="T53" fmla="*/ 6220 h 6838"/>
                <a:gd name="T54" fmla="*/ 208 w 6796"/>
                <a:gd name="T55" fmla="*/ 6475 h 6838"/>
                <a:gd name="T56" fmla="*/ 270 w 6796"/>
                <a:gd name="T57" fmla="*/ 6547 h 6838"/>
                <a:gd name="T58" fmla="*/ 332 w 6796"/>
                <a:gd name="T59" fmla="*/ 6615 h 6838"/>
                <a:gd name="T60" fmla="*/ 442 w 6796"/>
                <a:gd name="T61" fmla="*/ 6729 h 6838"/>
                <a:gd name="T62" fmla="*/ 556 w 6796"/>
                <a:gd name="T63" fmla="*/ 6838 h 6838"/>
                <a:gd name="T64" fmla="*/ 548 w 6796"/>
                <a:gd name="T65" fmla="*/ 6702 h 6838"/>
                <a:gd name="T66" fmla="*/ 551 w 6796"/>
                <a:gd name="T67" fmla="*/ 6619 h 6838"/>
                <a:gd name="T68" fmla="*/ 556 w 6796"/>
                <a:gd name="T69" fmla="*/ 6560 h 6838"/>
                <a:gd name="T70" fmla="*/ 561 w 6796"/>
                <a:gd name="T71" fmla="*/ 6501 h 6838"/>
                <a:gd name="T72" fmla="*/ 700 w 6796"/>
                <a:gd name="T73" fmla="*/ 5918 h 6838"/>
                <a:gd name="T74" fmla="*/ 724 w 6796"/>
                <a:gd name="T75" fmla="*/ 5852 h 6838"/>
                <a:gd name="T76" fmla="*/ 750 w 6796"/>
                <a:gd name="T77" fmla="*/ 5782 h 6838"/>
                <a:gd name="T78" fmla="*/ 1285 w 6796"/>
                <a:gd name="T79" fmla="*/ 4735 h 6838"/>
                <a:gd name="T80" fmla="*/ 1353 w 6796"/>
                <a:gd name="T81" fmla="*/ 4628 h 6838"/>
                <a:gd name="T82" fmla="*/ 1430 w 6796"/>
                <a:gd name="T83" fmla="*/ 4511 h 6838"/>
                <a:gd name="T84" fmla="*/ 2828 w 6796"/>
                <a:gd name="T85" fmla="*/ 2828 h 6838"/>
                <a:gd name="T86" fmla="*/ 4511 w 6796"/>
                <a:gd name="T87" fmla="*/ 1430 h 6838"/>
                <a:gd name="T88" fmla="*/ 4627 w 6796"/>
                <a:gd name="T89" fmla="*/ 1354 h 6838"/>
                <a:gd name="T90" fmla="*/ 4735 w 6796"/>
                <a:gd name="T91" fmla="*/ 1285 h 6838"/>
                <a:gd name="T92" fmla="*/ 5781 w 6796"/>
                <a:gd name="T93" fmla="*/ 750 h 6838"/>
                <a:gd name="T94" fmla="*/ 5851 w 6796"/>
                <a:gd name="T95" fmla="*/ 724 h 6838"/>
                <a:gd name="T96" fmla="*/ 5918 w 6796"/>
                <a:gd name="T97" fmla="*/ 700 h 6838"/>
                <a:gd name="T98" fmla="*/ 6501 w 6796"/>
                <a:gd name="T99" fmla="*/ 561 h 6838"/>
                <a:gd name="T100" fmla="*/ 6560 w 6796"/>
                <a:gd name="T101" fmla="*/ 556 h 6838"/>
                <a:gd name="T102" fmla="*/ 6620 w 6796"/>
                <a:gd name="T103" fmla="*/ 551 h 6838"/>
                <a:gd name="T104" fmla="*/ 6702 w 6796"/>
                <a:gd name="T105" fmla="*/ 548 h 6838"/>
                <a:gd name="T106" fmla="*/ 6796 w 6796"/>
                <a:gd name="T107" fmla="*/ 552 h 6838"/>
                <a:gd name="T108" fmla="*/ 6710 w 6796"/>
                <a:gd name="T109" fmla="*/ 461 h 6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796" h="6838">
                  <a:moveTo>
                    <a:pt x="6710" y="461"/>
                  </a:moveTo>
                  <a:cubicBezTo>
                    <a:pt x="6680" y="431"/>
                    <a:pt x="6649" y="403"/>
                    <a:pt x="6619" y="375"/>
                  </a:cubicBezTo>
                  <a:cubicBezTo>
                    <a:pt x="6597" y="354"/>
                    <a:pt x="6575" y="332"/>
                    <a:pt x="6553" y="312"/>
                  </a:cubicBezTo>
                  <a:cubicBezTo>
                    <a:pt x="6530" y="291"/>
                    <a:pt x="6507" y="272"/>
                    <a:pt x="6484" y="252"/>
                  </a:cubicBezTo>
                  <a:cubicBezTo>
                    <a:pt x="6382" y="163"/>
                    <a:pt x="6278" y="79"/>
                    <a:pt x="6170" y="1"/>
                  </a:cubicBezTo>
                  <a:cubicBezTo>
                    <a:pt x="6155" y="1"/>
                    <a:pt x="6140" y="0"/>
                    <a:pt x="6125" y="0"/>
                  </a:cubicBezTo>
                  <a:cubicBezTo>
                    <a:pt x="6082" y="0"/>
                    <a:pt x="6037" y="2"/>
                    <a:pt x="5991" y="6"/>
                  </a:cubicBezTo>
                  <a:cubicBezTo>
                    <a:pt x="5972" y="7"/>
                    <a:pt x="5953" y="9"/>
                    <a:pt x="5933" y="11"/>
                  </a:cubicBezTo>
                  <a:cubicBezTo>
                    <a:pt x="5914" y="13"/>
                    <a:pt x="5894" y="15"/>
                    <a:pt x="5874" y="18"/>
                  </a:cubicBezTo>
                  <a:cubicBezTo>
                    <a:pt x="5664" y="47"/>
                    <a:pt x="5432" y="110"/>
                    <a:pt x="5184" y="205"/>
                  </a:cubicBezTo>
                  <a:cubicBezTo>
                    <a:pt x="5162" y="214"/>
                    <a:pt x="5141" y="222"/>
                    <a:pt x="5119" y="231"/>
                  </a:cubicBezTo>
                  <a:cubicBezTo>
                    <a:pt x="5096" y="240"/>
                    <a:pt x="5073" y="249"/>
                    <a:pt x="5050" y="259"/>
                  </a:cubicBezTo>
                  <a:cubicBezTo>
                    <a:pt x="4649" y="427"/>
                    <a:pt x="4210" y="673"/>
                    <a:pt x="3758" y="987"/>
                  </a:cubicBezTo>
                  <a:cubicBezTo>
                    <a:pt x="3714" y="1018"/>
                    <a:pt x="3670" y="1049"/>
                    <a:pt x="3625" y="1081"/>
                  </a:cubicBezTo>
                  <a:cubicBezTo>
                    <a:pt x="3576" y="1116"/>
                    <a:pt x="3528" y="1152"/>
                    <a:pt x="3479" y="1189"/>
                  </a:cubicBezTo>
                  <a:cubicBezTo>
                    <a:pt x="3071" y="1494"/>
                    <a:pt x="2657" y="1851"/>
                    <a:pt x="2254" y="2254"/>
                  </a:cubicBezTo>
                  <a:cubicBezTo>
                    <a:pt x="1851" y="2657"/>
                    <a:pt x="1494" y="3071"/>
                    <a:pt x="1188" y="3479"/>
                  </a:cubicBezTo>
                  <a:cubicBezTo>
                    <a:pt x="1151" y="3528"/>
                    <a:pt x="1116" y="3577"/>
                    <a:pt x="1081" y="3626"/>
                  </a:cubicBezTo>
                  <a:cubicBezTo>
                    <a:pt x="1049" y="3670"/>
                    <a:pt x="1017" y="3714"/>
                    <a:pt x="987" y="3758"/>
                  </a:cubicBezTo>
                  <a:cubicBezTo>
                    <a:pt x="673" y="4210"/>
                    <a:pt x="427" y="4649"/>
                    <a:pt x="259" y="5050"/>
                  </a:cubicBezTo>
                  <a:cubicBezTo>
                    <a:pt x="249" y="5073"/>
                    <a:pt x="240" y="5096"/>
                    <a:pt x="231" y="5119"/>
                  </a:cubicBezTo>
                  <a:cubicBezTo>
                    <a:pt x="222" y="5141"/>
                    <a:pt x="214" y="5162"/>
                    <a:pt x="205" y="5184"/>
                  </a:cubicBezTo>
                  <a:cubicBezTo>
                    <a:pt x="110" y="5432"/>
                    <a:pt x="47" y="5665"/>
                    <a:pt x="18" y="5874"/>
                  </a:cubicBezTo>
                  <a:cubicBezTo>
                    <a:pt x="15" y="5894"/>
                    <a:pt x="13" y="5914"/>
                    <a:pt x="11" y="5933"/>
                  </a:cubicBezTo>
                  <a:cubicBezTo>
                    <a:pt x="8" y="5953"/>
                    <a:pt x="7" y="5972"/>
                    <a:pt x="6" y="5991"/>
                  </a:cubicBezTo>
                  <a:cubicBezTo>
                    <a:pt x="2" y="6037"/>
                    <a:pt x="0" y="6082"/>
                    <a:pt x="0" y="6125"/>
                  </a:cubicBezTo>
                  <a:cubicBezTo>
                    <a:pt x="0" y="6157"/>
                    <a:pt x="1" y="6189"/>
                    <a:pt x="3" y="6220"/>
                  </a:cubicBezTo>
                  <a:cubicBezTo>
                    <a:pt x="67" y="6307"/>
                    <a:pt x="136" y="6392"/>
                    <a:pt x="208" y="6475"/>
                  </a:cubicBezTo>
                  <a:cubicBezTo>
                    <a:pt x="228" y="6499"/>
                    <a:pt x="249" y="6524"/>
                    <a:pt x="270" y="6547"/>
                  </a:cubicBezTo>
                  <a:cubicBezTo>
                    <a:pt x="290" y="6570"/>
                    <a:pt x="312" y="6592"/>
                    <a:pt x="332" y="6615"/>
                  </a:cubicBezTo>
                  <a:cubicBezTo>
                    <a:pt x="368" y="6653"/>
                    <a:pt x="404" y="6692"/>
                    <a:pt x="442" y="6729"/>
                  </a:cubicBezTo>
                  <a:cubicBezTo>
                    <a:pt x="479" y="6767"/>
                    <a:pt x="517" y="6802"/>
                    <a:pt x="556" y="6838"/>
                  </a:cubicBezTo>
                  <a:cubicBezTo>
                    <a:pt x="551" y="6794"/>
                    <a:pt x="548" y="6749"/>
                    <a:pt x="548" y="6702"/>
                  </a:cubicBezTo>
                  <a:cubicBezTo>
                    <a:pt x="548" y="6675"/>
                    <a:pt x="550" y="6647"/>
                    <a:pt x="551" y="6619"/>
                  </a:cubicBezTo>
                  <a:cubicBezTo>
                    <a:pt x="552" y="6600"/>
                    <a:pt x="554" y="6580"/>
                    <a:pt x="556" y="6560"/>
                  </a:cubicBezTo>
                  <a:cubicBezTo>
                    <a:pt x="557" y="6541"/>
                    <a:pt x="559" y="6521"/>
                    <a:pt x="561" y="6501"/>
                  </a:cubicBezTo>
                  <a:cubicBezTo>
                    <a:pt x="582" y="6322"/>
                    <a:pt x="629" y="6126"/>
                    <a:pt x="700" y="5918"/>
                  </a:cubicBezTo>
                  <a:cubicBezTo>
                    <a:pt x="708" y="5896"/>
                    <a:pt x="716" y="5874"/>
                    <a:pt x="724" y="5852"/>
                  </a:cubicBezTo>
                  <a:cubicBezTo>
                    <a:pt x="733" y="5828"/>
                    <a:pt x="741" y="5805"/>
                    <a:pt x="750" y="5782"/>
                  </a:cubicBezTo>
                  <a:cubicBezTo>
                    <a:pt x="875" y="5455"/>
                    <a:pt x="1056" y="5102"/>
                    <a:pt x="1285" y="4735"/>
                  </a:cubicBezTo>
                  <a:cubicBezTo>
                    <a:pt x="1308" y="4699"/>
                    <a:pt x="1330" y="4664"/>
                    <a:pt x="1353" y="4628"/>
                  </a:cubicBezTo>
                  <a:cubicBezTo>
                    <a:pt x="1378" y="4589"/>
                    <a:pt x="1404" y="4550"/>
                    <a:pt x="1430" y="4511"/>
                  </a:cubicBezTo>
                  <a:cubicBezTo>
                    <a:pt x="1799" y="3961"/>
                    <a:pt x="2271" y="3385"/>
                    <a:pt x="2828" y="2828"/>
                  </a:cubicBezTo>
                  <a:cubicBezTo>
                    <a:pt x="3385" y="2271"/>
                    <a:pt x="3960" y="1799"/>
                    <a:pt x="4511" y="1430"/>
                  </a:cubicBezTo>
                  <a:cubicBezTo>
                    <a:pt x="4550" y="1404"/>
                    <a:pt x="4589" y="1379"/>
                    <a:pt x="4627" y="1354"/>
                  </a:cubicBezTo>
                  <a:cubicBezTo>
                    <a:pt x="4663" y="1330"/>
                    <a:pt x="4699" y="1308"/>
                    <a:pt x="4735" y="1285"/>
                  </a:cubicBezTo>
                  <a:cubicBezTo>
                    <a:pt x="5102" y="1056"/>
                    <a:pt x="5455" y="875"/>
                    <a:pt x="5781" y="750"/>
                  </a:cubicBezTo>
                  <a:cubicBezTo>
                    <a:pt x="5805" y="741"/>
                    <a:pt x="5828" y="733"/>
                    <a:pt x="5851" y="724"/>
                  </a:cubicBezTo>
                  <a:cubicBezTo>
                    <a:pt x="5874" y="716"/>
                    <a:pt x="5896" y="708"/>
                    <a:pt x="5918" y="700"/>
                  </a:cubicBezTo>
                  <a:cubicBezTo>
                    <a:pt x="6126" y="629"/>
                    <a:pt x="6322" y="582"/>
                    <a:pt x="6501" y="561"/>
                  </a:cubicBezTo>
                  <a:cubicBezTo>
                    <a:pt x="6521" y="559"/>
                    <a:pt x="6541" y="557"/>
                    <a:pt x="6560" y="556"/>
                  </a:cubicBezTo>
                  <a:cubicBezTo>
                    <a:pt x="6580" y="554"/>
                    <a:pt x="6600" y="552"/>
                    <a:pt x="6620" y="551"/>
                  </a:cubicBezTo>
                  <a:cubicBezTo>
                    <a:pt x="6647" y="550"/>
                    <a:pt x="6675" y="549"/>
                    <a:pt x="6702" y="548"/>
                  </a:cubicBezTo>
                  <a:cubicBezTo>
                    <a:pt x="6734" y="548"/>
                    <a:pt x="6765" y="550"/>
                    <a:pt x="6796" y="552"/>
                  </a:cubicBezTo>
                  <a:cubicBezTo>
                    <a:pt x="6767" y="521"/>
                    <a:pt x="6739" y="491"/>
                    <a:pt x="6710" y="4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8" name="Freeform 10">
              <a:extLst>
                <a:ext uri="{FF2B5EF4-FFF2-40B4-BE49-F238E27FC236}">
                  <a16:creationId xmlns:a16="http://schemas.microsoft.com/office/drawing/2014/main" id="{54CE5925-9480-4C02-A7F9-3B31E37C904C}"/>
                </a:ext>
              </a:extLst>
            </p:cNvPr>
            <p:cNvSpPr>
              <a:spLocks/>
            </p:cNvSpPr>
            <p:nvPr/>
          </p:nvSpPr>
          <p:spPr bwMode="auto">
            <a:xfrm>
              <a:off x="3956348" y="740943"/>
              <a:ext cx="4194616" cy="4225990"/>
            </a:xfrm>
            <a:custGeom>
              <a:avLst/>
              <a:gdLst>
                <a:gd name="T0" fmla="*/ 1126 w 6312"/>
                <a:gd name="T1" fmla="*/ 4101 h 6355"/>
                <a:gd name="T2" fmla="*/ 1212 w 6312"/>
                <a:gd name="T3" fmla="*/ 3976 h 6355"/>
                <a:gd name="T4" fmla="*/ 2479 w 6312"/>
                <a:gd name="T5" fmla="*/ 2477 h 6355"/>
                <a:gd name="T6" fmla="*/ 3978 w 6312"/>
                <a:gd name="T7" fmla="*/ 1210 h 6355"/>
                <a:gd name="T8" fmla="*/ 4103 w 6312"/>
                <a:gd name="T9" fmla="*/ 1124 h 6355"/>
                <a:gd name="T10" fmla="*/ 4216 w 6312"/>
                <a:gd name="T11" fmla="*/ 1049 h 6355"/>
                <a:gd name="T12" fmla="*/ 5392 w 6312"/>
                <a:gd name="T13" fmla="*/ 423 h 6355"/>
                <a:gd name="T14" fmla="*/ 5456 w 6312"/>
                <a:gd name="T15" fmla="*/ 399 h 6355"/>
                <a:gd name="T16" fmla="*/ 5518 w 6312"/>
                <a:gd name="T17" fmla="*/ 376 h 6355"/>
                <a:gd name="T18" fmla="*/ 6164 w 6312"/>
                <a:gd name="T19" fmla="*/ 208 h 6355"/>
                <a:gd name="T20" fmla="*/ 6222 w 6312"/>
                <a:gd name="T21" fmla="*/ 201 h 6355"/>
                <a:gd name="T22" fmla="*/ 6281 w 6312"/>
                <a:gd name="T23" fmla="*/ 195 h 6355"/>
                <a:gd name="T24" fmla="*/ 6312 w 6312"/>
                <a:gd name="T25" fmla="*/ 193 h 6355"/>
                <a:gd name="T26" fmla="*/ 6276 w 6312"/>
                <a:gd name="T27" fmla="*/ 170 h 6355"/>
                <a:gd name="T28" fmla="*/ 6203 w 6312"/>
                <a:gd name="T29" fmla="*/ 124 h 6355"/>
                <a:gd name="T30" fmla="*/ 6122 w 6312"/>
                <a:gd name="T31" fmla="*/ 74 h 6355"/>
                <a:gd name="T32" fmla="*/ 5988 w 6312"/>
                <a:gd name="T33" fmla="*/ 0 h 6355"/>
                <a:gd name="T34" fmla="*/ 5542 w 6312"/>
                <a:gd name="T35" fmla="*/ 68 h 6355"/>
                <a:gd name="T36" fmla="*/ 5484 w 6312"/>
                <a:gd name="T37" fmla="*/ 83 h 6355"/>
                <a:gd name="T38" fmla="*/ 5425 w 6312"/>
                <a:gd name="T39" fmla="*/ 101 h 6355"/>
                <a:gd name="T40" fmla="*/ 4488 w 6312"/>
                <a:gd name="T41" fmla="*/ 508 h 6355"/>
                <a:gd name="T42" fmla="*/ 4405 w 6312"/>
                <a:gd name="T43" fmla="*/ 555 h 6355"/>
                <a:gd name="T44" fmla="*/ 4316 w 6312"/>
                <a:gd name="T45" fmla="*/ 606 h 6355"/>
                <a:gd name="T46" fmla="*/ 2245 w 6312"/>
                <a:gd name="T47" fmla="*/ 2243 h 6355"/>
                <a:gd name="T48" fmla="*/ 608 w 6312"/>
                <a:gd name="T49" fmla="*/ 4314 h 6355"/>
                <a:gd name="T50" fmla="*/ 557 w 6312"/>
                <a:gd name="T51" fmla="*/ 4404 h 6355"/>
                <a:gd name="T52" fmla="*/ 510 w 6312"/>
                <a:gd name="T53" fmla="*/ 4486 h 6355"/>
                <a:gd name="T54" fmla="*/ 103 w 6312"/>
                <a:gd name="T55" fmla="*/ 5423 h 6355"/>
                <a:gd name="T56" fmla="*/ 85 w 6312"/>
                <a:gd name="T57" fmla="*/ 5482 h 6355"/>
                <a:gd name="T58" fmla="*/ 70 w 6312"/>
                <a:gd name="T59" fmla="*/ 5540 h 6355"/>
                <a:gd name="T60" fmla="*/ 1 w 6312"/>
                <a:gd name="T61" fmla="*/ 6034 h 6355"/>
                <a:gd name="T62" fmla="*/ 1 w 6312"/>
                <a:gd name="T63" fmla="*/ 6039 h 6355"/>
                <a:gd name="T64" fmla="*/ 36 w 6312"/>
                <a:gd name="T65" fmla="*/ 6102 h 6355"/>
                <a:gd name="T66" fmla="*/ 85 w 6312"/>
                <a:gd name="T67" fmla="*/ 6186 h 6355"/>
                <a:gd name="T68" fmla="*/ 134 w 6312"/>
                <a:gd name="T69" fmla="*/ 6264 h 6355"/>
                <a:gd name="T70" fmla="*/ 192 w 6312"/>
                <a:gd name="T71" fmla="*/ 6355 h 6355"/>
                <a:gd name="T72" fmla="*/ 197 w 6312"/>
                <a:gd name="T73" fmla="*/ 6279 h 6355"/>
                <a:gd name="T74" fmla="*/ 203 w 6312"/>
                <a:gd name="T75" fmla="*/ 6220 h 6355"/>
                <a:gd name="T76" fmla="*/ 210 w 6312"/>
                <a:gd name="T77" fmla="*/ 6162 h 6355"/>
                <a:gd name="T78" fmla="*/ 378 w 6312"/>
                <a:gd name="T79" fmla="*/ 5516 h 6355"/>
                <a:gd name="T80" fmla="*/ 400 w 6312"/>
                <a:gd name="T81" fmla="*/ 5454 h 6355"/>
                <a:gd name="T82" fmla="*/ 425 w 6312"/>
                <a:gd name="T83" fmla="*/ 5390 h 6355"/>
                <a:gd name="T84" fmla="*/ 1050 w 6312"/>
                <a:gd name="T85" fmla="*/ 4214 h 6355"/>
                <a:gd name="T86" fmla="*/ 1126 w 6312"/>
                <a:gd name="T87" fmla="*/ 4101 h 6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2" h="6355">
                  <a:moveTo>
                    <a:pt x="1126" y="4101"/>
                  </a:moveTo>
                  <a:cubicBezTo>
                    <a:pt x="1154" y="4060"/>
                    <a:pt x="1183" y="4018"/>
                    <a:pt x="1212" y="3976"/>
                  </a:cubicBezTo>
                  <a:cubicBezTo>
                    <a:pt x="1559" y="3480"/>
                    <a:pt x="1986" y="2971"/>
                    <a:pt x="2479" y="2477"/>
                  </a:cubicBezTo>
                  <a:cubicBezTo>
                    <a:pt x="2973" y="1984"/>
                    <a:pt x="3482" y="1557"/>
                    <a:pt x="3978" y="1210"/>
                  </a:cubicBezTo>
                  <a:cubicBezTo>
                    <a:pt x="4020" y="1181"/>
                    <a:pt x="4061" y="1152"/>
                    <a:pt x="4103" y="1124"/>
                  </a:cubicBezTo>
                  <a:cubicBezTo>
                    <a:pt x="4141" y="1098"/>
                    <a:pt x="4179" y="1073"/>
                    <a:pt x="4216" y="1049"/>
                  </a:cubicBezTo>
                  <a:cubicBezTo>
                    <a:pt x="4626" y="780"/>
                    <a:pt x="5024" y="569"/>
                    <a:pt x="5392" y="423"/>
                  </a:cubicBezTo>
                  <a:cubicBezTo>
                    <a:pt x="5414" y="415"/>
                    <a:pt x="5435" y="407"/>
                    <a:pt x="5456" y="399"/>
                  </a:cubicBezTo>
                  <a:cubicBezTo>
                    <a:pt x="5477" y="391"/>
                    <a:pt x="5498" y="383"/>
                    <a:pt x="5518" y="376"/>
                  </a:cubicBezTo>
                  <a:cubicBezTo>
                    <a:pt x="5747" y="293"/>
                    <a:pt x="5964" y="236"/>
                    <a:pt x="6164" y="208"/>
                  </a:cubicBezTo>
                  <a:cubicBezTo>
                    <a:pt x="6183" y="206"/>
                    <a:pt x="6203" y="203"/>
                    <a:pt x="6222" y="201"/>
                  </a:cubicBezTo>
                  <a:cubicBezTo>
                    <a:pt x="6242" y="199"/>
                    <a:pt x="6262" y="197"/>
                    <a:pt x="6281" y="195"/>
                  </a:cubicBezTo>
                  <a:cubicBezTo>
                    <a:pt x="6292" y="194"/>
                    <a:pt x="6302" y="193"/>
                    <a:pt x="6312" y="193"/>
                  </a:cubicBezTo>
                  <a:cubicBezTo>
                    <a:pt x="6300" y="185"/>
                    <a:pt x="6288" y="178"/>
                    <a:pt x="6276" y="170"/>
                  </a:cubicBezTo>
                  <a:cubicBezTo>
                    <a:pt x="6252" y="155"/>
                    <a:pt x="6228" y="139"/>
                    <a:pt x="6203" y="124"/>
                  </a:cubicBezTo>
                  <a:cubicBezTo>
                    <a:pt x="6176" y="108"/>
                    <a:pt x="6149" y="90"/>
                    <a:pt x="6122" y="74"/>
                  </a:cubicBezTo>
                  <a:cubicBezTo>
                    <a:pt x="6077" y="49"/>
                    <a:pt x="6032" y="24"/>
                    <a:pt x="5988" y="0"/>
                  </a:cubicBezTo>
                  <a:cubicBezTo>
                    <a:pt x="5852" y="4"/>
                    <a:pt x="5703" y="27"/>
                    <a:pt x="5542" y="68"/>
                  </a:cubicBezTo>
                  <a:cubicBezTo>
                    <a:pt x="5523" y="73"/>
                    <a:pt x="5503" y="78"/>
                    <a:pt x="5484" y="83"/>
                  </a:cubicBezTo>
                  <a:cubicBezTo>
                    <a:pt x="5464" y="89"/>
                    <a:pt x="5445" y="95"/>
                    <a:pt x="5425" y="101"/>
                  </a:cubicBezTo>
                  <a:cubicBezTo>
                    <a:pt x="5140" y="186"/>
                    <a:pt x="4823" y="324"/>
                    <a:pt x="4488" y="508"/>
                  </a:cubicBezTo>
                  <a:cubicBezTo>
                    <a:pt x="4461" y="523"/>
                    <a:pt x="4433" y="539"/>
                    <a:pt x="4405" y="555"/>
                  </a:cubicBezTo>
                  <a:cubicBezTo>
                    <a:pt x="4376" y="572"/>
                    <a:pt x="4346" y="588"/>
                    <a:pt x="4316" y="606"/>
                  </a:cubicBezTo>
                  <a:cubicBezTo>
                    <a:pt x="3656" y="993"/>
                    <a:pt x="2935" y="1552"/>
                    <a:pt x="2245" y="2243"/>
                  </a:cubicBezTo>
                  <a:cubicBezTo>
                    <a:pt x="1554" y="2933"/>
                    <a:pt x="995" y="3654"/>
                    <a:pt x="608" y="4314"/>
                  </a:cubicBezTo>
                  <a:cubicBezTo>
                    <a:pt x="590" y="4344"/>
                    <a:pt x="573" y="4374"/>
                    <a:pt x="557" y="4404"/>
                  </a:cubicBezTo>
                  <a:cubicBezTo>
                    <a:pt x="541" y="4431"/>
                    <a:pt x="525" y="4459"/>
                    <a:pt x="510" y="4486"/>
                  </a:cubicBezTo>
                  <a:cubicBezTo>
                    <a:pt x="326" y="4822"/>
                    <a:pt x="188" y="5138"/>
                    <a:pt x="103" y="5423"/>
                  </a:cubicBezTo>
                  <a:cubicBezTo>
                    <a:pt x="97" y="5443"/>
                    <a:pt x="91" y="5462"/>
                    <a:pt x="85" y="5482"/>
                  </a:cubicBezTo>
                  <a:cubicBezTo>
                    <a:pt x="80" y="5501"/>
                    <a:pt x="75" y="5521"/>
                    <a:pt x="70" y="5540"/>
                  </a:cubicBezTo>
                  <a:cubicBezTo>
                    <a:pt x="24" y="5720"/>
                    <a:pt x="0" y="5886"/>
                    <a:pt x="1" y="6034"/>
                  </a:cubicBezTo>
                  <a:cubicBezTo>
                    <a:pt x="1" y="6035"/>
                    <a:pt x="1" y="6037"/>
                    <a:pt x="1" y="6039"/>
                  </a:cubicBezTo>
                  <a:cubicBezTo>
                    <a:pt x="12" y="6060"/>
                    <a:pt x="24" y="6081"/>
                    <a:pt x="36" y="6102"/>
                  </a:cubicBezTo>
                  <a:cubicBezTo>
                    <a:pt x="52" y="6130"/>
                    <a:pt x="68" y="6158"/>
                    <a:pt x="85" y="6186"/>
                  </a:cubicBezTo>
                  <a:cubicBezTo>
                    <a:pt x="101" y="6212"/>
                    <a:pt x="117" y="6238"/>
                    <a:pt x="134" y="6264"/>
                  </a:cubicBezTo>
                  <a:cubicBezTo>
                    <a:pt x="153" y="6294"/>
                    <a:pt x="172" y="6325"/>
                    <a:pt x="192" y="6355"/>
                  </a:cubicBezTo>
                  <a:cubicBezTo>
                    <a:pt x="193" y="6330"/>
                    <a:pt x="195" y="6305"/>
                    <a:pt x="197" y="6279"/>
                  </a:cubicBezTo>
                  <a:cubicBezTo>
                    <a:pt x="199" y="6260"/>
                    <a:pt x="201" y="6240"/>
                    <a:pt x="203" y="6220"/>
                  </a:cubicBezTo>
                  <a:cubicBezTo>
                    <a:pt x="205" y="6201"/>
                    <a:pt x="208" y="6181"/>
                    <a:pt x="210" y="6162"/>
                  </a:cubicBezTo>
                  <a:cubicBezTo>
                    <a:pt x="238" y="5962"/>
                    <a:pt x="295" y="5745"/>
                    <a:pt x="378" y="5516"/>
                  </a:cubicBezTo>
                  <a:cubicBezTo>
                    <a:pt x="385" y="5496"/>
                    <a:pt x="392" y="5475"/>
                    <a:pt x="400" y="5454"/>
                  </a:cubicBezTo>
                  <a:cubicBezTo>
                    <a:pt x="408" y="5433"/>
                    <a:pt x="417" y="5412"/>
                    <a:pt x="425" y="5390"/>
                  </a:cubicBezTo>
                  <a:cubicBezTo>
                    <a:pt x="571" y="5022"/>
                    <a:pt x="782" y="4624"/>
                    <a:pt x="1050" y="4214"/>
                  </a:cubicBezTo>
                  <a:cubicBezTo>
                    <a:pt x="1075" y="4177"/>
                    <a:pt x="1100" y="4139"/>
                    <a:pt x="1126" y="410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9" name="Freeform 11">
              <a:extLst>
                <a:ext uri="{FF2B5EF4-FFF2-40B4-BE49-F238E27FC236}">
                  <a16:creationId xmlns:a16="http://schemas.microsoft.com/office/drawing/2014/main" id="{9BF6A145-B04A-4D96-B42A-F9F9564194A0}"/>
                </a:ext>
              </a:extLst>
            </p:cNvPr>
            <p:cNvSpPr>
              <a:spLocks/>
            </p:cNvSpPr>
            <p:nvPr/>
          </p:nvSpPr>
          <p:spPr bwMode="auto">
            <a:xfrm>
              <a:off x="4604297" y="1387527"/>
              <a:ext cx="4412873" cy="4441519"/>
            </a:xfrm>
            <a:custGeom>
              <a:avLst/>
              <a:gdLst>
                <a:gd name="T0" fmla="*/ 4682 w 6640"/>
                <a:gd name="T1" fmla="*/ 1069 h 6679"/>
                <a:gd name="T2" fmla="*/ 4782 w 6640"/>
                <a:gd name="T3" fmla="*/ 1013 h 6679"/>
                <a:gd name="T4" fmla="*/ 4876 w 6640"/>
                <a:gd name="T5" fmla="*/ 962 h 6679"/>
                <a:gd name="T6" fmla="*/ 5665 w 6640"/>
                <a:gd name="T7" fmla="*/ 626 h 6679"/>
                <a:gd name="T8" fmla="*/ 5735 w 6640"/>
                <a:gd name="T9" fmla="*/ 605 h 6679"/>
                <a:gd name="T10" fmla="*/ 5804 w 6640"/>
                <a:gd name="T11" fmla="*/ 586 h 6679"/>
                <a:gd name="T12" fmla="*/ 6300 w 6640"/>
                <a:gd name="T13" fmla="*/ 507 h 6679"/>
                <a:gd name="T14" fmla="*/ 6355 w 6640"/>
                <a:gd name="T15" fmla="*/ 505 h 6679"/>
                <a:gd name="T16" fmla="*/ 6360 w 6640"/>
                <a:gd name="T17" fmla="*/ 505 h 6679"/>
                <a:gd name="T18" fmla="*/ 6419 w 6640"/>
                <a:gd name="T19" fmla="*/ 507 h 6679"/>
                <a:gd name="T20" fmla="*/ 6640 w 6640"/>
                <a:gd name="T21" fmla="*/ 536 h 6679"/>
                <a:gd name="T22" fmla="*/ 6443 w 6640"/>
                <a:gd name="T23" fmla="*/ 254 h 6679"/>
                <a:gd name="T24" fmla="*/ 6385 w 6640"/>
                <a:gd name="T25" fmla="*/ 179 h 6679"/>
                <a:gd name="T26" fmla="*/ 6323 w 6640"/>
                <a:gd name="T27" fmla="*/ 102 h 6679"/>
                <a:gd name="T28" fmla="*/ 6253 w 6640"/>
                <a:gd name="T29" fmla="*/ 21 h 6679"/>
                <a:gd name="T30" fmla="*/ 6036 w 6640"/>
                <a:gd name="T31" fmla="*/ 1 h 6679"/>
                <a:gd name="T32" fmla="*/ 5943 w 6640"/>
                <a:gd name="T33" fmla="*/ 3 h 6679"/>
                <a:gd name="T34" fmla="*/ 5884 w 6640"/>
                <a:gd name="T35" fmla="*/ 8 h 6679"/>
                <a:gd name="T36" fmla="*/ 5824 w 6640"/>
                <a:gd name="T37" fmla="*/ 15 h 6679"/>
                <a:gd name="T38" fmla="*/ 5212 w 6640"/>
                <a:gd name="T39" fmla="*/ 174 h 6679"/>
                <a:gd name="T40" fmla="*/ 5142 w 6640"/>
                <a:gd name="T41" fmla="*/ 200 h 6679"/>
                <a:gd name="T42" fmla="*/ 5070 w 6640"/>
                <a:gd name="T43" fmla="*/ 229 h 6679"/>
                <a:gd name="T44" fmla="*/ 3933 w 6640"/>
                <a:gd name="T45" fmla="*/ 848 h 6679"/>
                <a:gd name="T46" fmla="*/ 3812 w 6640"/>
                <a:gd name="T47" fmla="*/ 929 h 6679"/>
                <a:gd name="T48" fmla="*/ 3679 w 6640"/>
                <a:gd name="T49" fmla="*/ 1023 h 6679"/>
                <a:gd name="T50" fmla="*/ 2245 w 6640"/>
                <a:gd name="T51" fmla="*/ 2245 h 6679"/>
                <a:gd name="T52" fmla="*/ 1023 w 6640"/>
                <a:gd name="T53" fmla="*/ 3679 h 6679"/>
                <a:gd name="T54" fmla="*/ 929 w 6640"/>
                <a:gd name="T55" fmla="*/ 3812 h 6679"/>
                <a:gd name="T56" fmla="*/ 848 w 6640"/>
                <a:gd name="T57" fmla="*/ 3933 h 6679"/>
                <a:gd name="T58" fmla="*/ 229 w 6640"/>
                <a:gd name="T59" fmla="*/ 5070 h 6679"/>
                <a:gd name="T60" fmla="*/ 200 w 6640"/>
                <a:gd name="T61" fmla="*/ 5142 h 6679"/>
                <a:gd name="T62" fmla="*/ 174 w 6640"/>
                <a:gd name="T63" fmla="*/ 5212 h 6679"/>
                <a:gd name="T64" fmla="*/ 15 w 6640"/>
                <a:gd name="T65" fmla="*/ 5824 h 6679"/>
                <a:gd name="T66" fmla="*/ 8 w 6640"/>
                <a:gd name="T67" fmla="*/ 5884 h 6679"/>
                <a:gd name="T68" fmla="*/ 3 w 6640"/>
                <a:gd name="T69" fmla="*/ 5943 h 6679"/>
                <a:gd name="T70" fmla="*/ 1 w 6640"/>
                <a:gd name="T71" fmla="*/ 6036 h 6679"/>
                <a:gd name="T72" fmla="*/ 30 w 6640"/>
                <a:gd name="T73" fmla="*/ 6297 h 6679"/>
                <a:gd name="T74" fmla="*/ 54 w 6640"/>
                <a:gd name="T75" fmla="*/ 6318 h 6679"/>
                <a:gd name="T76" fmla="*/ 132 w 6640"/>
                <a:gd name="T77" fmla="*/ 6383 h 6679"/>
                <a:gd name="T78" fmla="*/ 211 w 6640"/>
                <a:gd name="T79" fmla="*/ 6444 h 6679"/>
                <a:gd name="T80" fmla="*/ 547 w 6640"/>
                <a:gd name="T81" fmla="*/ 6679 h 6679"/>
                <a:gd name="T82" fmla="*/ 507 w 6640"/>
                <a:gd name="T83" fmla="*/ 6419 h 6679"/>
                <a:gd name="T84" fmla="*/ 505 w 6640"/>
                <a:gd name="T85" fmla="*/ 6360 h 6679"/>
                <a:gd name="T86" fmla="*/ 505 w 6640"/>
                <a:gd name="T87" fmla="*/ 6356 h 6679"/>
                <a:gd name="T88" fmla="*/ 507 w 6640"/>
                <a:gd name="T89" fmla="*/ 6300 h 6679"/>
                <a:gd name="T90" fmla="*/ 586 w 6640"/>
                <a:gd name="T91" fmla="*/ 5804 h 6679"/>
                <a:gd name="T92" fmla="*/ 605 w 6640"/>
                <a:gd name="T93" fmla="*/ 5735 h 6679"/>
                <a:gd name="T94" fmla="*/ 626 w 6640"/>
                <a:gd name="T95" fmla="*/ 5665 h 6679"/>
                <a:gd name="T96" fmla="*/ 962 w 6640"/>
                <a:gd name="T97" fmla="*/ 4876 h 6679"/>
                <a:gd name="T98" fmla="*/ 1013 w 6640"/>
                <a:gd name="T99" fmla="*/ 4781 h 6679"/>
                <a:gd name="T100" fmla="*/ 1069 w 6640"/>
                <a:gd name="T101" fmla="*/ 4682 h 6679"/>
                <a:gd name="T102" fmla="*/ 2654 w 6640"/>
                <a:gd name="T103" fmla="*/ 2654 h 6679"/>
                <a:gd name="T104" fmla="*/ 4682 w 6640"/>
                <a:gd name="T105" fmla="*/ 1069 h 6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640" h="6679">
                  <a:moveTo>
                    <a:pt x="4682" y="1069"/>
                  </a:moveTo>
                  <a:cubicBezTo>
                    <a:pt x="4715" y="1050"/>
                    <a:pt x="4748" y="1031"/>
                    <a:pt x="4782" y="1013"/>
                  </a:cubicBezTo>
                  <a:cubicBezTo>
                    <a:pt x="4813" y="996"/>
                    <a:pt x="4845" y="979"/>
                    <a:pt x="4876" y="962"/>
                  </a:cubicBezTo>
                  <a:cubicBezTo>
                    <a:pt x="5153" y="816"/>
                    <a:pt x="5418" y="703"/>
                    <a:pt x="5665" y="626"/>
                  </a:cubicBezTo>
                  <a:cubicBezTo>
                    <a:pt x="5688" y="619"/>
                    <a:pt x="5712" y="612"/>
                    <a:pt x="5735" y="605"/>
                  </a:cubicBezTo>
                  <a:cubicBezTo>
                    <a:pt x="5758" y="599"/>
                    <a:pt x="5781" y="592"/>
                    <a:pt x="5804" y="586"/>
                  </a:cubicBezTo>
                  <a:cubicBezTo>
                    <a:pt x="5981" y="539"/>
                    <a:pt x="6147" y="513"/>
                    <a:pt x="6300" y="507"/>
                  </a:cubicBezTo>
                  <a:cubicBezTo>
                    <a:pt x="6318" y="506"/>
                    <a:pt x="6337" y="505"/>
                    <a:pt x="6355" y="505"/>
                  </a:cubicBezTo>
                  <a:cubicBezTo>
                    <a:pt x="6357" y="505"/>
                    <a:pt x="6358" y="505"/>
                    <a:pt x="6360" y="505"/>
                  </a:cubicBezTo>
                  <a:cubicBezTo>
                    <a:pt x="6380" y="505"/>
                    <a:pt x="6399" y="506"/>
                    <a:pt x="6419" y="507"/>
                  </a:cubicBezTo>
                  <a:cubicBezTo>
                    <a:pt x="6496" y="511"/>
                    <a:pt x="6571" y="520"/>
                    <a:pt x="6640" y="536"/>
                  </a:cubicBezTo>
                  <a:cubicBezTo>
                    <a:pt x="6579" y="440"/>
                    <a:pt x="6513" y="346"/>
                    <a:pt x="6443" y="254"/>
                  </a:cubicBezTo>
                  <a:cubicBezTo>
                    <a:pt x="6424" y="229"/>
                    <a:pt x="6404" y="204"/>
                    <a:pt x="6385" y="179"/>
                  </a:cubicBezTo>
                  <a:cubicBezTo>
                    <a:pt x="6364" y="153"/>
                    <a:pt x="6344" y="128"/>
                    <a:pt x="6323" y="102"/>
                  </a:cubicBezTo>
                  <a:cubicBezTo>
                    <a:pt x="6300" y="75"/>
                    <a:pt x="6276" y="48"/>
                    <a:pt x="6253" y="21"/>
                  </a:cubicBezTo>
                  <a:cubicBezTo>
                    <a:pt x="6186" y="8"/>
                    <a:pt x="6114" y="1"/>
                    <a:pt x="6036" y="1"/>
                  </a:cubicBezTo>
                  <a:cubicBezTo>
                    <a:pt x="6006" y="0"/>
                    <a:pt x="5975" y="2"/>
                    <a:pt x="5943" y="3"/>
                  </a:cubicBezTo>
                  <a:cubicBezTo>
                    <a:pt x="5924" y="4"/>
                    <a:pt x="5904" y="6"/>
                    <a:pt x="5884" y="8"/>
                  </a:cubicBezTo>
                  <a:cubicBezTo>
                    <a:pt x="5864" y="10"/>
                    <a:pt x="5844" y="13"/>
                    <a:pt x="5824" y="15"/>
                  </a:cubicBezTo>
                  <a:cubicBezTo>
                    <a:pt x="5639" y="39"/>
                    <a:pt x="5433" y="93"/>
                    <a:pt x="5212" y="174"/>
                  </a:cubicBezTo>
                  <a:cubicBezTo>
                    <a:pt x="5189" y="183"/>
                    <a:pt x="5166" y="191"/>
                    <a:pt x="5142" y="200"/>
                  </a:cubicBezTo>
                  <a:cubicBezTo>
                    <a:pt x="5118" y="210"/>
                    <a:pt x="5094" y="219"/>
                    <a:pt x="5070" y="229"/>
                  </a:cubicBezTo>
                  <a:cubicBezTo>
                    <a:pt x="4719" y="373"/>
                    <a:pt x="4334" y="582"/>
                    <a:pt x="3933" y="848"/>
                  </a:cubicBezTo>
                  <a:cubicBezTo>
                    <a:pt x="3893" y="874"/>
                    <a:pt x="3852" y="902"/>
                    <a:pt x="3812" y="929"/>
                  </a:cubicBezTo>
                  <a:cubicBezTo>
                    <a:pt x="3767" y="960"/>
                    <a:pt x="3723" y="991"/>
                    <a:pt x="3679" y="1023"/>
                  </a:cubicBezTo>
                  <a:cubicBezTo>
                    <a:pt x="3206" y="1360"/>
                    <a:pt x="2718" y="1771"/>
                    <a:pt x="2245" y="2245"/>
                  </a:cubicBezTo>
                  <a:cubicBezTo>
                    <a:pt x="1771" y="2718"/>
                    <a:pt x="1360" y="3206"/>
                    <a:pt x="1023" y="3679"/>
                  </a:cubicBezTo>
                  <a:cubicBezTo>
                    <a:pt x="991" y="3723"/>
                    <a:pt x="960" y="3768"/>
                    <a:pt x="929" y="3812"/>
                  </a:cubicBezTo>
                  <a:cubicBezTo>
                    <a:pt x="902" y="3852"/>
                    <a:pt x="874" y="3893"/>
                    <a:pt x="848" y="3933"/>
                  </a:cubicBezTo>
                  <a:cubicBezTo>
                    <a:pt x="582" y="4334"/>
                    <a:pt x="373" y="4719"/>
                    <a:pt x="229" y="5070"/>
                  </a:cubicBezTo>
                  <a:cubicBezTo>
                    <a:pt x="219" y="5094"/>
                    <a:pt x="210" y="5118"/>
                    <a:pt x="200" y="5142"/>
                  </a:cubicBezTo>
                  <a:cubicBezTo>
                    <a:pt x="191" y="5166"/>
                    <a:pt x="183" y="5189"/>
                    <a:pt x="174" y="5212"/>
                  </a:cubicBezTo>
                  <a:cubicBezTo>
                    <a:pt x="93" y="5433"/>
                    <a:pt x="39" y="5639"/>
                    <a:pt x="15" y="5824"/>
                  </a:cubicBezTo>
                  <a:cubicBezTo>
                    <a:pt x="12" y="5844"/>
                    <a:pt x="10" y="5864"/>
                    <a:pt x="8" y="5884"/>
                  </a:cubicBezTo>
                  <a:cubicBezTo>
                    <a:pt x="6" y="5904"/>
                    <a:pt x="5" y="5924"/>
                    <a:pt x="3" y="5943"/>
                  </a:cubicBezTo>
                  <a:cubicBezTo>
                    <a:pt x="2" y="5975"/>
                    <a:pt x="0" y="6006"/>
                    <a:pt x="1" y="6036"/>
                  </a:cubicBezTo>
                  <a:cubicBezTo>
                    <a:pt x="1" y="6131"/>
                    <a:pt x="10" y="6218"/>
                    <a:pt x="30" y="6297"/>
                  </a:cubicBezTo>
                  <a:cubicBezTo>
                    <a:pt x="38" y="6304"/>
                    <a:pt x="46" y="6311"/>
                    <a:pt x="54" y="6318"/>
                  </a:cubicBezTo>
                  <a:cubicBezTo>
                    <a:pt x="80" y="6340"/>
                    <a:pt x="106" y="6362"/>
                    <a:pt x="132" y="6383"/>
                  </a:cubicBezTo>
                  <a:cubicBezTo>
                    <a:pt x="158" y="6404"/>
                    <a:pt x="184" y="6424"/>
                    <a:pt x="211" y="6444"/>
                  </a:cubicBezTo>
                  <a:cubicBezTo>
                    <a:pt x="320" y="6528"/>
                    <a:pt x="432" y="6606"/>
                    <a:pt x="547" y="6679"/>
                  </a:cubicBezTo>
                  <a:cubicBezTo>
                    <a:pt x="524" y="6598"/>
                    <a:pt x="511" y="6511"/>
                    <a:pt x="507" y="6419"/>
                  </a:cubicBezTo>
                  <a:cubicBezTo>
                    <a:pt x="506" y="6399"/>
                    <a:pt x="505" y="6380"/>
                    <a:pt x="505" y="6360"/>
                  </a:cubicBezTo>
                  <a:cubicBezTo>
                    <a:pt x="505" y="6358"/>
                    <a:pt x="505" y="6357"/>
                    <a:pt x="505" y="6356"/>
                  </a:cubicBezTo>
                  <a:cubicBezTo>
                    <a:pt x="505" y="6337"/>
                    <a:pt x="506" y="6318"/>
                    <a:pt x="507" y="6300"/>
                  </a:cubicBezTo>
                  <a:cubicBezTo>
                    <a:pt x="512" y="6147"/>
                    <a:pt x="539" y="5981"/>
                    <a:pt x="586" y="5804"/>
                  </a:cubicBezTo>
                  <a:cubicBezTo>
                    <a:pt x="592" y="5781"/>
                    <a:pt x="599" y="5758"/>
                    <a:pt x="605" y="5735"/>
                  </a:cubicBezTo>
                  <a:cubicBezTo>
                    <a:pt x="612" y="5712"/>
                    <a:pt x="619" y="5688"/>
                    <a:pt x="626" y="5665"/>
                  </a:cubicBezTo>
                  <a:cubicBezTo>
                    <a:pt x="703" y="5418"/>
                    <a:pt x="817" y="5153"/>
                    <a:pt x="962" y="4876"/>
                  </a:cubicBezTo>
                  <a:cubicBezTo>
                    <a:pt x="979" y="4845"/>
                    <a:pt x="996" y="4813"/>
                    <a:pt x="1013" y="4781"/>
                  </a:cubicBezTo>
                  <a:cubicBezTo>
                    <a:pt x="1031" y="4748"/>
                    <a:pt x="1050" y="4715"/>
                    <a:pt x="1069" y="4682"/>
                  </a:cubicBezTo>
                  <a:cubicBezTo>
                    <a:pt x="1441" y="4031"/>
                    <a:pt x="1982" y="3328"/>
                    <a:pt x="2654" y="2654"/>
                  </a:cubicBezTo>
                  <a:cubicBezTo>
                    <a:pt x="3328" y="1982"/>
                    <a:pt x="4031" y="1441"/>
                    <a:pt x="4682" y="10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0" name="Freeform 12">
              <a:extLst>
                <a:ext uri="{FF2B5EF4-FFF2-40B4-BE49-F238E27FC236}">
                  <a16:creationId xmlns:a16="http://schemas.microsoft.com/office/drawing/2014/main" id="{6967A9C6-FB4D-4270-BB09-0FBE5B7A6E5E}"/>
                </a:ext>
              </a:extLst>
            </p:cNvPr>
            <p:cNvSpPr>
              <a:spLocks/>
            </p:cNvSpPr>
            <p:nvPr/>
          </p:nvSpPr>
          <p:spPr bwMode="auto">
            <a:xfrm>
              <a:off x="5525067" y="2309661"/>
              <a:ext cx="3917703" cy="3936801"/>
            </a:xfrm>
            <a:custGeom>
              <a:avLst/>
              <a:gdLst>
                <a:gd name="T0" fmla="*/ 3424 w 5896"/>
                <a:gd name="T1" fmla="*/ 1876 h 5920"/>
                <a:gd name="T2" fmla="*/ 3633 w 5896"/>
                <a:gd name="T3" fmla="*/ 1712 h 5920"/>
                <a:gd name="T4" fmla="*/ 3808 w 5896"/>
                <a:gd name="T5" fmla="*/ 1582 h 5920"/>
                <a:gd name="T6" fmla="*/ 4916 w 5896"/>
                <a:gd name="T7" fmla="*/ 937 h 5920"/>
                <a:gd name="T8" fmla="*/ 5004 w 5896"/>
                <a:gd name="T9" fmla="*/ 901 h 5920"/>
                <a:gd name="T10" fmla="*/ 5086 w 5896"/>
                <a:gd name="T11" fmla="*/ 873 h 5920"/>
                <a:gd name="T12" fmla="*/ 5614 w 5896"/>
                <a:gd name="T13" fmla="*/ 767 h 5920"/>
                <a:gd name="T14" fmla="*/ 5621 w 5896"/>
                <a:gd name="T15" fmla="*/ 767 h 5920"/>
                <a:gd name="T16" fmla="*/ 5682 w 5896"/>
                <a:gd name="T17" fmla="*/ 770 h 5920"/>
                <a:gd name="T18" fmla="*/ 5742 w 5896"/>
                <a:gd name="T19" fmla="*/ 777 h 5920"/>
                <a:gd name="T20" fmla="*/ 5896 w 5896"/>
                <a:gd name="T21" fmla="*/ 821 h 5920"/>
                <a:gd name="T22" fmla="*/ 5826 w 5896"/>
                <a:gd name="T23" fmla="*/ 476 h 5920"/>
                <a:gd name="T24" fmla="*/ 5792 w 5896"/>
                <a:gd name="T25" fmla="*/ 349 h 5920"/>
                <a:gd name="T26" fmla="*/ 5752 w 5896"/>
                <a:gd name="T27" fmla="*/ 214 h 5920"/>
                <a:gd name="T28" fmla="*/ 5714 w 5896"/>
                <a:gd name="T29" fmla="*/ 97 h 5920"/>
                <a:gd name="T30" fmla="*/ 5444 w 5896"/>
                <a:gd name="T31" fmla="*/ 9 h 5920"/>
                <a:gd name="T32" fmla="*/ 5385 w 5896"/>
                <a:gd name="T33" fmla="*/ 3 h 5920"/>
                <a:gd name="T34" fmla="*/ 5324 w 5896"/>
                <a:gd name="T35" fmla="*/ 1 h 5920"/>
                <a:gd name="T36" fmla="*/ 5312 w 5896"/>
                <a:gd name="T37" fmla="*/ 0 h 5920"/>
                <a:gd name="T38" fmla="*/ 5307 w 5896"/>
                <a:gd name="T39" fmla="*/ 0 h 5920"/>
                <a:gd name="T40" fmla="*/ 4713 w 5896"/>
                <a:gd name="T41" fmla="*/ 112 h 5920"/>
                <a:gd name="T42" fmla="*/ 4636 w 5896"/>
                <a:gd name="T43" fmla="*/ 137 h 5920"/>
                <a:gd name="T44" fmla="*/ 4555 w 5896"/>
                <a:gd name="T45" fmla="*/ 168 h 5920"/>
                <a:gd name="T46" fmla="*/ 3688 w 5896"/>
                <a:gd name="T47" fmla="*/ 607 h 5920"/>
                <a:gd name="T48" fmla="*/ 3564 w 5896"/>
                <a:gd name="T49" fmla="*/ 684 h 5920"/>
                <a:gd name="T50" fmla="*/ 3430 w 5896"/>
                <a:gd name="T51" fmla="*/ 773 h 5920"/>
                <a:gd name="T52" fmla="*/ 1980 w 5896"/>
                <a:gd name="T53" fmla="*/ 1980 h 5920"/>
                <a:gd name="T54" fmla="*/ 774 w 5896"/>
                <a:gd name="T55" fmla="*/ 3429 h 5920"/>
                <a:gd name="T56" fmla="*/ 685 w 5896"/>
                <a:gd name="T57" fmla="*/ 3563 h 5920"/>
                <a:gd name="T58" fmla="*/ 607 w 5896"/>
                <a:gd name="T59" fmla="*/ 3688 h 5920"/>
                <a:gd name="T60" fmla="*/ 169 w 5896"/>
                <a:gd name="T61" fmla="*/ 4554 h 5920"/>
                <a:gd name="T62" fmla="*/ 137 w 5896"/>
                <a:gd name="T63" fmla="*/ 4635 h 5920"/>
                <a:gd name="T64" fmla="*/ 113 w 5896"/>
                <a:gd name="T65" fmla="*/ 4712 h 5920"/>
                <a:gd name="T66" fmla="*/ 1 w 5896"/>
                <a:gd name="T67" fmla="*/ 5311 h 5920"/>
                <a:gd name="T68" fmla="*/ 2 w 5896"/>
                <a:gd name="T69" fmla="*/ 5323 h 5920"/>
                <a:gd name="T70" fmla="*/ 4 w 5896"/>
                <a:gd name="T71" fmla="*/ 5384 h 5920"/>
                <a:gd name="T72" fmla="*/ 10 w 5896"/>
                <a:gd name="T73" fmla="*/ 5443 h 5920"/>
                <a:gd name="T74" fmla="*/ 121 w 5896"/>
                <a:gd name="T75" fmla="*/ 5747 h 5920"/>
                <a:gd name="T76" fmla="*/ 150 w 5896"/>
                <a:gd name="T77" fmla="*/ 5756 h 5920"/>
                <a:gd name="T78" fmla="*/ 291 w 5896"/>
                <a:gd name="T79" fmla="*/ 5800 h 5920"/>
                <a:gd name="T80" fmla="*/ 425 w 5896"/>
                <a:gd name="T81" fmla="*/ 5836 h 5920"/>
                <a:gd name="T82" fmla="*/ 835 w 5896"/>
                <a:gd name="T83" fmla="*/ 5920 h 5920"/>
                <a:gd name="T84" fmla="*/ 778 w 5896"/>
                <a:gd name="T85" fmla="*/ 5741 h 5920"/>
                <a:gd name="T86" fmla="*/ 771 w 5896"/>
                <a:gd name="T87" fmla="*/ 5681 h 5920"/>
                <a:gd name="T88" fmla="*/ 769 w 5896"/>
                <a:gd name="T89" fmla="*/ 5620 h 5920"/>
                <a:gd name="T90" fmla="*/ 768 w 5896"/>
                <a:gd name="T91" fmla="*/ 5612 h 5920"/>
                <a:gd name="T92" fmla="*/ 874 w 5896"/>
                <a:gd name="T93" fmla="*/ 5084 h 5920"/>
                <a:gd name="T94" fmla="*/ 903 w 5896"/>
                <a:gd name="T95" fmla="*/ 5002 h 5920"/>
                <a:gd name="T96" fmla="*/ 938 w 5896"/>
                <a:gd name="T97" fmla="*/ 4915 h 5920"/>
                <a:gd name="T98" fmla="*/ 1583 w 5896"/>
                <a:gd name="T99" fmla="*/ 3807 h 5920"/>
                <a:gd name="T100" fmla="*/ 1713 w 5896"/>
                <a:gd name="T101" fmla="*/ 3632 h 5920"/>
                <a:gd name="T102" fmla="*/ 1877 w 5896"/>
                <a:gd name="T103" fmla="*/ 3424 h 5920"/>
                <a:gd name="T104" fmla="*/ 2610 w 5896"/>
                <a:gd name="T105" fmla="*/ 2610 h 5920"/>
                <a:gd name="T106" fmla="*/ 3424 w 5896"/>
                <a:gd name="T107" fmla="*/ 1876 h 5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96" h="5920">
                  <a:moveTo>
                    <a:pt x="3424" y="1876"/>
                  </a:moveTo>
                  <a:cubicBezTo>
                    <a:pt x="3494" y="1819"/>
                    <a:pt x="3564" y="1765"/>
                    <a:pt x="3633" y="1712"/>
                  </a:cubicBezTo>
                  <a:cubicBezTo>
                    <a:pt x="3692" y="1667"/>
                    <a:pt x="3750" y="1624"/>
                    <a:pt x="3808" y="1582"/>
                  </a:cubicBezTo>
                  <a:cubicBezTo>
                    <a:pt x="4204" y="1295"/>
                    <a:pt x="4581" y="1076"/>
                    <a:pt x="4916" y="937"/>
                  </a:cubicBezTo>
                  <a:cubicBezTo>
                    <a:pt x="4945" y="925"/>
                    <a:pt x="4975" y="912"/>
                    <a:pt x="5004" y="901"/>
                  </a:cubicBezTo>
                  <a:cubicBezTo>
                    <a:pt x="5032" y="891"/>
                    <a:pt x="5058" y="882"/>
                    <a:pt x="5086" y="873"/>
                  </a:cubicBezTo>
                  <a:cubicBezTo>
                    <a:pt x="5281" y="806"/>
                    <a:pt x="5460" y="768"/>
                    <a:pt x="5614" y="767"/>
                  </a:cubicBezTo>
                  <a:cubicBezTo>
                    <a:pt x="5616" y="767"/>
                    <a:pt x="5618" y="767"/>
                    <a:pt x="5621" y="767"/>
                  </a:cubicBezTo>
                  <a:cubicBezTo>
                    <a:pt x="5642" y="768"/>
                    <a:pt x="5662" y="768"/>
                    <a:pt x="5682" y="770"/>
                  </a:cubicBezTo>
                  <a:cubicBezTo>
                    <a:pt x="5702" y="771"/>
                    <a:pt x="5722" y="774"/>
                    <a:pt x="5742" y="777"/>
                  </a:cubicBezTo>
                  <a:cubicBezTo>
                    <a:pt x="5797" y="785"/>
                    <a:pt x="5849" y="800"/>
                    <a:pt x="5896" y="821"/>
                  </a:cubicBezTo>
                  <a:cubicBezTo>
                    <a:pt x="5877" y="705"/>
                    <a:pt x="5854" y="590"/>
                    <a:pt x="5826" y="476"/>
                  </a:cubicBezTo>
                  <a:cubicBezTo>
                    <a:pt x="5816" y="433"/>
                    <a:pt x="5804" y="391"/>
                    <a:pt x="5792" y="349"/>
                  </a:cubicBezTo>
                  <a:cubicBezTo>
                    <a:pt x="5779" y="304"/>
                    <a:pt x="5766" y="259"/>
                    <a:pt x="5752" y="214"/>
                  </a:cubicBezTo>
                  <a:cubicBezTo>
                    <a:pt x="5740" y="175"/>
                    <a:pt x="5728" y="136"/>
                    <a:pt x="5714" y="97"/>
                  </a:cubicBezTo>
                  <a:cubicBezTo>
                    <a:pt x="5639" y="51"/>
                    <a:pt x="5549" y="22"/>
                    <a:pt x="5444" y="9"/>
                  </a:cubicBezTo>
                  <a:cubicBezTo>
                    <a:pt x="5425" y="6"/>
                    <a:pt x="5405" y="4"/>
                    <a:pt x="5385" y="3"/>
                  </a:cubicBezTo>
                  <a:cubicBezTo>
                    <a:pt x="5365" y="1"/>
                    <a:pt x="5345" y="1"/>
                    <a:pt x="5324" y="1"/>
                  </a:cubicBezTo>
                  <a:cubicBezTo>
                    <a:pt x="5320" y="1"/>
                    <a:pt x="5316" y="0"/>
                    <a:pt x="5312" y="0"/>
                  </a:cubicBezTo>
                  <a:cubicBezTo>
                    <a:pt x="5311" y="0"/>
                    <a:pt x="5309" y="0"/>
                    <a:pt x="5307" y="0"/>
                  </a:cubicBezTo>
                  <a:cubicBezTo>
                    <a:pt x="5135" y="0"/>
                    <a:pt x="4934" y="40"/>
                    <a:pt x="4713" y="112"/>
                  </a:cubicBezTo>
                  <a:cubicBezTo>
                    <a:pt x="4687" y="120"/>
                    <a:pt x="4662" y="127"/>
                    <a:pt x="4636" y="137"/>
                  </a:cubicBezTo>
                  <a:cubicBezTo>
                    <a:pt x="4610" y="146"/>
                    <a:pt x="4582" y="158"/>
                    <a:pt x="4555" y="168"/>
                  </a:cubicBezTo>
                  <a:cubicBezTo>
                    <a:pt x="4287" y="270"/>
                    <a:pt x="3995" y="418"/>
                    <a:pt x="3688" y="607"/>
                  </a:cubicBezTo>
                  <a:cubicBezTo>
                    <a:pt x="3647" y="632"/>
                    <a:pt x="3606" y="657"/>
                    <a:pt x="3564" y="684"/>
                  </a:cubicBezTo>
                  <a:cubicBezTo>
                    <a:pt x="3520" y="713"/>
                    <a:pt x="3475" y="743"/>
                    <a:pt x="3430" y="773"/>
                  </a:cubicBezTo>
                  <a:cubicBezTo>
                    <a:pt x="2956" y="1092"/>
                    <a:pt x="2460" y="1499"/>
                    <a:pt x="1980" y="1980"/>
                  </a:cubicBezTo>
                  <a:cubicBezTo>
                    <a:pt x="1500" y="2459"/>
                    <a:pt x="1093" y="2956"/>
                    <a:pt x="774" y="3429"/>
                  </a:cubicBezTo>
                  <a:cubicBezTo>
                    <a:pt x="744" y="3474"/>
                    <a:pt x="714" y="3519"/>
                    <a:pt x="685" y="3563"/>
                  </a:cubicBezTo>
                  <a:cubicBezTo>
                    <a:pt x="658" y="3605"/>
                    <a:pt x="633" y="3646"/>
                    <a:pt x="607" y="3688"/>
                  </a:cubicBezTo>
                  <a:cubicBezTo>
                    <a:pt x="419" y="3994"/>
                    <a:pt x="271" y="4287"/>
                    <a:pt x="169" y="4554"/>
                  </a:cubicBezTo>
                  <a:cubicBezTo>
                    <a:pt x="158" y="4581"/>
                    <a:pt x="147" y="4609"/>
                    <a:pt x="137" y="4635"/>
                  </a:cubicBezTo>
                  <a:cubicBezTo>
                    <a:pt x="128" y="4661"/>
                    <a:pt x="121" y="4686"/>
                    <a:pt x="113" y="4712"/>
                  </a:cubicBezTo>
                  <a:cubicBezTo>
                    <a:pt x="40" y="4935"/>
                    <a:pt x="0" y="5138"/>
                    <a:pt x="1" y="5311"/>
                  </a:cubicBezTo>
                  <a:cubicBezTo>
                    <a:pt x="1" y="5315"/>
                    <a:pt x="1" y="5319"/>
                    <a:pt x="2" y="5323"/>
                  </a:cubicBezTo>
                  <a:cubicBezTo>
                    <a:pt x="2" y="5344"/>
                    <a:pt x="2" y="5364"/>
                    <a:pt x="4" y="5384"/>
                  </a:cubicBezTo>
                  <a:cubicBezTo>
                    <a:pt x="5" y="5404"/>
                    <a:pt x="7" y="5424"/>
                    <a:pt x="10" y="5443"/>
                  </a:cubicBezTo>
                  <a:cubicBezTo>
                    <a:pt x="25" y="5564"/>
                    <a:pt x="62" y="5665"/>
                    <a:pt x="121" y="5747"/>
                  </a:cubicBezTo>
                  <a:cubicBezTo>
                    <a:pt x="131" y="5750"/>
                    <a:pt x="140" y="5753"/>
                    <a:pt x="150" y="5756"/>
                  </a:cubicBezTo>
                  <a:cubicBezTo>
                    <a:pt x="197" y="5771"/>
                    <a:pt x="244" y="5786"/>
                    <a:pt x="291" y="5800"/>
                  </a:cubicBezTo>
                  <a:cubicBezTo>
                    <a:pt x="336" y="5813"/>
                    <a:pt x="380" y="5825"/>
                    <a:pt x="425" y="5836"/>
                  </a:cubicBezTo>
                  <a:cubicBezTo>
                    <a:pt x="560" y="5870"/>
                    <a:pt x="697" y="5898"/>
                    <a:pt x="835" y="5920"/>
                  </a:cubicBezTo>
                  <a:cubicBezTo>
                    <a:pt x="807" y="5866"/>
                    <a:pt x="788" y="5806"/>
                    <a:pt x="778" y="5741"/>
                  </a:cubicBezTo>
                  <a:cubicBezTo>
                    <a:pt x="775" y="5721"/>
                    <a:pt x="773" y="5701"/>
                    <a:pt x="771" y="5681"/>
                  </a:cubicBezTo>
                  <a:cubicBezTo>
                    <a:pt x="769" y="5661"/>
                    <a:pt x="769" y="5641"/>
                    <a:pt x="769" y="5620"/>
                  </a:cubicBezTo>
                  <a:cubicBezTo>
                    <a:pt x="769" y="5617"/>
                    <a:pt x="768" y="5615"/>
                    <a:pt x="768" y="5612"/>
                  </a:cubicBezTo>
                  <a:cubicBezTo>
                    <a:pt x="769" y="5459"/>
                    <a:pt x="807" y="5280"/>
                    <a:pt x="874" y="5084"/>
                  </a:cubicBezTo>
                  <a:cubicBezTo>
                    <a:pt x="884" y="5057"/>
                    <a:pt x="892" y="5030"/>
                    <a:pt x="903" y="5002"/>
                  </a:cubicBezTo>
                  <a:cubicBezTo>
                    <a:pt x="913" y="4974"/>
                    <a:pt x="926" y="4944"/>
                    <a:pt x="938" y="4915"/>
                  </a:cubicBezTo>
                  <a:cubicBezTo>
                    <a:pt x="1077" y="4580"/>
                    <a:pt x="1296" y="4203"/>
                    <a:pt x="1583" y="3807"/>
                  </a:cubicBezTo>
                  <a:cubicBezTo>
                    <a:pt x="1625" y="3749"/>
                    <a:pt x="1668" y="3691"/>
                    <a:pt x="1713" y="3632"/>
                  </a:cubicBezTo>
                  <a:cubicBezTo>
                    <a:pt x="1765" y="3563"/>
                    <a:pt x="1820" y="3493"/>
                    <a:pt x="1877" y="3424"/>
                  </a:cubicBezTo>
                  <a:cubicBezTo>
                    <a:pt x="2095" y="3154"/>
                    <a:pt x="2341" y="2880"/>
                    <a:pt x="2610" y="2610"/>
                  </a:cubicBezTo>
                  <a:cubicBezTo>
                    <a:pt x="2881" y="2340"/>
                    <a:pt x="3155" y="2095"/>
                    <a:pt x="3424" y="187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1" name="Freeform 13">
              <a:extLst>
                <a:ext uri="{FF2B5EF4-FFF2-40B4-BE49-F238E27FC236}">
                  <a16:creationId xmlns:a16="http://schemas.microsoft.com/office/drawing/2014/main" id="{85D81FB3-8A4F-49F2-A164-8A0BF5C67920}"/>
                </a:ext>
              </a:extLst>
            </p:cNvPr>
            <p:cNvSpPr>
              <a:spLocks/>
            </p:cNvSpPr>
            <p:nvPr/>
          </p:nvSpPr>
          <p:spPr bwMode="auto">
            <a:xfrm>
              <a:off x="6849611" y="3634205"/>
              <a:ext cx="2613621" cy="2625898"/>
            </a:xfrm>
            <a:custGeom>
              <a:avLst/>
              <a:gdLst>
                <a:gd name="T0" fmla="*/ 3902 w 3934"/>
                <a:gd name="T1" fmla="*/ 32 h 3950"/>
                <a:gd name="T2" fmla="*/ 3727 w 3934"/>
                <a:gd name="T3" fmla="*/ 0 h 3950"/>
                <a:gd name="T4" fmla="*/ 3687 w 3934"/>
                <a:gd name="T5" fmla="*/ 3 h 3950"/>
                <a:gd name="T6" fmla="*/ 3616 w 3934"/>
                <a:gd name="T7" fmla="*/ 8 h 3950"/>
                <a:gd name="T8" fmla="*/ 3541 w 3934"/>
                <a:gd name="T9" fmla="*/ 21 h 3950"/>
                <a:gd name="T10" fmla="*/ 3005 w 3934"/>
                <a:gd name="T11" fmla="*/ 222 h 3950"/>
                <a:gd name="T12" fmla="*/ 2891 w 3934"/>
                <a:gd name="T13" fmla="*/ 283 h 3950"/>
                <a:gd name="T14" fmla="*/ 2768 w 3934"/>
                <a:gd name="T15" fmla="*/ 353 h 3950"/>
                <a:gd name="T16" fmla="*/ 1424 w 3934"/>
                <a:gd name="T17" fmla="*/ 1424 h 3950"/>
                <a:gd name="T18" fmla="*/ 353 w 3934"/>
                <a:gd name="T19" fmla="*/ 2768 h 3950"/>
                <a:gd name="T20" fmla="*/ 283 w 3934"/>
                <a:gd name="T21" fmla="*/ 2891 h 3950"/>
                <a:gd name="T22" fmla="*/ 222 w 3934"/>
                <a:gd name="T23" fmla="*/ 3005 h 3950"/>
                <a:gd name="T24" fmla="*/ 22 w 3934"/>
                <a:gd name="T25" fmla="*/ 3540 h 3950"/>
                <a:gd name="T26" fmla="*/ 8 w 3934"/>
                <a:gd name="T27" fmla="*/ 3616 h 3950"/>
                <a:gd name="T28" fmla="*/ 3 w 3934"/>
                <a:gd name="T29" fmla="*/ 3686 h 3950"/>
                <a:gd name="T30" fmla="*/ 1 w 3934"/>
                <a:gd name="T31" fmla="*/ 3727 h 3950"/>
                <a:gd name="T32" fmla="*/ 32 w 3934"/>
                <a:gd name="T33" fmla="*/ 3902 h 3950"/>
                <a:gd name="T34" fmla="*/ 56 w 3934"/>
                <a:gd name="T35" fmla="*/ 3950 h 3950"/>
                <a:gd name="T36" fmla="*/ 79 w 3934"/>
                <a:gd name="T37" fmla="*/ 3947 h 3950"/>
                <a:gd name="T38" fmla="*/ 282 w 3934"/>
                <a:gd name="T39" fmla="*/ 3917 h 3950"/>
                <a:gd name="T40" fmla="*/ 1127 w 3934"/>
                <a:gd name="T41" fmla="*/ 3685 h 3950"/>
                <a:gd name="T42" fmla="*/ 1020 w 3934"/>
                <a:gd name="T43" fmla="*/ 3624 h 3950"/>
                <a:gd name="T44" fmla="*/ 959 w 3934"/>
                <a:gd name="T45" fmla="*/ 3517 h 3950"/>
                <a:gd name="T46" fmla="*/ 946 w 3934"/>
                <a:gd name="T47" fmla="*/ 3454 h 3950"/>
                <a:gd name="T48" fmla="*/ 943 w 3934"/>
                <a:gd name="T49" fmla="*/ 3410 h 3950"/>
                <a:gd name="T50" fmla="*/ 945 w 3934"/>
                <a:gd name="T51" fmla="*/ 3382 h 3950"/>
                <a:gd name="T52" fmla="*/ 1060 w 3934"/>
                <a:gd name="T53" fmla="*/ 2995 h 3950"/>
                <a:gd name="T54" fmla="*/ 1123 w 3934"/>
                <a:gd name="T55" fmla="*/ 2873 h 3950"/>
                <a:gd name="T56" fmla="*/ 1207 w 3934"/>
                <a:gd name="T57" fmla="*/ 2729 h 3950"/>
                <a:gd name="T58" fmla="*/ 1890 w 3934"/>
                <a:gd name="T59" fmla="*/ 1890 h 3950"/>
                <a:gd name="T60" fmla="*/ 2729 w 3934"/>
                <a:gd name="T61" fmla="*/ 1207 h 3950"/>
                <a:gd name="T62" fmla="*/ 2873 w 3934"/>
                <a:gd name="T63" fmla="*/ 1123 h 3950"/>
                <a:gd name="T64" fmla="*/ 2994 w 3934"/>
                <a:gd name="T65" fmla="*/ 1061 h 3950"/>
                <a:gd name="T66" fmla="*/ 3382 w 3934"/>
                <a:gd name="T67" fmla="*/ 946 h 3950"/>
                <a:gd name="T68" fmla="*/ 3410 w 3934"/>
                <a:gd name="T69" fmla="*/ 943 h 3950"/>
                <a:gd name="T70" fmla="*/ 3454 w 3934"/>
                <a:gd name="T71" fmla="*/ 947 h 3950"/>
                <a:gd name="T72" fmla="*/ 3517 w 3934"/>
                <a:gd name="T73" fmla="*/ 959 h 3950"/>
                <a:gd name="T74" fmla="*/ 3624 w 3934"/>
                <a:gd name="T75" fmla="*/ 1020 h 3950"/>
                <a:gd name="T76" fmla="*/ 3679 w 3934"/>
                <a:gd name="T77" fmla="*/ 1109 h 3950"/>
                <a:gd name="T78" fmla="*/ 3893 w 3934"/>
                <a:gd name="T79" fmla="*/ 331 h 3950"/>
                <a:gd name="T80" fmla="*/ 3924 w 3934"/>
                <a:gd name="T81" fmla="*/ 131 h 3950"/>
                <a:gd name="T82" fmla="*/ 3934 w 3934"/>
                <a:gd name="T83" fmla="*/ 47 h 3950"/>
                <a:gd name="T84" fmla="*/ 3902 w 3934"/>
                <a:gd name="T85" fmla="*/ 32 h 3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34" h="3950">
                  <a:moveTo>
                    <a:pt x="3902" y="32"/>
                  </a:moveTo>
                  <a:cubicBezTo>
                    <a:pt x="3854" y="12"/>
                    <a:pt x="3797" y="1"/>
                    <a:pt x="3727" y="0"/>
                  </a:cubicBezTo>
                  <a:cubicBezTo>
                    <a:pt x="3714" y="0"/>
                    <a:pt x="3700" y="2"/>
                    <a:pt x="3687" y="3"/>
                  </a:cubicBezTo>
                  <a:cubicBezTo>
                    <a:pt x="3664" y="4"/>
                    <a:pt x="3641" y="5"/>
                    <a:pt x="3616" y="8"/>
                  </a:cubicBezTo>
                  <a:cubicBezTo>
                    <a:pt x="3592" y="12"/>
                    <a:pt x="3567" y="16"/>
                    <a:pt x="3541" y="21"/>
                  </a:cubicBezTo>
                  <a:cubicBezTo>
                    <a:pt x="3386" y="53"/>
                    <a:pt x="3204" y="121"/>
                    <a:pt x="3005" y="222"/>
                  </a:cubicBezTo>
                  <a:cubicBezTo>
                    <a:pt x="2967" y="241"/>
                    <a:pt x="2929" y="262"/>
                    <a:pt x="2891" y="283"/>
                  </a:cubicBezTo>
                  <a:cubicBezTo>
                    <a:pt x="2851" y="305"/>
                    <a:pt x="2810" y="329"/>
                    <a:pt x="2768" y="353"/>
                  </a:cubicBezTo>
                  <a:cubicBezTo>
                    <a:pt x="2350" y="601"/>
                    <a:pt x="1878" y="968"/>
                    <a:pt x="1424" y="1424"/>
                  </a:cubicBezTo>
                  <a:cubicBezTo>
                    <a:pt x="967" y="1878"/>
                    <a:pt x="601" y="2350"/>
                    <a:pt x="353" y="2768"/>
                  </a:cubicBezTo>
                  <a:cubicBezTo>
                    <a:pt x="329" y="2810"/>
                    <a:pt x="305" y="2851"/>
                    <a:pt x="283" y="2891"/>
                  </a:cubicBezTo>
                  <a:cubicBezTo>
                    <a:pt x="261" y="2930"/>
                    <a:pt x="241" y="2968"/>
                    <a:pt x="222" y="3005"/>
                  </a:cubicBezTo>
                  <a:cubicBezTo>
                    <a:pt x="121" y="3204"/>
                    <a:pt x="53" y="3386"/>
                    <a:pt x="22" y="3540"/>
                  </a:cubicBezTo>
                  <a:cubicBezTo>
                    <a:pt x="16" y="3566"/>
                    <a:pt x="12" y="3592"/>
                    <a:pt x="8" y="3616"/>
                  </a:cubicBezTo>
                  <a:cubicBezTo>
                    <a:pt x="5" y="3641"/>
                    <a:pt x="4" y="3664"/>
                    <a:pt x="3" y="3686"/>
                  </a:cubicBezTo>
                  <a:cubicBezTo>
                    <a:pt x="2" y="3700"/>
                    <a:pt x="0" y="3714"/>
                    <a:pt x="1" y="3727"/>
                  </a:cubicBezTo>
                  <a:cubicBezTo>
                    <a:pt x="1" y="3797"/>
                    <a:pt x="12" y="3854"/>
                    <a:pt x="32" y="3902"/>
                  </a:cubicBezTo>
                  <a:cubicBezTo>
                    <a:pt x="39" y="3919"/>
                    <a:pt x="47" y="3935"/>
                    <a:pt x="56" y="3950"/>
                  </a:cubicBezTo>
                  <a:cubicBezTo>
                    <a:pt x="64" y="3949"/>
                    <a:pt x="71" y="3948"/>
                    <a:pt x="79" y="3947"/>
                  </a:cubicBezTo>
                  <a:cubicBezTo>
                    <a:pt x="147" y="3939"/>
                    <a:pt x="214" y="3929"/>
                    <a:pt x="282" y="3917"/>
                  </a:cubicBezTo>
                  <a:cubicBezTo>
                    <a:pt x="569" y="3868"/>
                    <a:pt x="852" y="3791"/>
                    <a:pt x="1127" y="3685"/>
                  </a:cubicBezTo>
                  <a:cubicBezTo>
                    <a:pt x="1087" y="3673"/>
                    <a:pt x="1050" y="3653"/>
                    <a:pt x="1020" y="3624"/>
                  </a:cubicBezTo>
                  <a:cubicBezTo>
                    <a:pt x="990" y="3594"/>
                    <a:pt x="971" y="3557"/>
                    <a:pt x="959" y="3517"/>
                  </a:cubicBezTo>
                  <a:cubicBezTo>
                    <a:pt x="953" y="3497"/>
                    <a:pt x="949" y="3476"/>
                    <a:pt x="946" y="3454"/>
                  </a:cubicBezTo>
                  <a:cubicBezTo>
                    <a:pt x="945" y="3440"/>
                    <a:pt x="943" y="3425"/>
                    <a:pt x="943" y="3410"/>
                  </a:cubicBezTo>
                  <a:cubicBezTo>
                    <a:pt x="944" y="3401"/>
                    <a:pt x="945" y="3392"/>
                    <a:pt x="945" y="3382"/>
                  </a:cubicBezTo>
                  <a:cubicBezTo>
                    <a:pt x="952" y="3271"/>
                    <a:pt x="992" y="3140"/>
                    <a:pt x="1060" y="2995"/>
                  </a:cubicBezTo>
                  <a:cubicBezTo>
                    <a:pt x="1079" y="2955"/>
                    <a:pt x="1100" y="2914"/>
                    <a:pt x="1123" y="2873"/>
                  </a:cubicBezTo>
                  <a:cubicBezTo>
                    <a:pt x="1148" y="2826"/>
                    <a:pt x="1176" y="2778"/>
                    <a:pt x="1207" y="2729"/>
                  </a:cubicBezTo>
                  <a:cubicBezTo>
                    <a:pt x="1371" y="2466"/>
                    <a:pt x="1606" y="2176"/>
                    <a:pt x="1890" y="1890"/>
                  </a:cubicBezTo>
                  <a:cubicBezTo>
                    <a:pt x="2176" y="1606"/>
                    <a:pt x="2466" y="1372"/>
                    <a:pt x="2729" y="1207"/>
                  </a:cubicBezTo>
                  <a:cubicBezTo>
                    <a:pt x="2778" y="1176"/>
                    <a:pt x="2825" y="1149"/>
                    <a:pt x="2873" y="1123"/>
                  </a:cubicBezTo>
                  <a:cubicBezTo>
                    <a:pt x="2914" y="1100"/>
                    <a:pt x="2955" y="1079"/>
                    <a:pt x="2994" y="1061"/>
                  </a:cubicBezTo>
                  <a:cubicBezTo>
                    <a:pt x="3140" y="992"/>
                    <a:pt x="3271" y="953"/>
                    <a:pt x="3382" y="946"/>
                  </a:cubicBezTo>
                  <a:cubicBezTo>
                    <a:pt x="3392" y="945"/>
                    <a:pt x="3401" y="944"/>
                    <a:pt x="3410" y="943"/>
                  </a:cubicBezTo>
                  <a:cubicBezTo>
                    <a:pt x="3425" y="943"/>
                    <a:pt x="3440" y="945"/>
                    <a:pt x="3454" y="947"/>
                  </a:cubicBezTo>
                  <a:cubicBezTo>
                    <a:pt x="3476" y="949"/>
                    <a:pt x="3497" y="953"/>
                    <a:pt x="3517" y="959"/>
                  </a:cubicBezTo>
                  <a:cubicBezTo>
                    <a:pt x="3557" y="971"/>
                    <a:pt x="3594" y="990"/>
                    <a:pt x="3624" y="1020"/>
                  </a:cubicBezTo>
                  <a:cubicBezTo>
                    <a:pt x="3649" y="1045"/>
                    <a:pt x="3667" y="1076"/>
                    <a:pt x="3679" y="1109"/>
                  </a:cubicBezTo>
                  <a:cubicBezTo>
                    <a:pt x="3774" y="856"/>
                    <a:pt x="3846" y="595"/>
                    <a:pt x="3893" y="331"/>
                  </a:cubicBezTo>
                  <a:cubicBezTo>
                    <a:pt x="3905" y="265"/>
                    <a:pt x="3915" y="198"/>
                    <a:pt x="3924" y="131"/>
                  </a:cubicBezTo>
                  <a:cubicBezTo>
                    <a:pt x="3928" y="103"/>
                    <a:pt x="3931" y="75"/>
                    <a:pt x="3934" y="47"/>
                  </a:cubicBezTo>
                  <a:cubicBezTo>
                    <a:pt x="3924" y="41"/>
                    <a:pt x="3913" y="37"/>
                    <a:pt x="3902" y="3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sp>
        <p:nvSpPr>
          <p:cNvPr id="8" name="Platshållare för bild 7"/>
          <p:cNvSpPr>
            <a:spLocks noGrp="1"/>
          </p:cNvSpPr>
          <p:nvPr>
            <p:ph type="pic" sz="quarter" idx="15" hasCustomPrompt="1"/>
          </p:nvPr>
        </p:nvSpPr>
        <p:spPr>
          <a:xfrm>
            <a:off x="4584700" y="952575"/>
            <a:ext cx="4156148" cy="3289235"/>
          </a:xfrm>
          <a:prstGeom prst="rect">
            <a:avLst/>
          </a:prstGeom>
        </p:spPr>
        <p:txBody>
          <a:bodyPr/>
          <a:lstStyle>
            <a:lvl1pPr marL="0" indent="0">
              <a:buNone/>
              <a:defRPr/>
            </a:lvl1pPr>
          </a:lstStyle>
          <a:p>
            <a:r>
              <a:rPr lang="sv-SE"/>
              <a:t> </a:t>
            </a:r>
          </a:p>
        </p:txBody>
      </p:sp>
      <p:pic>
        <p:nvPicPr>
          <p:cNvPr id="10" name="Bildobjekt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0201" y="4398480"/>
            <a:ext cx="1411510" cy="510908"/>
          </a:xfrm>
          <a:prstGeom prst="rect">
            <a:avLst/>
          </a:prstGeom>
        </p:spPr>
      </p:pic>
      <p:sp>
        <p:nvSpPr>
          <p:cNvPr id="34" name="Rubrik 33"/>
          <p:cNvSpPr>
            <a:spLocks noGrp="1"/>
          </p:cNvSpPr>
          <p:nvPr>
            <p:ph type="title" hasCustomPrompt="1"/>
          </p:nvPr>
        </p:nvSpPr>
        <p:spPr>
          <a:xfrm>
            <a:off x="381000" y="231127"/>
            <a:ext cx="7401639" cy="2007664"/>
          </a:xfrm>
          <a:prstGeom prst="rect">
            <a:avLst/>
          </a:prstGeom>
        </p:spPr>
        <p:txBody>
          <a:bodyPr lIns="0" tIns="0" rIns="0" bIns="0" anchor="t" anchorCtr="0">
            <a:normAutofit/>
          </a:bodyPr>
          <a:lstStyle>
            <a:lvl1pPr algn="l">
              <a:defRPr sz="3600">
                <a:solidFill>
                  <a:schemeClr val="bg1"/>
                </a:solidFill>
                <a:latin typeface="Calibri"/>
                <a:cs typeface="Calibri"/>
              </a:defRPr>
            </a:lvl1pPr>
          </a:lstStyle>
          <a:p>
            <a:r>
              <a:rPr lang="en-GB" noProof="0"/>
              <a:t>Heading</a:t>
            </a:r>
          </a:p>
        </p:txBody>
      </p:sp>
      <p:sp>
        <p:nvSpPr>
          <p:cNvPr id="36" name="Platshållare för text 35"/>
          <p:cNvSpPr>
            <a:spLocks noGrp="1"/>
          </p:cNvSpPr>
          <p:nvPr>
            <p:ph type="body" sz="quarter" idx="13" hasCustomPrompt="1"/>
          </p:nvPr>
        </p:nvSpPr>
        <p:spPr>
          <a:xfrm>
            <a:off x="381000" y="2502477"/>
            <a:ext cx="4203700" cy="1206396"/>
          </a:xfrm>
          <a:prstGeom prst="rect">
            <a:avLst/>
          </a:prstGeom>
        </p:spPr>
        <p:txBody>
          <a:bodyPr lIns="0" tIns="0" rIns="0" bIns="0">
            <a:noAutofit/>
          </a:bodyPr>
          <a:lstStyle>
            <a:lvl1pPr marL="0" indent="0">
              <a:buNone/>
              <a:defRPr sz="2000">
                <a:solidFill>
                  <a:srgbClr val="FFFFFF"/>
                </a:solidFill>
              </a:defRPr>
            </a:lvl1pPr>
            <a:lvl2pPr marL="0" indent="0">
              <a:buNone/>
              <a:defRPr sz="2000">
                <a:solidFill>
                  <a:srgbClr val="FFFFFF"/>
                </a:solidFill>
              </a:defRPr>
            </a:lvl2pPr>
            <a:lvl3pPr marL="0" indent="0">
              <a:buNone/>
              <a:defRPr sz="2000">
                <a:solidFill>
                  <a:srgbClr val="FFFFFF"/>
                </a:solidFill>
              </a:defRPr>
            </a:lvl3pPr>
            <a:lvl4pPr marL="0" indent="0">
              <a:buNone/>
              <a:defRPr sz="2000">
                <a:solidFill>
                  <a:srgbClr val="FFFFFF"/>
                </a:solidFill>
              </a:defRPr>
            </a:lvl4pPr>
            <a:lvl5pPr marL="0" indent="0">
              <a:buNone/>
              <a:defRPr sz="2000">
                <a:solidFill>
                  <a:srgbClr val="FFFFFF"/>
                </a:solidFill>
              </a:defRPr>
            </a:lvl5pPr>
          </a:lstStyle>
          <a:p>
            <a:pPr lvl="0"/>
            <a:r>
              <a:rPr lang="en-GB" noProof="0"/>
              <a:t>Text</a:t>
            </a:r>
          </a:p>
        </p:txBody>
      </p:sp>
      <p:sp>
        <p:nvSpPr>
          <p:cNvPr id="21" name="Platshållare för sidfot 4">
            <a:extLst>
              <a:ext uri="{FF2B5EF4-FFF2-40B4-BE49-F238E27FC236}">
                <a16:creationId xmlns:a16="http://schemas.microsoft.com/office/drawing/2014/main" id="{07C42301-73C9-4D2D-B952-1791CE2D21E6}"/>
              </a:ext>
            </a:extLst>
          </p:cNvPr>
          <p:cNvSpPr>
            <a:spLocks noGrp="1"/>
          </p:cNvSpPr>
          <p:nvPr>
            <p:ph type="ftr" sz="quarter" idx="11"/>
          </p:nvPr>
        </p:nvSpPr>
        <p:spPr>
          <a:xfrm>
            <a:off x="5824413" y="4483997"/>
            <a:ext cx="2509889" cy="382813"/>
          </a:xfrm>
          <a:prstGeom prst="rect">
            <a:avLst/>
          </a:prstGeom>
        </p:spPr>
        <p:txBody>
          <a:bodyPr lIns="0" tIns="0" rIns="0" bIns="0" anchor="b" anchorCtr="0"/>
          <a:lstStyle>
            <a:lvl1pPr algn="r">
              <a:defRPr sz="900" b="0">
                <a:solidFill>
                  <a:schemeClr val="bg1"/>
                </a:solidFill>
              </a:defRPr>
            </a:lvl1pPr>
          </a:lstStyle>
          <a:p>
            <a:r>
              <a:rPr lang="en-US"/>
              <a:t>Stakeholder Forum Agenda - Classification: External</a:t>
            </a:r>
            <a:endParaRPr lang="sv-SE"/>
          </a:p>
        </p:txBody>
      </p:sp>
      <p:sp>
        <p:nvSpPr>
          <p:cNvPr id="33" name="Platshållare för datum 3">
            <a:extLst>
              <a:ext uri="{FF2B5EF4-FFF2-40B4-BE49-F238E27FC236}">
                <a16:creationId xmlns:a16="http://schemas.microsoft.com/office/drawing/2014/main" id="{5D77C02E-7F78-4E22-918A-40B963B8F8D4}"/>
              </a:ext>
            </a:extLst>
          </p:cNvPr>
          <p:cNvSpPr>
            <a:spLocks noGrp="1"/>
          </p:cNvSpPr>
          <p:nvPr>
            <p:ph type="dt" sz="half" idx="10"/>
          </p:nvPr>
        </p:nvSpPr>
        <p:spPr>
          <a:xfrm>
            <a:off x="4734099" y="4495861"/>
            <a:ext cx="1018558" cy="370949"/>
          </a:xfrm>
          <a:prstGeom prst="rect">
            <a:avLst/>
          </a:prstGeom>
        </p:spPr>
        <p:txBody>
          <a:bodyPr lIns="0" tIns="0" rIns="0" bIns="0" anchor="b" anchorCtr="0"/>
          <a:lstStyle>
            <a:lvl1pPr algn="l">
              <a:defRPr sz="900" b="0" i="0" cap="all">
                <a:solidFill>
                  <a:schemeClr val="bg1"/>
                </a:solidFill>
              </a:defRPr>
            </a:lvl1pPr>
          </a:lstStyle>
          <a:p>
            <a:r>
              <a:rPr lang="sv-SE"/>
              <a:t>26/03/2026</a:t>
            </a:r>
          </a:p>
        </p:txBody>
      </p:sp>
      <p:sp>
        <p:nvSpPr>
          <p:cNvPr id="35" name="Platshållare för bildnummer 5">
            <a:extLst>
              <a:ext uri="{FF2B5EF4-FFF2-40B4-BE49-F238E27FC236}">
                <a16:creationId xmlns:a16="http://schemas.microsoft.com/office/drawing/2014/main" id="{F108040B-2FB9-44E4-A410-B3AB26AE1FD3}"/>
              </a:ext>
            </a:extLst>
          </p:cNvPr>
          <p:cNvSpPr>
            <a:spLocks noGrp="1"/>
          </p:cNvSpPr>
          <p:nvPr>
            <p:ph type="sldNum" sz="quarter" idx="12"/>
          </p:nvPr>
        </p:nvSpPr>
        <p:spPr>
          <a:xfrm>
            <a:off x="8383230" y="4469824"/>
            <a:ext cx="368658" cy="396987"/>
          </a:xfrm>
          <a:prstGeom prst="rect">
            <a:avLst/>
          </a:prstGeom>
          <a:noFill/>
        </p:spPr>
        <p:txBody>
          <a:bodyPr lIns="25400" tIns="0" rIns="0" bIns="0" anchor="b" anchorCtr="0"/>
          <a:lstStyle>
            <a:lvl1pPr algn="r">
              <a:defRPr sz="900">
                <a:solidFill>
                  <a:schemeClr val="bg1"/>
                </a:solidFill>
              </a:defRPr>
            </a:lvl1pPr>
          </a:lstStyle>
          <a:p>
            <a:fld id="{394EE31B-4DFC-CF4D-9A18-3F5D4D7C7302}" type="slidenum">
              <a:rPr lang="sv-SE" smtClean="0"/>
              <a:pPr/>
              <a:t>‹#›</a:t>
            </a:fld>
            <a:endParaRPr lang="sv-SE"/>
          </a:p>
        </p:txBody>
      </p:sp>
    </p:spTree>
    <p:extLst>
      <p:ext uri="{BB962C8B-B14F-4D97-AF65-F5344CB8AC3E}">
        <p14:creationId xmlns:p14="http://schemas.microsoft.com/office/powerpoint/2010/main" val="1851013725"/>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ext - Bild - x3">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p:txBody>
          <a:bodyPr/>
          <a:lstStyle/>
          <a:p>
            <a:r>
              <a:rPr lang="sv-SE"/>
              <a:t>Klicka här för att ändra mall för rubrikformat</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7" name="Platshållare för bild 6">
            <a:extLst>
              <a:ext uri="{FF2B5EF4-FFF2-40B4-BE49-F238E27FC236}">
                <a16:creationId xmlns:a16="http://schemas.microsoft.com/office/drawing/2014/main" id="{91471F07-A012-4494-9FBA-A436638F21DB}"/>
              </a:ext>
            </a:extLst>
          </p:cNvPr>
          <p:cNvSpPr>
            <a:spLocks noGrp="1"/>
          </p:cNvSpPr>
          <p:nvPr>
            <p:ph type="pic" sz="quarter" idx="21"/>
          </p:nvPr>
        </p:nvSpPr>
        <p:spPr>
          <a:xfrm>
            <a:off x="469899" y="1882777"/>
            <a:ext cx="2649537" cy="2317747"/>
          </a:xfrm>
          <a:solidFill>
            <a:schemeClr val="bg1"/>
          </a:solidFill>
        </p:spPr>
        <p:txBody>
          <a:bodyPr/>
          <a:lstStyle/>
          <a:p>
            <a:endParaRPr lang="sv-SE"/>
          </a:p>
        </p:txBody>
      </p:sp>
      <p:sp>
        <p:nvSpPr>
          <p:cNvPr id="12" name="Platshållare för bild 6">
            <a:extLst>
              <a:ext uri="{FF2B5EF4-FFF2-40B4-BE49-F238E27FC236}">
                <a16:creationId xmlns:a16="http://schemas.microsoft.com/office/drawing/2014/main" id="{C61F2317-CAC9-44D0-B224-9CEFA6C80E72}"/>
              </a:ext>
            </a:extLst>
          </p:cNvPr>
          <p:cNvSpPr>
            <a:spLocks noGrp="1"/>
          </p:cNvSpPr>
          <p:nvPr>
            <p:ph type="pic" sz="quarter" idx="23"/>
          </p:nvPr>
        </p:nvSpPr>
        <p:spPr>
          <a:xfrm>
            <a:off x="3247232" y="1882778"/>
            <a:ext cx="2649538" cy="2317747"/>
          </a:xfrm>
          <a:solidFill>
            <a:schemeClr val="bg1"/>
          </a:solidFill>
        </p:spPr>
        <p:txBody>
          <a:bodyPr/>
          <a:lstStyle/>
          <a:p>
            <a:endParaRPr lang="sv-SE"/>
          </a:p>
        </p:txBody>
      </p:sp>
      <p:sp>
        <p:nvSpPr>
          <p:cNvPr id="15" name="Platshållare för bild 6">
            <a:extLst>
              <a:ext uri="{FF2B5EF4-FFF2-40B4-BE49-F238E27FC236}">
                <a16:creationId xmlns:a16="http://schemas.microsoft.com/office/drawing/2014/main" id="{5E2A79FE-BE6F-45F0-8992-3D8953EF7B3F}"/>
              </a:ext>
            </a:extLst>
          </p:cNvPr>
          <p:cNvSpPr>
            <a:spLocks noGrp="1"/>
          </p:cNvSpPr>
          <p:nvPr>
            <p:ph type="pic" sz="quarter" idx="25"/>
          </p:nvPr>
        </p:nvSpPr>
        <p:spPr>
          <a:xfrm>
            <a:off x="6024565" y="1882778"/>
            <a:ext cx="2649538" cy="2317747"/>
          </a:xfrm>
          <a:solidFill>
            <a:schemeClr val="bg1"/>
          </a:solidFill>
        </p:spPr>
        <p:txBody>
          <a:bodyPr/>
          <a:lstStyle/>
          <a:p>
            <a:endParaRPr lang="sv-SE"/>
          </a:p>
        </p:txBody>
      </p:sp>
      <p:sp>
        <p:nvSpPr>
          <p:cNvPr id="6" name="Platshållare för text 5">
            <a:extLst>
              <a:ext uri="{FF2B5EF4-FFF2-40B4-BE49-F238E27FC236}">
                <a16:creationId xmlns:a16="http://schemas.microsoft.com/office/drawing/2014/main" id="{66174F02-3D0F-40FC-901E-690F9494E01F}"/>
              </a:ext>
            </a:extLst>
          </p:cNvPr>
          <p:cNvSpPr>
            <a:spLocks noGrp="1"/>
          </p:cNvSpPr>
          <p:nvPr>
            <p:ph type="body" sz="quarter" idx="26"/>
          </p:nvPr>
        </p:nvSpPr>
        <p:spPr>
          <a:xfrm>
            <a:off x="469900" y="1068388"/>
            <a:ext cx="2649538" cy="687387"/>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9" name="Platshållare för text 8">
            <a:extLst>
              <a:ext uri="{FF2B5EF4-FFF2-40B4-BE49-F238E27FC236}">
                <a16:creationId xmlns:a16="http://schemas.microsoft.com/office/drawing/2014/main" id="{EDF58044-3470-4571-8B6B-D89CDCCCD1E4}"/>
              </a:ext>
            </a:extLst>
          </p:cNvPr>
          <p:cNvSpPr>
            <a:spLocks noGrp="1"/>
          </p:cNvSpPr>
          <p:nvPr>
            <p:ph type="body" sz="quarter" idx="27"/>
          </p:nvPr>
        </p:nvSpPr>
        <p:spPr>
          <a:xfrm>
            <a:off x="3248025" y="1068388"/>
            <a:ext cx="2649538" cy="687387"/>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9" name="Platshållare för text 8">
            <a:extLst>
              <a:ext uri="{FF2B5EF4-FFF2-40B4-BE49-F238E27FC236}">
                <a16:creationId xmlns:a16="http://schemas.microsoft.com/office/drawing/2014/main" id="{9BD71A1E-C633-4C34-976D-629993993EAF}"/>
              </a:ext>
            </a:extLst>
          </p:cNvPr>
          <p:cNvSpPr>
            <a:spLocks noGrp="1"/>
          </p:cNvSpPr>
          <p:nvPr>
            <p:ph type="body" sz="quarter" idx="28"/>
          </p:nvPr>
        </p:nvSpPr>
        <p:spPr>
          <a:xfrm>
            <a:off x="6022975" y="1068388"/>
            <a:ext cx="2649538" cy="687387"/>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21" name="Platshållare för text 12">
            <a:extLst>
              <a:ext uri="{FF2B5EF4-FFF2-40B4-BE49-F238E27FC236}">
                <a16:creationId xmlns:a16="http://schemas.microsoft.com/office/drawing/2014/main" id="{734ABB8C-17B1-4BA7-BF38-92CBF976F97B}"/>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22" name="Platshållare för sidfot 5">
            <a:extLst>
              <a:ext uri="{FF2B5EF4-FFF2-40B4-BE49-F238E27FC236}">
                <a16:creationId xmlns:a16="http://schemas.microsoft.com/office/drawing/2014/main" id="{AD4E3B89-8B6B-4242-ADBF-1D198CAC1217}"/>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32419811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Bild - text - x 3">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p:txBody>
          <a:bodyPr/>
          <a:lstStyle/>
          <a:p>
            <a:r>
              <a:rPr lang="sv-SE"/>
              <a:t>Klicka här för att ändra mall för rubrikformat</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7" name="Platshållare för bild 6">
            <a:extLst>
              <a:ext uri="{FF2B5EF4-FFF2-40B4-BE49-F238E27FC236}">
                <a16:creationId xmlns:a16="http://schemas.microsoft.com/office/drawing/2014/main" id="{91471F07-A012-4494-9FBA-A436638F21DB}"/>
              </a:ext>
            </a:extLst>
          </p:cNvPr>
          <p:cNvSpPr>
            <a:spLocks noGrp="1"/>
          </p:cNvSpPr>
          <p:nvPr>
            <p:ph type="pic" sz="quarter" idx="21"/>
          </p:nvPr>
        </p:nvSpPr>
        <p:spPr>
          <a:xfrm>
            <a:off x="469901" y="1084493"/>
            <a:ext cx="2649537" cy="798281"/>
          </a:xfrm>
          <a:solidFill>
            <a:schemeClr val="bg2"/>
          </a:solidFill>
        </p:spPr>
        <p:txBody>
          <a:bodyPr/>
          <a:lstStyle/>
          <a:p>
            <a:endParaRPr lang="sv-SE"/>
          </a:p>
        </p:txBody>
      </p:sp>
      <p:sp>
        <p:nvSpPr>
          <p:cNvPr id="17" name="Platshållare för bild 6">
            <a:extLst>
              <a:ext uri="{FF2B5EF4-FFF2-40B4-BE49-F238E27FC236}">
                <a16:creationId xmlns:a16="http://schemas.microsoft.com/office/drawing/2014/main" id="{52FBB32F-EEC4-49D4-A2F4-66D4E84CFE09}"/>
              </a:ext>
            </a:extLst>
          </p:cNvPr>
          <p:cNvSpPr>
            <a:spLocks noGrp="1"/>
          </p:cNvSpPr>
          <p:nvPr>
            <p:ph type="pic" sz="quarter" idx="23"/>
          </p:nvPr>
        </p:nvSpPr>
        <p:spPr>
          <a:xfrm>
            <a:off x="3247231" y="1068388"/>
            <a:ext cx="2649537" cy="830262"/>
          </a:xfrm>
          <a:solidFill>
            <a:schemeClr val="bg2"/>
          </a:solidFill>
        </p:spPr>
        <p:txBody>
          <a:bodyPr/>
          <a:lstStyle/>
          <a:p>
            <a:endParaRPr lang="sv-SE"/>
          </a:p>
        </p:txBody>
      </p:sp>
      <p:sp>
        <p:nvSpPr>
          <p:cNvPr id="19" name="Platshållare för bild 6">
            <a:extLst>
              <a:ext uri="{FF2B5EF4-FFF2-40B4-BE49-F238E27FC236}">
                <a16:creationId xmlns:a16="http://schemas.microsoft.com/office/drawing/2014/main" id="{D423BCBB-304C-4A66-9FDC-ADB347C765E2}"/>
              </a:ext>
            </a:extLst>
          </p:cNvPr>
          <p:cNvSpPr>
            <a:spLocks noGrp="1"/>
          </p:cNvSpPr>
          <p:nvPr>
            <p:ph type="pic" sz="quarter" idx="25"/>
          </p:nvPr>
        </p:nvSpPr>
        <p:spPr>
          <a:xfrm>
            <a:off x="6024563" y="1068388"/>
            <a:ext cx="2649537" cy="830262"/>
          </a:xfrm>
          <a:solidFill>
            <a:schemeClr val="bg2"/>
          </a:solidFill>
        </p:spPr>
        <p:txBody>
          <a:bodyPr/>
          <a:lstStyle/>
          <a:p>
            <a:endParaRPr lang="sv-SE"/>
          </a:p>
        </p:txBody>
      </p:sp>
      <p:sp>
        <p:nvSpPr>
          <p:cNvPr id="6" name="Platshållare för text 5">
            <a:extLst>
              <a:ext uri="{FF2B5EF4-FFF2-40B4-BE49-F238E27FC236}">
                <a16:creationId xmlns:a16="http://schemas.microsoft.com/office/drawing/2014/main" id="{A4061435-5D1A-4338-89B7-26DFC81BD5AB}"/>
              </a:ext>
            </a:extLst>
          </p:cNvPr>
          <p:cNvSpPr>
            <a:spLocks noGrp="1"/>
          </p:cNvSpPr>
          <p:nvPr>
            <p:ph type="body" sz="quarter" idx="26"/>
          </p:nvPr>
        </p:nvSpPr>
        <p:spPr>
          <a:xfrm>
            <a:off x="469900" y="1882775"/>
            <a:ext cx="2649538" cy="2301875"/>
          </a:xfrm>
        </p:spPr>
        <p:txBody>
          <a:bodyPr lIns="126000" tIns="126000" rIns="126000" bIns="12600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22" name="Platshållare för text 5">
            <a:extLst>
              <a:ext uri="{FF2B5EF4-FFF2-40B4-BE49-F238E27FC236}">
                <a16:creationId xmlns:a16="http://schemas.microsoft.com/office/drawing/2014/main" id="{BAEFD451-4481-40DD-8FF6-2B8890CE51BD}"/>
              </a:ext>
            </a:extLst>
          </p:cNvPr>
          <p:cNvSpPr>
            <a:spLocks noGrp="1"/>
          </p:cNvSpPr>
          <p:nvPr>
            <p:ph type="body" sz="quarter" idx="27"/>
          </p:nvPr>
        </p:nvSpPr>
        <p:spPr>
          <a:xfrm>
            <a:off x="3246437" y="1898650"/>
            <a:ext cx="2649538" cy="2301875"/>
          </a:xfrm>
        </p:spPr>
        <p:txBody>
          <a:bodyPr lIns="126000" tIns="126000" rIns="126000" bIns="12600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23" name="Platshållare för text 5">
            <a:extLst>
              <a:ext uri="{FF2B5EF4-FFF2-40B4-BE49-F238E27FC236}">
                <a16:creationId xmlns:a16="http://schemas.microsoft.com/office/drawing/2014/main" id="{AA53869B-B93C-417E-A242-6E46EA517492}"/>
              </a:ext>
            </a:extLst>
          </p:cNvPr>
          <p:cNvSpPr>
            <a:spLocks noGrp="1"/>
          </p:cNvSpPr>
          <p:nvPr>
            <p:ph type="body" sz="quarter" idx="28"/>
          </p:nvPr>
        </p:nvSpPr>
        <p:spPr>
          <a:xfrm>
            <a:off x="6022974" y="1898650"/>
            <a:ext cx="2649538" cy="2301875"/>
          </a:xfrm>
        </p:spPr>
        <p:txBody>
          <a:bodyPr lIns="126000" tIns="126000" rIns="126000" bIns="12600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6" name="Platshållare för text 12">
            <a:extLst>
              <a:ext uri="{FF2B5EF4-FFF2-40B4-BE49-F238E27FC236}">
                <a16:creationId xmlns:a16="http://schemas.microsoft.com/office/drawing/2014/main" id="{C95A4CC1-A75E-4651-A1D0-38B7433EF39D}"/>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18" name="Platshållare för sidfot 5">
            <a:extLst>
              <a:ext uri="{FF2B5EF4-FFF2-40B4-BE49-F238E27FC236}">
                <a16:creationId xmlns:a16="http://schemas.microsoft.com/office/drawing/2014/main" id="{C5CEC43F-1299-4534-85D4-36194336B0C0}"/>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8903476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ext - Text - Rut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p:txBody>
          <a:bodyPr/>
          <a:lstStyle/>
          <a:p>
            <a:r>
              <a:rPr lang="sv-SE"/>
              <a:t>Klicka här för att ändra mall för rubrikformat</a:t>
            </a:r>
          </a:p>
        </p:txBody>
      </p:sp>
      <p:sp>
        <p:nvSpPr>
          <p:cNvPr id="8" name="Platshållare för innehåll 2">
            <a:extLst>
              <a:ext uri="{FF2B5EF4-FFF2-40B4-BE49-F238E27FC236}">
                <a16:creationId xmlns:a16="http://schemas.microsoft.com/office/drawing/2014/main" id="{4BEEC24F-2690-432A-92D2-A22987A0D71E}"/>
              </a:ext>
            </a:extLst>
          </p:cNvPr>
          <p:cNvSpPr>
            <a:spLocks noGrp="1"/>
          </p:cNvSpPr>
          <p:nvPr>
            <p:ph idx="14"/>
          </p:nvPr>
        </p:nvSpPr>
        <p:spPr>
          <a:xfrm>
            <a:off x="6024562" y="1079898"/>
            <a:ext cx="2649538" cy="3122215"/>
          </a:xfrm>
          <a:solidFill>
            <a:schemeClr val="accent2"/>
          </a:solidFill>
        </p:spPr>
        <p:txBody>
          <a:bodyPr lIns="127000" tIns="127000" rIns="127000" bIns="127000"/>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16" name="Platshållare för text 6">
            <a:extLst>
              <a:ext uri="{FF2B5EF4-FFF2-40B4-BE49-F238E27FC236}">
                <a16:creationId xmlns:a16="http://schemas.microsoft.com/office/drawing/2014/main" id="{9E60562C-9D36-4412-9152-53D7125F7E89}"/>
              </a:ext>
            </a:extLst>
          </p:cNvPr>
          <p:cNvSpPr>
            <a:spLocks noGrp="1"/>
          </p:cNvSpPr>
          <p:nvPr>
            <p:ph type="body" sz="quarter" idx="21"/>
          </p:nvPr>
        </p:nvSpPr>
        <p:spPr>
          <a:xfrm>
            <a:off x="469899" y="1068388"/>
            <a:ext cx="2649538" cy="312261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8" name="Platshållare för text 6">
            <a:extLst>
              <a:ext uri="{FF2B5EF4-FFF2-40B4-BE49-F238E27FC236}">
                <a16:creationId xmlns:a16="http://schemas.microsoft.com/office/drawing/2014/main" id="{3D6E2069-EB39-46A7-BD8D-947D9F93C8D2}"/>
              </a:ext>
            </a:extLst>
          </p:cNvPr>
          <p:cNvSpPr>
            <a:spLocks noGrp="1"/>
          </p:cNvSpPr>
          <p:nvPr>
            <p:ph type="body" sz="quarter" idx="22"/>
          </p:nvPr>
        </p:nvSpPr>
        <p:spPr>
          <a:xfrm>
            <a:off x="3247231" y="1068388"/>
            <a:ext cx="2649538" cy="312261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20" name="Platshållare för text 12">
            <a:extLst>
              <a:ext uri="{FF2B5EF4-FFF2-40B4-BE49-F238E27FC236}">
                <a16:creationId xmlns:a16="http://schemas.microsoft.com/office/drawing/2014/main" id="{1E412DD4-DDDE-43C8-B2B3-3C09F2A8E2CE}"/>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21" name="Platshållare för sidfot 5">
            <a:extLst>
              <a:ext uri="{FF2B5EF4-FFF2-40B4-BE49-F238E27FC236}">
                <a16:creationId xmlns:a16="http://schemas.microsoft.com/office/drawing/2014/main" id="{38F9A146-FD87-4C1E-A2C0-7F9A3D7AB28F}"/>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40718438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ext - Ruta">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p:txBody>
          <a:bodyPr/>
          <a:lstStyle/>
          <a:p>
            <a:r>
              <a:rPr lang="sv-SE"/>
              <a:t>Klicka här för att ändra mall för rubrikformat</a:t>
            </a:r>
          </a:p>
        </p:txBody>
      </p:sp>
      <p:sp>
        <p:nvSpPr>
          <p:cNvPr id="8" name="Platshållare för innehåll 2">
            <a:extLst>
              <a:ext uri="{FF2B5EF4-FFF2-40B4-BE49-F238E27FC236}">
                <a16:creationId xmlns:a16="http://schemas.microsoft.com/office/drawing/2014/main" id="{4BEEC24F-2690-432A-92D2-A22987A0D71E}"/>
              </a:ext>
            </a:extLst>
          </p:cNvPr>
          <p:cNvSpPr>
            <a:spLocks noGrp="1"/>
          </p:cNvSpPr>
          <p:nvPr>
            <p:ph idx="14"/>
          </p:nvPr>
        </p:nvSpPr>
        <p:spPr>
          <a:xfrm>
            <a:off x="4635500" y="1079898"/>
            <a:ext cx="4038600" cy="3122215"/>
          </a:xfrm>
          <a:solidFill>
            <a:schemeClr val="accent2"/>
          </a:solidFill>
        </p:spPr>
        <p:txBody>
          <a:bodyPr lIns="127000" tIns="127000" rIns="127000" bIns="127000"/>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14" name="Platshållare för text 6">
            <a:extLst>
              <a:ext uri="{FF2B5EF4-FFF2-40B4-BE49-F238E27FC236}">
                <a16:creationId xmlns:a16="http://schemas.microsoft.com/office/drawing/2014/main" id="{D0EDB5EA-7963-4BB8-AA0A-CAF1F04840CF}"/>
              </a:ext>
            </a:extLst>
          </p:cNvPr>
          <p:cNvSpPr>
            <a:spLocks noGrp="1"/>
          </p:cNvSpPr>
          <p:nvPr>
            <p:ph type="body" sz="quarter" idx="21"/>
          </p:nvPr>
        </p:nvSpPr>
        <p:spPr>
          <a:xfrm>
            <a:off x="469898" y="1068388"/>
            <a:ext cx="4038599" cy="312261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6" name="Platshållare för text 12">
            <a:extLst>
              <a:ext uri="{FF2B5EF4-FFF2-40B4-BE49-F238E27FC236}">
                <a16:creationId xmlns:a16="http://schemas.microsoft.com/office/drawing/2014/main" id="{08166070-FE88-4C3A-9085-664169F6AE9E}"/>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17" name="Platshållare för sidfot 5">
            <a:extLst>
              <a:ext uri="{FF2B5EF4-FFF2-40B4-BE49-F238E27FC236}">
                <a16:creationId xmlns:a16="http://schemas.microsoft.com/office/drawing/2014/main" id="{6B75F921-C070-4887-93D6-89DF9746785F}"/>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31195124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Bild - Ruta x 4">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p:txBody>
          <a:bodyPr/>
          <a:lstStyle/>
          <a:p>
            <a:r>
              <a:rPr lang="sv-SE"/>
              <a:t>Klicka här för att ändra mall för rubrikformat</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7" name="Platshållare för bild 6">
            <a:extLst>
              <a:ext uri="{FF2B5EF4-FFF2-40B4-BE49-F238E27FC236}">
                <a16:creationId xmlns:a16="http://schemas.microsoft.com/office/drawing/2014/main" id="{91471F07-A012-4494-9FBA-A436638F21DB}"/>
              </a:ext>
            </a:extLst>
          </p:cNvPr>
          <p:cNvSpPr>
            <a:spLocks noGrp="1"/>
          </p:cNvSpPr>
          <p:nvPr>
            <p:ph type="pic" sz="quarter" idx="21"/>
          </p:nvPr>
        </p:nvSpPr>
        <p:spPr>
          <a:xfrm>
            <a:off x="469902" y="1084493"/>
            <a:ext cx="1941510" cy="798281"/>
          </a:xfrm>
          <a:solidFill>
            <a:schemeClr val="bg1"/>
          </a:solidFill>
        </p:spPr>
        <p:txBody>
          <a:bodyPr/>
          <a:lstStyle/>
          <a:p>
            <a:endParaRPr lang="sv-SE"/>
          </a:p>
        </p:txBody>
      </p:sp>
      <p:sp>
        <p:nvSpPr>
          <p:cNvPr id="17" name="Platshållare för bild 6">
            <a:extLst>
              <a:ext uri="{FF2B5EF4-FFF2-40B4-BE49-F238E27FC236}">
                <a16:creationId xmlns:a16="http://schemas.microsoft.com/office/drawing/2014/main" id="{52FBB32F-EEC4-49D4-A2F4-66D4E84CFE09}"/>
              </a:ext>
            </a:extLst>
          </p:cNvPr>
          <p:cNvSpPr>
            <a:spLocks noGrp="1"/>
          </p:cNvSpPr>
          <p:nvPr>
            <p:ph type="pic" sz="quarter" idx="23"/>
          </p:nvPr>
        </p:nvSpPr>
        <p:spPr>
          <a:xfrm>
            <a:off x="2552701" y="1086081"/>
            <a:ext cx="1955800" cy="798281"/>
          </a:xfrm>
          <a:solidFill>
            <a:schemeClr val="bg1"/>
          </a:solidFill>
        </p:spPr>
        <p:txBody>
          <a:bodyPr/>
          <a:lstStyle/>
          <a:p>
            <a:endParaRPr lang="sv-SE"/>
          </a:p>
        </p:txBody>
      </p:sp>
      <p:sp>
        <p:nvSpPr>
          <p:cNvPr id="15" name="Platshållare för bild 6">
            <a:extLst>
              <a:ext uri="{FF2B5EF4-FFF2-40B4-BE49-F238E27FC236}">
                <a16:creationId xmlns:a16="http://schemas.microsoft.com/office/drawing/2014/main" id="{8AAA9E83-4030-4A60-AF32-C442ECD44016}"/>
              </a:ext>
            </a:extLst>
          </p:cNvPr>
          <p:cNvSpPr>
            <a:spLocks noGrp="1"/>
          </p:cNvSpPr>
          <p:nvPr>
            <p:ph type="pic" sz="quarter" idx="28"/>
          </p:nvPr>
        </p:nvSpPr>
        <p:spPr>
          <a:xfrm>
            <a:off x="4635500" y="1082906"/>
            <a:ext cx="1955799" cy="798281"/>
          </a:xfrm>
          <a:solidFill>
            <a:schemeClr val="bg1"/>
          </a:solidFill>
        </p:spPr>
        <p:txBody>
          <a:bodyPr/>
          <a:lstStyle/>
          <a:p>
            <a:endParaRPr lang="sv-SE"/>
          </a:p>
        </p:txBody>
      </p:sp>
      <p:sp>
        <p:nvSpPr>
          <p:cNvPr id="20" name="Platshållare för bild 6">
            <a:extLst>
              <a:ext uri="{FF2B5EF4-FFF2-40B4-BE49-F238E27FC236}">
                <a16:creationId xmlns:a16="http://schemas.microsoft.com/office/drawing/2014/main" id="{9F11CFDB-758D-487D-802F-B7E5471176D5}"/>
              </a:ext>
            </a:extLst>
          </p:cNvPr>
          <p:cNvSpPr>
            <a:spLocks noGrp="1"/>
          </p:cNvSpPr>
          <p:nvPr>
            <p:ph type="pic" sz="quarter" idx="29"/>
          </p:nvPr>
        </p:nvSpPr>
        <p:spPr>
          <a:xfrm>
            <a:off x="6718300" y="1084494"/>
            <a:ext cx="1955800" cy="798281"/>
          </a:xfrm>
          <a:solidFill>
            <a:schemeClr val="bg1"/>
          </a:solidFill>
        </p:spPr>
        <p:txBody>
          <a:bodyPr/>
          <a:lstStyle/>
          <a:p>
            <a:endParaRPr lang="sv-SE"/>
          </a:p>
        </p:txBody>
      </p:sp>
      <p:sp>
        <p:nvSpPr>
          <p:cNvPr id="6" name="Platshållare för text 5">
            <a:extLst>
              <a:ext uri="{FF2B5EF4-FFF2-40B4-BE49-F238E27FC236}">
                <a16:creationId xmlns:a16="http://schemas.microsoft.com/office/drawing/2014/main" id="{AEF929CF-BB95-4BB6-AA69-FFFF0B716106}"/>
              </a:ext>
            </a:extLst>
          </p:cNvPr>
          <p:cNvSpPr>
            <a:spLocks noGrp="1"/>
          </p:cNvSpPr>
          <p:nvPr>
            <p:ph type="body" sz="quarter" idx="31"/>
          </p:nvPr>
        </p:nvSpPr>
        <p:spPr>
          <a:xfrm>
            <a:off x="469900" y="1882775"/>
            <a:ext cx="1941512" cy="2316163"/>
          </a:xfrm>
          <a:solidFill>
            <a:schemeClr val="accent2"/>
          </a:solidFill>
        </p:spPr>
        <p:txBody>
          <a:bodyPr lIns="126000" tIns="126000" rIns="126000" bIns="126000"/>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9" name="Platshållare för text 5">
            <a:extLst>
              <a:ext uri="{FF2B5EF4-FFF2-40B4-BE49-F238E27FC236}">
                <a16:creationId xmlns:a16="http://schemas.microsoft.com/office/drawing/2014/main" id="{6605763F-E2A8-4E46-9F6D-89C91EABB43F}"/>
              </a:ext>
            </a:extLst>
          </p:cNvPr>
          <p:cNvSpPr>
            <a:spLocks noGrp="1"/>
          </p:cNvSpPr>
          <p:nvPr>
            <p:ph type="body" sz="quarter" idx="32"/>
          </p:nvPr>
        </p:nvSpPr>
        <p:spPr>
          <a:xfrm>
            <a:off x="2552695" y="1890712"/>
            <a:ext cx="1955800" cy="2316163"/>
          </a:xfrm>
          <a:solidFill>
            <a:schemeClr val="accent1"/>
          </a:solidFill>
        </p:spPr>
        <p:txBody>
          <a:bodyPr lIns="126000" tIns="126000" rIns="126000" bIns="126000"/>
          <a:lstStyle>
            <a:lvl1pPr>
              <a:buClr>
                <a:schemeClr val="accent2"/>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24" name="Platshållare för text 5">
            <a:extLst>
              <a:ext uri="{FF2B5EF4-FFF2-40B4-BE49-F238E27FC236}">
                <a16:creationId xmlns:a16="http://schemas.microsoft.com/office/drawing/2014/main" id="{F44F7600-4B80-454C-8624-9DF1563ECAC8}"/>
              </a:ext>
            </a:extLst>
          </p:cNvPr>
          <p:cNvSpPr>
            <a:spLocks noGrp="1"/>
          </p:cNvSpPr>
          <p:nvPr>
            <p:ph type="body" sz="quarter" idx="33"/>
          </p:nvPr>
        </p:nvSpPr>
        <p:spPr>
          <a:xfrm>
            <a:off x="4635505" y="1893887"/>
            <a:ext cx="1955800" cy="2316163"/>
          </a:xfrm>
          <a:solidFill>
            <a:schemeClr val="accent2"/>
          </a:solidFill>
        </p:spPr>
        <p:txBody>
          <a:bodyPr lIns="126000" tIns="126000" rIns="126000" bIns="126000"/>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25" name="Platshållare för text 5">
            <a:extLst>
              <a:ext uri="{FF2B5EF4-FFF2-40B4-BE49-F238E27FC236}">
                <a16:creationId xmlns:a16="http://schemas.microsoft.com/office/drawing/2014/main" id="{5F844BFA-3349-4614-BDF4-171CF493C5A0}"/>
              </a:ext>
            </a:extLst>
          </p:cNvPr>
          <p:cNvSpPr>
            <a:spLocks noGrp="1"/>
          </p:cNvSpPr>
          <p:nvPr>
            <p:ph type="body" sz="quarter" idx="34"/>
          </p:nvPr>
        </p:nvSpPr>
        <p:spPr>
          <a:xfrm>
            <a:off x="6718300" y="1882776"/>
            <a:ext cx="1955800" cy="2335212"/>
          </a:xfrm>
          <a:solidFill>
            <a:schemeClr val="accent1"/>
          </a:solidFill>
        </p:spPr>
        <p:txBody>
          <a:bodyPr lIns="126000" tIns="126000" rIns="126000" bIns="126000"/>
          <a:lstStyle>
            <a:lvl1pPr>
              <a:buClr>
                <a:schemeClr val="accent2"/>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21" name="Platshållare för text 12">
            <a:extLst>
              <a:ext uri="{FF2B5EF4-FFF2-40B4-BE49-F238E27FC236}">
                <a16:creationId xmlns:a16="http://schemas.microsoft.com/office/drawing/2014/main" id="{C3C183BB-A7D8-4AF4-A1CF-2642A3BB3105}"/>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26" name="Platshållare för sidfot 5">
            <a:extLst>
              <a:ext uri="{FF2B5EF4-FFF2-40B4-BE49-F238E27FC236}">
                <a16:creationId xmlns:a16="http://schemas.microsoft.com/office/drawing/2014/main" id="{D43F99FA-9CA2-4285-A0E1-345D464C30C8}"/>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20782949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Ruta - Text - x 3">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p:txBody>
          <a:bodyPr/>
          <a:lstStyle/>
          <a:p>
            <a:r>
              <a:rPr lang="sv-SE"/>
              <a:t>Klicka här för att ändra mall för rubrikformat</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17" name="Platshållare för text 6">
            <a:extLst>
              <a:ext uri="{FF2B5EF4-FFF2-40B4-BE49-F238E27FC236}">
                <a16:creationId xmlns:a16="http://schemas.microsoft.com/office/drawing/2014/main" id="{6B101CEA-CBDE-4223-AB0A-878BB589A73F}"/>
              </a:ext>
            </a:extLst>
          </p:cNvPr>
          <p:cNvSpPr>
            <a:spLocks noGrp="1"/>
          </p:cNvSpPr>
          <p:nvPr>
            <p:ph type="body" sz="quarter" idx="21"/>
          </p:nvPr>
        </p:nvSpPr>
        <p:spPr>
          <a:xfrm>
            <a:off x="469900" y="1882775"/>
            <a:ext cx="1943107" cy="2308225"/>
          </a:xfrm>
          <a:solidFill>
            <a:schemeClr val="bg1"/>
          </a:solidFill>
          <a:ln>
            <a:solidFill>
              <a:schemeClr val="accent2"/>
            </a:solidFill>
          </a:ln>
        </p:spPr>
        <p:txBody>
          <a:bodyPr lIns="126000" tIns="126000" rIns="126000" bIns="12600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8" name="Platshållare för text 6">
            <a:extLst>
              <a:ext uri="{FF2B5EF4-FFF2-40B4-BE49-F238E27FC236}">
                <a16:creationId xmlns:a16="http://schemas.microsoft.com/office/drawing/2014/main" id="{6E29364A-B60E-44F0-BABD-98F1C13C592D}"/>
              </a:ext>
            </a:extLst>
          </p:cNvPr>
          <p:cNvSpPr>
            <a:spLocks noGrp="1"/>
          </p:cNvSpPr>
          <p:nvPr>
            <p:ph type="body" sz="quarter" idx="33"/>
          </p:nvPr>
        </p:nvSpPr>
        <p:spPr>
          <a:xfrm>
            <a:off x="2563820" y="1882774"/>
            <a:ext cx="1951032" cy="2317751"/>
          </a:xfrm>
          <a:solidFill>
            <a:schemeClr val="bg1"/>
          </a:solidFill>
          <a:ln>
            <a:solidFill>
              <a:schemeClr val="accent1"/>
            </a:solidFill>
          </a:ln>
        </p:spPr>
        <p:txBody>
          <a:bodyPr lIns="126000" tIns="126000" rIns="126000" bIns="126000">
            <a:noAutofit/>
          </a:bodyPr>
          <a:lstStyle>
            <a:lvl1pPr>
              <a:buClr>
                <a:schemeClr val="accent1"/>
              </a:buClr>
              <a:defRPr/>
            </a:lvl1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22" name="Platshållare för text 5">
            <a:extLst>
              <a:ext uri="{FF2B5EF4-FFF2-40B4-BE49-F238E27FC236}">
                <a16:creationId xmlns:a16="http://schemas.microsoft.com/office/drawing/2014/main" id="{908F6063-9CDE-4241-A385-6588FEF33D5C}"/>
              </a:ext>
            </a:extLst>
          </p:cNvPr>
          <p:cNvSpPr>
            <a:spLocks noGrp="1"/>
          </p:cNvSpPr>
          <p:nvPr>
            <p:ph type="body" sz="quarter" idx="31"/>
          </p:nvPr>
        </p:nvSpPr>
        <p:spPr>
          <a:xfrm>
            <a:off x="469900" y="1064389"/>
            <a:ext cx="1941513" cy="818385"/>
          </a:xfrm>
          <a:solidFill>
            <a:schemeClr val="accent2"/>
          </a:solidFill>
          <a:ln>
            <a:solidFill>
              <a:schemeClr val="accent2"/>
            </a:solidFill>
          </a:ln>
        </p:spPr>
        <p:txBody>
          <a:bodyPr lIns="126000" tIns="126000" rIns="126000" bIns="126000"/>
          <a:lstStyle>
            <a:lvl1pPr marL="0" indent="0">
              <a:buClr>
                <a:schemeClr val="bg1"/>
              </a:buClr>
              <a:buFontTx/>
              <a:buNone/>
              <a:defRPr b="1">
                <a:solidFill>
                  <a:schemeClr val="bg1"/>
                </a:solidFill>
              </a:defRPr>
            </a:lvl1pPr>
            <a:lvl2pPr marL="144000" indent="0">
              <a:buFontTx/>
              <a:buNone/>
              <a:defRPr b="1">
                <a:solidFill>
                  <a:schemeClr val="bg1"/>
                </a:solidFill>
              </a:defRPr>
            </a:lvl2pPr>
            <a:lvl3pPr marL="288000" indent="0">
              <a:buFontTx/>
              <a:buNone/>
              <a:defRPr b="1">
                <a:solidFill>
                  <a:schemeClr val="bg1"/>
                </a:solidFill>
              </a:defRPr>
            </a:lvl3pPr>
            <a:lvl4pPr marL="432000" indent="0">
              <a:buFontTx/>
              <a:buNone/>
              <a:defRPr b="1">
                <a:solidFill>
                  <a:schemeClr val="bg1"/>
                </a:solidFill>
              </a:defRPr>
            </a:lvl4pPr>
            <a:lvl5pPr marL="576000" indent="0">
              <a:buFontTx/>
              <a:buNone/>
              <a:defRPr b="1">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29" name="Platshållare för text 5">
            <a:extLst>
              <a:ext uri="{FF2B5EF4-FFF2-40B4-BE49-F238E27FC236}">
                <a16:creationId xmlns:a16="http://schemas.microsoft.com/office/drawing/2014/main" id="{2A2747AD-EBD0-427A-BA9E-A8BF2F915028}"/>
              </a:ext>
            </a:extLst>
          </p:cNvPr>
          <p:cNvSpPr>
            <a:spLocks noGrp="1"/>
          </p:cNvSpPr>
          <p:nvPr>
            <p:ph type="body" sz="quarter" idx="36"/>
          </p:nvPr>
        </p:nvSpPr>
        <p:spPr>
          <a:xfrm>
            <a:off x="2562227" y="1073915"/>
            <a:ext cx="1947866" cy="818385"/>
          </a:xfrm>
          <a:solidFill>
            <a:schemeClr val="accent1"/>
          </a:solidFill>
          <a:ln>
            <a:solidFill>
              <a:schemeClr val="accent1"/>
            </a:solidFill>
          </a:ln>
        </p:spPr>
        <p:txBody>
          <a:bodyPr lIns="126000" tIns="126000" rIns="126000" bIns="126000"/>
          <a:lstStyle>
            <a:lvl1pPr marL="0" indent="0">
              <a:buClr>
                <a:schemeClr val="bg1"/>
              </a:buClr>
              <a:buFontTx/>
              <a:buNone/>
              <a:defRPr b="1">
                <a:solidFill>
                  <a:schemeClr val="bg1"/>
                </a:solidFill>
              </a:defRPr>
            </a:lvl1pPr>
            <a:lvl2pPr marL="144000" indent="0">
              <a:buFontTx/>
              <a:buNone/>
              <a:defRPr b="1">
                <a:solidFill>
                  <a:schemeClr val="bg1"/>
                </a:solidFill>
              </a:defRPr>
            </a:lvl2pPr>
            <a:lvl3pPr marL="288000" indent="0">
              <a:buFontTx/>
              <a:buNone/>
              <a:defRPr b="1">
                <a:solidFill>
                  <a:schemeClr val="bg1"/>
                </a:solidFill>
              </a:defRPr>
            </a:lvl3pPr>
            <a:lvl4pPr marL="432000" indent="0">
              <a:buFontTx/>
              <a:buNone/>
              <a:defRPr b="1">
                <a:solidFill>
                  <a:schemeClr val="bg1"/>
                </a:solidFill>
              </a:defRPr>
            </a:lvl4pPr>
            <a:lvl5pPr marL="576000" indent="0">
              <a:buFontTx/>
              <a:buNone/>
              <a:defRPr b="1">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30" name="Platshållare för text 6">
            <a:extLst>
              <a:ext uri="{FF2B5EF4-FFF2-40B4-BE49-F238E27FC236}">
                <a16:creationId xmlns:a16="http://schemas.microsoft.com/office/drawing/2014/main" id="{8171A0B6-565F-4A5F-AD8B-CADCF0D92AAA}"/>
              </a:ext>
            </a:extLst>
          </p:cNvPr>
          <p:cNvSpPr>
            <a:spLocks noGrp="1"/>
          </p:cNvSpPr>
          <p:nvPr>
            <p:ph type="body" sz="quarter" idx="37"/>
          </p:nvPr>
        </p:nvSpPr>
        <p:spPr>
          <a:xfrm>
            <a:off x="4643433" y="1892300"/>
            <a:ext cx="1947867" cy="2308225"/>
          </a:xfrm>
          <a:solidFill>
            <a:schemeClr val="bg1"/>
          </a:solidFill>
          <a:ln>
            <a:solidFill>
              <a:schemeClr val="accent2"/>
            </a:solidFill>
          </a:ln>
        </p:spPr>
        <p:txBody>
          <a:bodyPr lIns="126000" tIns="126000" rIns="126000" bIns="12600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31" name="Platshållare för text 6">
            <a:extLst>
              <a:ext uri="{FF2B5EF4-FFF2-40B4-BE49-F238E27FC236}">
                <a16:creationId xmlns:a16="http://schemas.microsoft.com/office/drawing/2014/main" id="{1D8C7672-A69F-4CD3-BE8F-AC4E0CF743F1}"/>
              </a:ext>
            </a:extLst>
          </p:cNvPr>
          <p:cNvSpPr>
            <a:spLocks noGrp="1"/>
          </p:cNvSpPr>
          <p:nvPr>
            <p:ph type="body" sz="quarter" idx="38"/>
          </p:nvPr>
        </p:nvSpPr>
        <p:spPr>
          <a:xfrm>
            <a:off x="6726234" y="1882775"/>
            <a:ext cx="1946050" cy="2327276"/>
          </a:xfrm>
          <a:solidFill>
            <a:schemeClr val="bg1"/>
          </a:solidFill>
          <a:ln>
            <a:solidFill>
              <a:schemeClr val="accent1"/>
            </a:solidFill>
          </a:ln>
        </p:spPr>
        <p:txBody>
          <a:bodyPr lIns="126000" tIns="126000" rIns="126000" bIns="126000">
            <a:noAutofit/>
          </a:bodyPr>
          <a:lstStyle>
            <a:lvl1pPr>
              <a:buClr>
                <a:schemeClr val="accent1"/>
              </a:buClr>
              <a:defRPr/>
            </a:lvl1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32" name="Platshållare för text 5">
            <a:extLst>
              <a:ext uri="{FF2B5EF4-FFF2-40B4-BE49-F238E27FC236}">
                <a16:creationId xmlns:a16="http://schemas.microsoft.com/office/drawing/2014/main" id="{E8736CF1-9B49-4167-A838-BE8F65CEF427}"/>
              </a:ext>
            </a:extLst>
          </p:cNvPr>
          <p:cNvSpPr>
            <a:spLocks noGrp="1"/>
          </p:cNvSpPr>
          <p:nvPr>
            <p:ph type="body" sz="quarter" idx="39"/>
          </p:nvPr>
        </p:nvSpPr>
        <p:spPr>
          <a:xfrm>
            <a:off x="4643434" y="1073914"/>
            <a:ext cx="1941513" cy="808861"/>
          </a:xfrm>
          <a:solidFill>
            <a:schemeClr val="accent2"/>
          </a:solidFill>
          <a:ln>
            <a:solidFill>
              <a:schemeClr val="accent2"/>
            </a:solidFill>
          </a:ln>
        </p:spPr>
        <p:txBody>
          <a:bodyPr lIns="126000" tIns="126000" rIns="126000" bIns="126000"/>
          <a:lstStyle>
            <a:lvl1pPr marL="0" indent="0">
              <a:buClr>
                <a:schemeClr val="bg1"/>
              </a:buClr>
              <a:buFontTx/>
              <a:buNone/>
              <a:defRPr b="1">
                <a:solidFill>
                  <a:schemeClr val="bg1"/>
                </a:solidFill>
              </a:defRPr>
            </a:lvl1pPr>
            <a:lvl2pPr marL="144000" indent="0">
              <a:buFontTx/>
              <a:buNone/>
              <a:defRPr b="1">
                <a:solidFill>
                  <a:schemeClr val="bg1"/>
                </a:solidFill>
              </a:defRPr>
            </a:lvl2pPr>
            <a:lvl3pPr marL="288000" indent="0">
              <a:buFontTx/>
              <a:buNone/>
              <a:defRPr b="1">
                <a:solidFill>
                  <a:schemeClr val="bg1"/>
                </a:solidFill>
              </a:defRPr>
            </a:lvl3pPr>
            <a:lvl4pPr marL="432000" indent="0">
              <a:buFontTx/>
              <a:buNone/>
              <a:defRPr b="1">
                <a:solidFill>
                  <a:schemeClr val="bg1"/>
                </a:solidFill>
              </a:defRPr>
            </a:lvl4pPr>
            <a:lvl5pPr marL="576000" indent="0">
              <a:buFontTx/>
              <a:buNone/>
              <a:defRPr b="1">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33" name="Platshållare för text 5">
            <a:extLst>
              <a:ext uri="{FF2B5EF4-FFF2-40B4-BE49-F238E27FC236}">
                <a16:creationId xmlns:a16="http://schemas.microsoft.com/office/drawing/2014/main" id="{EEB4B339-B800-45F5-8BAE-F97238DDC986}"/>
              </a:ext>
            </a:extLst>
          </p:cNvPr>
          <p:cNvSpPr>
            <a:spLocks noGrp="1"/>
          </p:cNvSpPr>
          <p:nvPr>
            <p:ph type="body" sz="quarter" idx="40"/>
          </p:nvPr>
        </p:nvSpPr>
        <p:spPr>
          <a:xfrm>
            <a:off x="6721475" y="1068388"/>
            <a:ext cx="1955800" cy="814387"/>
          </a:xfrm>
          <a:solidFill>
            <a:schemeClr val="accent1"/>
          </a:solidFill>
          <a:ln>
            <a:solidFill>
              <a:schemeClr val="accent1"/>
            </a:solidFill>
          </a:ln>
        </p:spPr>
        <p:txBody>
          <a:bodyPr lIns="126000" tIns="126000" rIns="126000" bIns="126000"/>
          <a:lstStyle>
            <a:lvl1pPr marL="0" indent="0">
              <a:buClr>
                <a:schemeClr val="bg1"/>
              </a:buClr>
              <a:buFontTx/>
              <a:buNone/>
              <a:defRPr b="1">
                <a:solidFill>
                  <a:schemeClr val="bg1"/>
                </a:solidFill>
              </a:defRPr>
            </a:lvl1pPr>
            <a:lvl2pPr marL="144000" indent="0">
              <a:buFontTx/>
              <a:buNone/>
              <a:defRPr b="1">
                <a:solidFill>
                  <a:schemeClr val="bg1"/>
                </a:solidFill>
              </a:defRPr>
            </a:lvl2pPr>
            <a:lvl3pPr marL="288000" indent="0">
              <a:buFontTx/>
              <a:buNone/>
              <a:defRPr b="1">
                <a:solidFill>
                  <a:schemeClr val="bg1"/>
                </a:solidFill>
              </a:defRPr>
            </a:lvl3pPr>
            <a:lvl4pPr marL="432000" indent="0">
              <a:buFontTx/>
              <a:buNone/>
              <a:defRPr b="1">
                <a:solidFill>
                  <a:schemeClr val="bg1"/>
                </a:solidFill>
              </a:defRPr>
            </a:lvl4pPr>
            <a:lvl5pPr marL="576000" indent="0">
              <a:buFontTx/>
              <a:buNone/>
              <a:defRPr b="1">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20" name="Platshållare för text 12">
            <a:extLst>
              <a:ext uri="{FF2B5EF4-FFF2-40B4-BE49-F238E27FC236}">
                <a16:creationId xmlns:a16="http://schemas.microsoft.com/office/drawing/2014/main" id="{20E7C9DF-9836-4F7B-9121-09880A78764B}"/>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21" name="Platshållare för sidfot 5">
            <a:extLst>
              <a:ext uri="{FF2B5EF4-FFF2-40B4-BE49-F238E27FC236}">
                <a16:creationId xmlns:a16="http://schemas.microsoft.com/office/drawing/2014/main" id="{1C017B5E-4B93-4ED0-A912-44DFCFFA5DC8}"/>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26619468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Ruta - Text x 2">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08EF11-F356-46FB-9524-0050EE4BAE63}"/>
              </a:ext>
            </a:extLst>
          </p:cNvPr>
          <p:cNvSpPr>
            <a:spLocks noGrp="1"/>
          </p:cNvSpPr>
          <p:nvPr>
            <p:ph type="title"/>
          </p:nvPr>
        </p:nvSpPr>
        <p:spPr/>
        <p:txBody>
          <a:bodyPr/>
          <a:lstStyle/>
          <a:p>
            <a:r>
              <a:rPr lang="sv-SE"/>
              <a:t>Klicka här för att ändra mall för rubrikformat</a:t>
            </a:r>
          </a:p>
        </p:txBody>
      </p:sp>
      <p:sp>
        <p:nvSpPr>
          <p:cNvPr id="11" name="Platshållare för bildnummer 10">
            <a:extLst>
              <a:ext uri="{FF2B5EF4-FFF2-40B4-BE49-F238E27FC236}">
                <a16:creationId xmlns:a16="http://schemas.microsoft.com/office/drawing/2014/main" id="{8D78068A-4061-4D84-800C-13466E50819C}"/>
              </a:ext>
            </a:extLst>
          </p:cNvPr>
          <p:cNvSpPr>
            <a:spLocks noGrp="1"/>
          </p:cNvSpPr>
          <p:nvPr>
            <p:ph type="sldNum" sz="quarter" idx="17"/>
          </p:nvPr>
        </p:nvSpPr>
        <p:spPr/>
        <p:txBody>
          <a:bodyPr/>
          <a:lstStyle/>
          <a:p>
            <a:fld id="{7D1488FD-E232-4E0B-A7C7-33537D0EAE2C}" type="slidenum">
              <a:rPr lang="sv-SE" smtClean="0"/>
              <a:pPr/>
              <a:t>‹#›</a:t>
            </a:fld>
            <a:endParaRPr lang="sv-SE"/>
          </a:p>
        </p:txBody>
      </p:sp>
      <p:sp>
        <p:nvSpPr>
          <p:cNvPr id="6" name="Platshållare för text 5">
            <a:extLst>
              <a:ext uri="{FF2B5EF4-FFF2-40B4-BE49-F238E27FC236}">
                <a16:creationId xmlns:a16="http://schemas.microsoft.com/office/drawing/2014/main" id="{E2EF948A-8C55-4A8C-8CD0-D142C17B443B}"/>
              </a:ext>
            </a:extLst>
          </p:cNvPr>
          <p:cNvSpPr>
            <a:spLocks noGrp="1"/>
          </p:cNvSpPr>
          <p:nvPr>
            <p:ph type="body" sz="quarter" idx="27"/>
          </p:nvPr>
        </p:nvSpPr>
        <p:spPr>
          <a:xfrm>
            <a:off x="469900" y="1068388"/>
            <a:ext cx="4035425" cy="814387"/>
          </a:xfrm>
          <a:solidFill>
            <a:schemeClr val="accent2"/>
          </a:solidFill>
          <a:ln>
            <a:solidFill>
              <a:schemeClr val="accent2"/>
            </a:solidFill>
          </a:ln>
        </p:spPr>
        <p:txBody>
          <a:bodyPr lIns="126000" tIns="126000" rIns="126000" bIns="126000">
            <a:noAutofit/>
          </a:bodyPr>
          <a:lstStyle>
            <a:lvl1pPr marL="0" indent="0">
              <a:buClr>
                <a:schemeClr val="bg1"/>
              </a:buClr>
              <a:buNone/>
              <a:defRPr sz="1500" b="1">
                <a:solidFill>
                  <a:schemeClr val="bg1"/>
                </a:solidFill>
                <a:latin typeface="+mj-lt"/>
              </a:defRPr>
            </a:lvl1pPr>
            <a:lvl2pPr marL="144000" indent="0">
              <a:buNone/>
              <a:defRPr sz="1500" b="1">
                <a:solidFill>
                  <a:schemeClr val="bg1"/>
                </a:solidFill>
                <a:latin typeface="+mj-lt"/>
              </a:defRPr>
            </a:lvl2pPr>
            <a:lvl3pPr marL="288000" indent="0">
              <a:buNone/>
              <a:defRPr sz="1500" b="1">
                <a:solidFill>
                  <a:schemeClr val="bg1"/>
                </a:solidFill>
                <a:latin typeface="+mj-lt"/>
              </a:defRPr>
            </a:lvl3pPr>
            <a:lvl4pPr marL="432000" indent="0">
              <a:buNone/>
              <a:defRPr sz="1500" b="1">
                <a:solidFill>
                  <a:schemeClr val="bg1"/>
                </a:solidFill>
                <a:latin typeface="+mj-lt"/>
              </a:defRPr>
            </a:lvl4pPr>
            <a:lvl5pPr marL="576000" indent="0">
              <a:buNone/>
              <a:defRPr sz="1500" b="1">
                <a:solidFill>
                  <a:schemeClr val="bg1"/>
                </a:solidFill>
                <a:latin typeface="+mj-lt"/>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7" name="Platshållare för text 5">
            <a:extLst>
              <a:ext uri="{FF2B5EF4-FFF2-40B4-BE49-F238E27FC236}">
                <a16:creationId xmlns:a16="http://schemas.microsoft.com/office/drawing/2014/main" id="{2F5EC3C9-7D9D-45D4-8D66-483306E5FDB8}"/>
              </a:ext>
            </a:extLst>
          </p:cNvPr>
          <p:cNvSpPr>
            <a:spLocks noGrp="1"/>
          </p:cNvSpPr>
          <p:nvPr>
            <p:ph type="body" sz="quarter" idx="28"/>
          </p:nvPr>
        </p:nvSpPr>
        <p:spPr>
          <a:xfrm>
            <a:off x="473075" y="1884363"/>
            <a:ext cx="4035425" cy="2316162"/>
          </a:xfrm>
          <a:solidFill>
            <a:schemeClr val="bg1"/>
          </a:solidFill>
          <a:ln>
            <a:solidFill>
              <a:schemeClr val="accent2"/>
            </a:solidFill>
          </a:ln>
        </p:spPr>
        <p:txBody>
          <a:bodyPr lIns="126000" tIns="126000" rIns="126000" bIns="126000">
            <a:noAutofit/>
          </a:bodyPr>
          <a:lstStyle>
            <a:lvl1pPr>
              <a:buClr>
                <a:schemeClr val="accent2"/>
              </a:buCl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8" name="Platshållare för text 5">
            <a:extLst>
              <a:ext uri="{FF2B5EF4-FFF2-40B4-BE49-F238E27FC236}">
                <a16:creationId xmlns:a16="http://schemas.microsoft.com/office/drawing/2014/main" id="{67E32C65-4005-4027-AF10-BEA126394DB3}"/>
              </a:ext>
            </a:extLst>
          </p:cNvPr>
          <p:cNvSpPr>
            <a:spLocks noGrp="1"/>
          </p:cNvSpPr>
          <p:nvPr>
            <p:ph type="body" sz="quarter" idx="29"/>
          </p:nvPr>
        </p:nvSpPr>
        <p:spPr>
          <a:xfrm>
            <a:off x="4638675" y="1068388"/>
            <a:ext cx="4035425" cy="814387"/>
          </a:xfrm>
          <a:solidFill>
            <a:schemeClr val="accent2"/>
          </a:solidFill>
          <a:ln>
            <a:solidFill>
              <a:schemeClr val="accent2"/>
            </a:solidFill>
          </a:ln>
        </p:spPr>
        <p:txBody>
          <a:bodyPr lIns="126000" tIns="126000" rIns="126000" bIns="126000">
            <a:noAutofit/>
          </a:bodyPr>
          <a:lstStyle>
            <a:lvl1pPr marL="0" indent="0">
              <a:buClr>
                <a:schemeClr val="bg1"/>
              </a:buClr>
              <a:buNone/>
              <a:defRPr sz="1500" b="1">
                <a:solidFill>
                  <a:schemeClr val="bg1"/>
                </a:solidFill>
                <a:latin typeface="+mj-lt"/>
              </a:defRPr>
            </a:lvl1pPr>
            <a:lvl2pPr marL="144000" indent="0">
              <a:buNone/>
              <a:defRPr sz="1500" b="1">
                <a:solidFill>
                  <a:schemeClr val="bg1"/>
                </a:solidFill>
                <a:latin typeface="+mj-lt"/>
              </a:defRPr>
            </a:lvl2pPr>
            <a:lvl3pPr marL="288000" indent="0">
              <a:buNone/>
              <a:defRPr sz="1500" b="1">
                <a:solidFill>
                  <a:schemeClr val="bg1"/>
                </a:solidFill>
                <a:latin typeface="+mj-lt"/>
              </a:defRPr>
            </a:lvl3pPr>
            <a:lvl4pPr marL="432000" indent="0">
              <a:buNone/>
              <a:defRPr sz="1500" b="1">
                <a:solidFill>
                  <a:schemeClr val="bg1"/>
                </a:solidFill>
                <a:latin typeface="+mj-lt"/>
              </a:defRPr>
            </a:lvl4pPr>
            <a:lvl5pPr marL="576000" indent="0">
              <a:buNone/>
              <a:defRPr sz="1500" b="1">
                <a:solidFill>
                  <a:schemeClr val="bg1"/>
                </a:solidFill>
                <a:latin typeface="+mj-lt"/>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9" name="Platshållare för text 5">
            <a:extLst>
              <a:ext uri="{FF2B5EF4-FFF2-40B4-BE49-F238E27FC236}">
                <a16:creationId xmlns:a16="http://schemas.microsoft.com/office/drawing/2014/main" id="{E9B6C344-4702-4B2E-A8A8-4986EC0F7CC8}"/>
              </a:ext>
            </a:extLst>
          </p:cNvPr>
          <p:cNvSpPr>
            <a:spLocks noGrp="1"/>
          </p:cNvSpPr>
          <p:nvPr>
            <p:ph type="body" sz="quarter" idx="30"/>
          </p:nvPr>
        </p:nvSpPr>
        <p:spPr>
          <a:xfrm>
            <a:off x="4641850" y="1884363"/>
            <a:ext cx="4035425" cy="2316162"/>
          </a:xfrm>
          <a:solidFill>
            <a:schemeClr val="bg1"/>
          </a:solidFill>
          <a:ln>
            <a:solidFill>
              <a:schemeClr val="accent2"/>
            </a:solidFill>
          </a:ln>
        </p:spPr>
        <p:txBody>
          <a:bodyPr lIns="126000" tIns="126000" rIns="126000" bIns="126000">
            <a:noAutofit/>
          </a:bodyPr>
          <a:lstStyle>
            <a:lvl1pPr>
              <a:buClr>
                <a:schemeClr val="accent2"/>
              </a:buCl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21" name="Platshållare för text 12">
            <a:extLst>
              <a:ext uri="{FF2B5EF4-FFF2-40B4-BE49-F238E27FC236}">
                <a16:creationId xmlns:a16="http://schemas.microsoft.com/office/drawing/2014/main" id="{19FE089C-15E5-41D7-B34F-A1B9BDC99980}"/>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22" name="Platshållare för sidfot 5">
            <a:extLst>
              <a:ext uri="{FF2B5EF4-FFF2-40B4-BE49-F238E27FC236}">
                <a16:creationId xmlns:a16="http://schemas.microsoft.com/office/drawing/2014/main" id="{FF1F5660-0E6E-4419-9D49-7C2B2736CD02}"/>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5587841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ac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175562D-8BE4-4E07-BD9B-7CEBE40A1A7F}"/>
              </a:ext>
            </a:extLst>
          </p:cNvPr>
          <p:cNvSpPr>
            <a:spLocks noGrp="1"/>
          </p:cNvSpPr>
          <p:nvPr>
            <p:ph type="ctrTitle" hasCustomPrompt="1"/>
          </p:nvPr>
        </p:nvSpPr>
        <p:spPr>
          <a:xfrm>
            <a:off x="1857375" y="255589"/>
            <a:ext cx="5427661" cy="1501775"/>
          </a:xfrm>
        </p:spPr>
        <p:txBody>
          <a:bodyPr lIns="0" tIns="0" rIns="0" bIns="0" anchor="b" anchorCtr="0"/>
          <a:lstStyle>
            <a:lvl1pPr algn="l">
              <a:defRPr sz="4500">
                <a:solidFill>
                  <a:schemeClr val="tx1"/>
                </a:solidFill>
              </a:defRPr>
            </a:lvl1pPr>
          </a:lstStyle>
          <a:p>
            <a:r>
              <a:rPr lang="sv-SE"/>
              <a:t>Tack!</a:t>
            </a:r>
          </a:p>
        </p:txBody>
      </p:sp>
      <p:sp>
        <p:nvSpPr>
          <p:cNvPr id="3" name="Underrubrik 2">
            <a:extLst>
              <a:ext uri="{FF2B5EF4-FFF2-40B4-BE49-F238E27FC236}">
                <a16:creationId xmlns:a16="http://schemas.microsoft.com/office/drawing/2014/main" id="{2DB9F56F-2AD1-42EA-A8BF-E10C61A55E2D}"/>
              </a:ext>
            </a:extLst>
          </p:cNvPr>
          <p:cNvSpPr>
            <a:spLocks noGrp="1"/>
          </p:cNvSpPr>
          <p:nvPr>
            <p:ph type="subTitle" idx="1" hasCustomPrompt="1"/>
          </p:nvPr>
        </p:nvSpPr>
        <p:spPr>
          <a:xfrm>
            <a:off x="1857375" y="1884363"/>
            <a:ext cx="5427661" cy="1501775"/>
          </a:xfrm>
        </p:spPr>
        <p:txBody>
          <a:bodyPr lIns="0" tIns="0" rIns="0" bIns="0" anchor="t" anchorCtr="0">
            <a:normAutofit/>
          </a:bodyPr>
          <a:lstStyle>
            <a:lvl1pPr marL="0" indent="0" algn="l">
              <a:buNone/>
              <a:defRPr sz="140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Förnamn Efternamn</a:t>
            </a:r>
            <a:br>
              <a:rPr lang="sv-SE"/>
            </a:br>
            <a:r>
              <a:rPr lang="sv-SE"/>
              <a:t>Titel, </a:t>
            </a:r>
            <a:br>
              <a:rPr lang="sv-SE"/>
            </a:br>
            <a:r>
              <a:rPr lang="sv-SE"/>
              <a:t>Bankinfrastruktur i Sverige</a:t>
            </a:r>
          </a:p>
        </p:txBody>
      </p:sp>
      <p:sp>
        <p:nvSpPr>
          <p:cNvPr id="14" name="Platshållare för text 12">
            <a:extLst>
              <a:ext uri="{FF2B5EF4-FFF2-40B4-BE49-F238E27FC236}">
                <a16:creationId xmlns:a16="http://schemas.microsoft.com/office/drawing/2014/main" id="{E4229744-34B8-4183-BE14-240D567AA6C0}"/>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15" name="Platshållare för sidfot 5">
            <a:extLst>
              <a:ext uri="{FF2B5EF4-FFF2-40B4-BE49-F238E27FC236}">
                <a16:creationId xmlns:a16="http://schemas.microsoft.com/office/drawing/2014/main" id="{6324595A-7848-4DF9-BE94-08B34D00098B}"/>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41340892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ac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175562D-8BE4-4E07-BD9B-7CEBE40A1A7F}"/>
              </a:ext>
            </a:extLst>
          </p:cNvPr>
          <p:cNvSpPr>
            <a:spLocks noGrp="1"/>
          </p:cNvSpPr>
          <p:nvPr>
            <p:ph type="ctrTitle" hasCustomPrompt="1"/>
          </p:nvPr>
        </p:nvSpPr>
        <p:spPr>
          <a:xfrm>
            <a:off x="1857375" y="255589"/>
            <a:ext cx="5427661" cy="1501775"/>
          </a:xfrm>
        </p:spPr>
        <p:txBody>
          <a:bodyPr lIns="0" tIns="0" rIns="0" bIns="0" anchor="b" anchorCtr="0"/>
          <a:lstStyle>
            <a:lvl1pPr algn="l">
              <a:defRPr sz="4500">
                <a:solidFill>
                  <a:schemeClr val="tx1"/>
                </a:solidFill>
              </a:defRPr>
            </a:lvl1pPr>
          </a:lstStyle>
          <a:p>
            <a:r>
              <a:rPr lang="sv-SE"/>
              <a:t>Tack!</a:t>
            </a:r>
          </a:p>
        </p:txBody>
      </p:sp>
      <p:sp>
        <p:nvSpPr>
          <p:cNvPr id="3" name="Underrubrik 2">
            <a:extLst>
              <a:ext uri="{FF2B5EF4-FFF2-40B4-BE49-F238E27FC236}">
                <a16:creationId xmlns:a16="http://schemas.microsoft.com/office/drawing/2014/main" id="{2DB9F56F-2AD1-42EA-A8BF-E10C61A55E2D}"/>
              </a:ext>
            </a:extLst>
          </p:cNvPr>
          <p:cNvSpPr>
            <a:spLocks noGrp="1"/>
          </p:cNvSpPr>
          <p:nvPr>
            <p:ph type="subTitle" idx="1" hasCustomPrompt="1"/>
          </p:nvPr>
        </p:nvSpPr>
        <p:spPr>
          <a:xfrm>
            <a:off x="1857375" y="1884363"/>
            <a:ext cx="5427661" cy="1501775"/>
          </a:xfrm>
        </p:spPr>
        <p:txBody>
          <a:bodyPr lIns="0" tIns="0" rIns="0" bIns="0" anchor="t" anchorCtr="0">
            <a:normAutofit/>
          </a:bodyPr>
          <a:lstStyle>
            <a:lvl1pPr marL="0" indent="0" algn="l">
              <a:buNone/>
              <a:defRPr sz="140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Förnamn Efternamn</a:t>
            </a:r>
            <a:br>
              <a:rPr lang="sv-SE"/>
            </a:br>
            <a:r>
              <a:rPr lang="sv-SE"/>
              <a:t>Titel, </a:t>
            </a:r>
            <a:br>
              <a:rPr lang="sv-SE"/>
            </a:br>
            <a:r>
              <a:rPr lang="sv-SE"/>
              <a:t>Bankinfrastruktur i Sverige</a:t>
            </a:r>
          </a:p>
        </p:txBody>
      </p:sp>
      <p:sp>
        <p:nvSpPr>
          <p:cNvPr id="14" name="Platshållare för text 12">
            <a:extLst>
              <a:ext uri="{FF2B5EF4-FFF2-40B4-BE49-F238E27FC236}">
                <a16:creationId xmlns:a16="http://schemas.microsoft.com/office/drawing/2014/main" id="{E4229744-34B8-4183-BE14-240D567AA6C0}"/>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15" name="Platshållare för sidfot 5">
            <a:extLst>
              <a:ext uri="{FF2B5EF4-FFF2-40B4-BE49-F238E27FC236}">
                <a16:creationId xmlns:a16="http://schemas.microsoft.com/office/drawing/2014/main" id="{6324595A-7848-4DF9-BE94-08B34D00098B}"/>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10658291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Tac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175562D-8BE4-4E07-BD9B-7CEBE40A1A7F}"/>
              </a:ext>
            </a:extLst>
          </p:cNvPr>
          <p:cNvSpPr>
            <a:spLocks noGrp="1"/>
          </p:cNvSpPr>
          <p:nvPr>
            <p:ph type="ctrTitle" hasCustomPrompt="1"/>
          </p:nvPr>
        </p:nvSpPr>
        <p:spPr>
          <a:xfrm>
            <a:off x="1857375" y="255589"/>
            <a:ext cx="5427661" cy="1501775"/>
          </a:xfrm>
        </p:spPr>
        <p:txBody>
          <a:bodyPr lIns="0" tIns="0" rIns="0" bIns="0" anchor="b" anchorCtr="0"/>
          <a:lstStyle>
            <a:lvl1pPr algn="l">
              <a:defRPr sz="4500">
                <a:solidFill>
                  <a:schemeClr val="tx1"/>
                </a:solidFill>
              </a:defRPr>
            </a:lvl1pPr>
          </a:lstStyle>
          <a:p>
            <a:r>
              <a:rPr lang="sv-SE"/>
              <a:t>Tack!</a:t>
            </a:r>
          </a:p>
        </p:txBody>
      </p:sp>
      <p:sp>
        <p:nvSpPr>
          <p:cNvPr id="3" name="Underrubrik 2">
            <a:extLst>
              <a:ext uri="{FF2B5EF4-FFF2-40B4-BE49-F238E27FC236}">
                <a16:creationId xmlns:a16="http://schemas.microsoft.com/office/drawing/2014/main" id="{2DB9F56F-2AD1-42EA-A8BF-E10C61A55E2D}"/>
              </a:ext>
            </a:extLst>
          </p:cNvPr>
          <p:cNvSpPr>
            <a:spLocks noGrp="1"/>
          </p:cNvSpPr>
          <p:nvPr>
            <p:ph type="subTitle" idx="1" hasCustomPrompt="1"/>
          </p:nvPr>
        </p:nvSpPr>
        <p:spPr>
          <a:xfrm>
            <a:off x="1857375" y="1884363"/>
            <a:ext cx="5427661" cy="1501775"/>
          </a:xfrm>
        </p:spPr>
        <p:txBody>
          <a:bodyPr lIns="0" tIns="0" rIns="0" bIns="0" anchor="t" anchorCtr="0">
            <a:normAutofit/>
          </a:bodyPr>
          <a:lstStyle>
            <a:lvl1pPr marL="0" indent="0" algn="l">
              <a:buNone/>
              <a:defRPr sz="140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Förnamn Efternamn</a:t>
            </a:r>
            <a:br>
              <a:rPr lang="sv-SE"/>
            </a:br>
            <a:r>
              <a:rPr lang="sv-SE"/>
              <a:t>Titel, </a:t>
            </a:r>
            <a:br>
              <a:rPr lang="sv-SE"/>
            </a:br>
            <a:r>
              <a:rPr lang="sv-SE"/>
              <a:t>Bankinfrastruktur i Sverige</a:t>
            </a:r>
          </a:p>
        </p:txBody>
      </p:sp>
      <p:sp>
        <p:nvSpPr>
          <p:cNvPr id="14" name="Platshållare för text 12">
            <a:extLst>
              <a:ext uri="{FF2B5EF4-FFF2-40B4-BE49-F238E27FC236}">
                <a16:creationId xmlns:a16="http://schemas.microsoft.com/office/drawing/2014/main" id="{E4229744-34B8-4183-BE14-240D567AA6C0}"/>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15" name="Platshållare för sidfot 5">
            <a:extLst>
              <a:ext uri="{FF2B5EF4-FFF2-40B4-BE49-F238E27FC236}">
                <a16:creationId xmlns:a16="http://schemas.microsoft.com/office/drawing/2014/main" id="{6324595A-7848-4DF9-BE94-08B34D00098B}"/>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14739262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Section Blue 2">
    <p:spTree>
      <p:nvGrpSpPr>
        <p:cNvPr id="1" name=""/>
        <p:cNvGrpSpPr/>
        <p:nvPr/>
      </p:nvGrpSpPr>
      <p:grpSpPr>
        <a:xfrm>
          <a:off x="0" y="0"/>
          <a:ext cx="0" cy="0"/>
          <a:chOff x="0" y="0"/>
          <a:chExt cx="0" cy="0"/>
        </a:xfrm>
      </p:grpSpPr>
      <p:sp>
        <p:nvSpPr>
          <p:cNvPr id="20" name="Rektangel 19"/>
          <p:cNvSpPr/>
          <p:nvPr userDrawn="1"/>
        </p:nvSpPr>
        <p:spPr>
          <a:xfrm>
            <a:off x="0" y="0"/>
            <a:ext cx="9144000" cy="5143500"/>
          </a:xfrm>
          <a:prstGeom prst="rect">
            <a:avLst/>
          </a:prstGeom>
          <a:solidFill>
            <a:schemeClr val="tx2"/>
          </a:solidFill>
          <a:ln>
            <a:noFill/>
          </a:ln>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sv-SE"/>
          </a:p>
        </p:txBody>
      </p:sp>
      <p:sp>
        <p:nvSpPr>
          <p:cNvPr id="8" name="Platshållare för bild 7"/>
          <p:cNvSpPr>
            <a:spLocks noGrp="1"/>
          </p:cNvSpPr>
          <p:nvPr>
            <p:ph type="pic" sz="quarter" idx="15" hasCustomPrompt="1"/>
          </p:nvPr>
        </p:nvSpPr>
        <p:spPr>
          <a:xfrm>
            <a:off x="4584700" y="952575"/>
            <a:ext cx="4156148" cy="3289235"/>
          </a:xfrm>
          <a:prstGeom prst="rect">
            <a:avLst/>
          </a:prstGeom>
        </p:spPr>
        <p:txBody>
          <a:bodyPr/>
          <a:lstStyle>
            <a:lvl1pPr marL="0" indent="0">
              <a:buNone/>
              <a:defRPr/>
            </a:lvl1pPr>
          </a:lstStyle>
          <a:p>
            <a:r>
              <a:rPr lang="sv-SE"/>
              <a:t> </a:t>
            </a:r>
          </a:p>
        </p:txBody>
      </p:sp>
      <p:pic>
        <p:nvPicPr>
          <p:cNvPr id="10" name="Bildobjekt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0201" y="4398480"/>
            <a:ext cx="1411510" cy="510908"/>
          </a:xfrm>
          <a:prstGeom prst="rect">
            <a:avLst/>
          </a:prstGeom>
        </p:spPr>
      </p:pic>
      <p:sp>
        <p:nvSpPr>
          <p:cNvPr id="34" name="Rubrik 33"/>
          <p:cNvSpPr>
            <a:spLocks noGrp="1"/>
          </p:cNvSpPr>
          <p:nvPr>
            <p:ph type="title" hasCustomPrompt="1"/>
          </p:nvPr>
        </p:nvSpPr>
        <p:spPr>
          <a:xfrm>
            <a:off x="381000" y="231127"/>
            <a:ext cx="7401639" cy="2007664"/>
          </a:xfrm>
          <a:prstGeom prst="rect">
            <a:avLst/>
          </a:prstGeom>
        </p:spPr>
        <p:txBody>
          <a:bodyPr lIns="0" tIns="0" rIns="0" bIns="0" anchor="t" anchorCtr="0">
            <a:normAutofit/>
          </a:bodyPr>
          <a:lstStyle>
            <a:lvl1pPr algn="l">
              <a:defRPr sz="3600">
                <a:solidFill>
                  <a:schemeClr val="bg1"/>
                </a:solidFill>
                <a:latin typeface="Calibri"/>
                <a:cs typeface="Calibri"/>
              </a:defRPr>
            </a:lvl1pPr>
          </a:lstStyle>
          <a:p>
            <a:r>
              <a:rPr lang="en-GB"/>
              <a:t>Heading</a:t>
            </a:r>
            <a:endParaRPr lang="sv-SE"/>
          </a:p>
        </p:txBody>
      </p:sp>
      <p:sp>
        <p:nvSpPr>
          <p:cNvPr id="36" name="Platshållare för text 35"/>
          <p:cNvSpPr>
            <a:spLocks noGrp="1"/>
          </p:cNvSpPr>
          <p:nvPr>
            <p:ph type="body" sz="quarter" idx="13" hasCustomPrompt="1"/>
          </p:nvPr>
        </p:nvSpPr>
        <p:spPr>
          <a:xfrm>
            <a:off x="381000" y="2502477"/>
            <a:ext cx="4203700" cy="1206396"/>
          </a:xfrm>
          <a:prstGeom prst="rect">
            <a:avLst/>
          </a:prstGeom>
        </p:spPr>
        <p:txBody>
          <a:bodyPr lIns="0" tIns="0" rIns="0" bIns="0">
            <a:noAutofit/>
          </a:bodyPr>
          <a:lstStyle>
            <a:lvl1pPr marL="0" indent="0">
              <a:buNone/>
              <a:defRPr sz="2000">
                <a:solidFill>
                  <a:srgbClr val="FFFFFF"/>
                </a:solidFill>
              </a:defRPr>
            </a:lvl1pPr>
            <a:lvl2pPr marL="0" indent="0">
              <a:buNone/>
              <a:defRPr sz="2000">
                <a:solidFill>
                  <a:srgbClr val="FFFFFF"/>
                </a:solidFill>
              </a:defRPr>
            </a:lvl2pPr>
            <a:lvl3pPr marL="0" indent="0">
              <a:buNone/>
              <a:defRPr sz="2000">
                <a:solidFill>
                  <a:srgbClr val="FFFFFF"/>
                </a:solidFill>
              </a:defRPr>
            </a:lvl3pPr>
            <a:lvl4pPr marL="0" indent="0">
              <a:buNone/>
              <a:defRPr sz="2000">
                <a:solidFill>
                  <a:srgbClr val="FFFFFF"/>
                </a:solidFill>
              </a:defRPr>
            </a:lvl4pPr>
            <a:lvl5pPr marL="0" indent="0">
              <a:buNone/>
              <a:defRPr sz="2000">
                <a:solidFill>
                  <a:srgbClr val="FFFFFF"/>
                </a:solidFill>
              </a:defRPr>
            </a:lvl5pPr>
          </a:lstStyle>
          <a:p>
            <a:pPr lvl="0"/>
            <a:r>
              <a:rPr lang="en-GB" noProof="0"/>
              <a:t>Text</a:t>
            </a:r>
          </a:p>
        </p:txBody>
      </p:sp>
      <p:sp>
        <p:nvSpPr>
          <p:cNvPr id="11" name="Platshållare för sidfot 4">
            <a:extLst>
              <a:ext uri="{FF2B5EF4-FFF2-40B4-BE49-F238E27FC236}">
                <a16:creationId xmlns:a16="http://schemas.microsoft.com/office/drawing/2014/main" id="{B80CC5C2-2067-4647-A2BD-4FFED6C2EE23}"/>
              </a:ext>
            </a:extLst>
          </p:cNvPr>
          <p:cNvSpPr>
            <a:spLocks noGrp="1"/>
          </p:cNvSpPr>
          <p:nvPr>
            <p:ph type="ftr" sz="quarter" idx="11"/>
          </p:nvPr>
        </p:nvSpPr>
        <p:spPr>
          <a:xfrm>
            <a:off x="5824413" y="4483997"/>
            <a:ext cx="2509889" cy="382813"/>
          </a:xfrm>
          <a:prstGeom prst="rect">
            <a:avLst/>
          </a:prstGeom>
        </p:spPr>
        <p:txBody>
          <a:bodyPr lIns="0" tIns="0" rIns="0" bIns="0" anchor="b" anchorCtr="0"/>
          <a:lstStyle>
            <a:lvl1pPr algn="r">
              <a:defRPr sz="900" b="0">
                <a:solidFill>
                  <a:schemeClr val="bg1"/>
                </a:solidFill>
              </a:defRPr>
            </a:lvl1pPr>
          </a:lstStyle>
          <a:p>
            <a:r>
              <a:rPr lang="en-US"/>
              <a:t>Stakeholder Forum Agenda - Classification: External</a:t>
            </a:r>
            <a:endParaRPr lang="sv-SE"/>
          </a:p>
        </p:txBody>
      </p:sp>
      <p:sp>
        <p:nvSpPr>
          <p:cNvPr id="12" name="Platshållare för datum 3">
            <a:extLst>
              <a:ext uri="{FF2B5EF4-FFF2-40B4-BE49-F238E27FC236}">
                <a16:creationId xmlns:a16="http://schemas.microsoft.com/office/drawing/2014/main" id="{921E4FCD-2666-4BD6-941F-B9F219B68BC4}"/>
              </a:ext>
            </a:extLst>
          </p:cNvPr>
          <p:cNvSpPr>
            <a:spLocks noGrp="1"/>
          </p:cNvSpPr>
          <p:nvPr>
            <p:ph type="dt" sz="half" idx="10"/>
          </p:nvPr>
        </p:nvSpPr>
        <p:spPr>
          <a:xfrm>
            <a:off x="4734099" y="4495861"/>
            <a:ext cx="1018558" cy="370949"/>
          </a:xfrm>
          <a:prstGeom prst="rect">
            <a:avLst/>
          </a:prstGeom>
        </p:spPr>
        <p:txBody>
          <a:bodyPr lIns="0" tIns="0" rIns="0" bIns="0" anchor="b" anchorCtr="0"/>
          <a:lstStyle>
            <a:lvl1pPr algn="l">
              <a:defRPr sz="900" b="0" i="0" cap="all">
                <a:solidFill>
                  <a:schemeClr val="bg1"/>
                </a:solidFill>
              </a:defRPr>
            </a:lvl1pPr>
          </a:lstStyle>
          <a:p>
            <a:r>
              <a:rPr lang="sv-SE"/>
              <a:t>26/03/2026</a:t>
            </a:r>
          </a:p>
        </p:txBody>
      </p:sp>
      <p:sp>
        <p:nvSpPr>
          <p:cNvPr id="13" name="Platshållare för bildnummer 5">
            <a:extLst>
              <a:ext uri="{FF2B5EF4-FFF2-40B4-BE49-F238E27FC236}">
                <a16:creationId xmlns:a16="http://schemas.microsoft.com/office/drawing/2014/main" id="{0827E5E1-B480-4F4E-B58B-A9D3CA4B0D73}"/>
              </a:ext>
            </a:extLst>
          </p:cNvPr>
          <p:cNvSpPr>
            <a:spLocks noGrp="1"/>
          </p:cNvSpPr>
          <p:nvPr>
            <p:ph type="sldNum" sz="quarter" idx="12"/>
          </p:nvPr>
        </p:nvSpPr>
        <p:spPr>
          <a:xfrm>
            <a:off x="8383230" y="4469824"/>
            <a:ext cx="368658" cy="396987"/>
          </a:xfrm>
          <a:prstGeom prst="rect">
            <a:avLst/>
          </a:prstGeom>
          <a:noFill/>
        </p:spPr>
        <p:txBody>
          <a:bodyPr lIns="25400" tIns="0" rIns="0" bIns="0" anchor="b" anchorCtr="0"/>
          <a:lstStyle>
            <a:lvl1pPr algn="r">
              <a:defRPr sz="900">
                <a:solidFill>
                  <a:schemeClr val="bg1"/>
                </a:solidFill>
              </a:defRPr>
            </a:lvl1pPr>
          </a:lstStyle>
          <a:p>
            <a:fld id="{394EE31B-4DFC-CF4D-9A18-3F5D4D7C7302}" type="slidenum">
              <a:rPr lang="sv-SE" smtClean="0"/>
              <a:pPr/>
              <a:t>‹#›</a:t>
            </a:fld>
            <a:endParaRPr lang="sv-SE"/>
          </a:p>
        </p:txBody>
      </p:sp>
    </p:spTree>
    <p:extLst>
      <p:ext uri="{BB962C8B-B14F-4D97-AF65-F5344CB8AC3E}">
        <p14:creationId xmlns:p14="http://schemas.microsoft.com/office/powerpoint/2010/main" val="304663704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_Tac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175562D-8BE4-4E07-BD9B-7CEBE40A1A7F}"/>
              </a:ext>
            </a:extLst>
          </p:cNvPr>
          <p:cNvSpPr>
            <a:spLocks noGrp="1"/>
          </p:cNvSpPr>
          <p:nvPr>
            <p:ph type="ctrTitle" hasCustomPrompt="1"/>
          </p:nvPr>
        </p:nvSpPr>
        <p:spPr>
          <a:xfrm>
            <a:off x="1857375" y="255589"/>
            <a:ext cx="5427661" cy="1501775"/>
          </a:xfrm>
        </p:spPr>
        <p:txBody>
          <a:bodyPr lIns="0" tIns="0" rIns="0" bIns="0" anchor="b" anchorCtr="0"/>
          <a:lstStyle>
            <a:lvl1pPr algn="l">
              <a:defRPr sz="4500">
                <a:solidFill>
                  <a:schemeClr val="tx1"/>
                </a:solidFill>
              </a:defRPr>
            </a:lvl1pPr>
          </a:lstStyle>
          <a:p>
            <a:r>
              <a:rPr lang="sv-SE"/>
              <a:t>Tack!</a:t>
            </a:r>
          </a:p>
        </p:txBody>
      </p:sp>
      <p:sp>
        <p:nvSpPr>
          <p:cNvPr id="3" name="Underrubrik 2">
            <a:extLst>
              <a:ext uri="{FF2B5EF4-FFF2-40B4-BE49-F238E27FC236}">
                <a16:creationId xmlns:a16="http://schemas.microsoft.com/office/drawing/2014/main" id="{2DB9F56F-2AD1-42EA-A8BF-E10C61A55E2D}"/>
              </a:ext>
            </a:extLst>
          </p:cNvPr>
          <p:cNvSpPr>
            <a:spLocks noGrp="1"/>
          </p:cNvSpPr>
          <p:nvPr>
            <p:ph type="subTitle" idx="1" hasCustomPrompt="1"/>
          </p:nvPr>
        </p:nvSpPr>
        <p:spPr>
          <a:xfrm>
            <a:off x="1857375" y="1884363"/>
            <a:ext cx="5427661" cy="1501775"/>
          </a:xfrm>
        </p:spPr>
        <p:txBody>
          <a:bodyPr lIns="0" tIns="0" rIns="0" bIns="0" anchor="t" anchorCtr="0">
            <a:normAutofit/>
          </a:bodyPr>
          <a:lstStyle>
            <a:lvl1pPr marL="0" indent="0" algn="l">
              <a:buNone/>
              <a:defRPr sz="140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Förnamn Efternamn</a:t>
            </a:r>
            <a:br>
              <a:rPr lang="sv-SE"/>
            </a:br>
            <a:r>
              <a:rPr lang="sv-SE"/>
              <a:t>Titel, </a:t>
            </a:r>
            <a:br>
              <a:rPr lang="sv-SE"/>
            </a:br>
            <a:r>
              <a:rPr lang="sv-SE"/>
              <a:t>Bankinfrastruktur i Sverige</a:t>
            </a:r>
          </a:p>
        </p:txBody>
      </p:sp>
      <p:sp>
        <p:nvSpPr>
          <p:cNvPr id="14" name="Platshållare för text 12">
            <a:extLst>
              <a:ext uri="{FF2B5EF4-FFF2-40B4-BE49-F238E27FC236}">
                <a16:creationId xmlns:a16="http://schemas.microsoft.com/office/drawing/2014/main" id="{E4229744-34B8-4183-BE14-240D567AA6C0}"/>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15" name="Platshållare för sidfot 5">
            <a:extLst>
              <a:ext uri="{FF2B5EF4-FFF2-40B4-BE49-F238E27FC236}">
                <a16:creationId xmlns:a16="http://schemas.microsoft.com/office/drawing/2014/main" id="{6324595A-7848-4DF9-BE94-08B34D00098B}"/>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251138067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Tac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175562D-8BE4-4E07-BD9B-7CEBE40A1A7F}"/>
              </a:ext>
            </a:extLst>
          </p:cNvPr>
          <p:cNvSpPr>
            <a:spLocks noGrp="1"/>
          </p:cNvSpPr>
          <p:nvPr>
            <p:ph type="ctrTitle" hasCustomPrompt="1"/>
          </p:nvPr>
        </p:nvSpPr>
        <p:spPr>
          <a:xfrm>
            <a:off x="1857375" y="255589"/>
            <a:ext cx="5427661" cy="1501775"/>
          </a:xfrm>
        </p:spPr>
        <p:txBody>
          <a:bodyPr lIns="0" tIns="0" rIns="0" bIns="0" anchor="b" anchorCtr="0"/>
          <a:lstStyle>
            <a:lvl1pPr algn="l">
              <a:defRPr sz="4500">
                <a:solidFill>
                  <a:schemeClr val="tx1"/>
                </a:solidFill>
              </a:defRPr>
            </a:lvl1pPr>
          </a:lstStyle>
          <a:p>
            <a:r>
              <a:rPr lang="sv-SE"/>
              <a:t>Tack!</a:t>
            </a:r>
          </a:p>
        </p:txBody>
      </p:sp>
      <p:sp>
        <p:nvSpPr>
          <p:cNvPr id="3" name="Underrubrik 2">
            <a:extLst>
              <a:ext uri="{FF2B5EF4-FFF2-40B4-BE49-F238E27FC236}">
                <a16:creationId xmlns:a16="http://schemas.microsoft.com/office/drawing/2014/main" id="{2DB9F56F-2AD1-42EA-A8BF-E10C61A55E2D}"/>
              </a:ext>
            </a:extLst>
          </p:cNvPr>
          <p:cNvSpPr>
            <a:spLocks noGrp="1"/>
          </p:cNvSpPr>
          <p:nvPr>
            <p:ph type="subTitle" idx="1" hasCustomPrompt="1"/>
          </p:nvPr>
        </p:nvSpPr>
        <p:spPr>
          <a:xfrm>
            <a:off x="1857375" y="1884363"/>
            <a:ext cx="5427661" cy="1501775"/>
          </a:xfrm>
        </p:spPr>
        <p:txBody>
          <a:bodyPr lIns="0" tIns="0" rIns="0" bIns="0" anchor="t" anchorCtr="0">
            <a:normAutofit/>
          </a:bodyPr>
          <a:lstStyle>
            <a:lvl1pPr marL="0" indent="0" algn="l">
              <a:buNone/>
              <a:defRPr sz="140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Förnamn Efternamn</a:t>
            </a:r>
            <a:br>
              <a:rPr lang="sv-SE"/>
            </a:br>
            <a:r>
              <a:rPr lang="sv-SE"/>
              <a:t>Titel, </a:t>
            </a:r>
            <a:br>
              <a:rPr lang="sv-SE"/>
            </a:br>
            <a:r>
              <a:rPr lang="sv-SE"/>
              <a:t>Bankinfrastruktur i Sverige</a:t>
            </a:r>
          </a:p>
        </p:txBody>
      </p:sp>
      <p:sp>
        <p:nvSpPr>
          <p:cNvPr id="14" name="Platshållare för text 12">
            <a:extLst>
              <a:ext uri="{FF2B5EF4-FFF2-40B4-BE49-F238E27FC236}">
                <a16:creationId xmlns:a16="http://schemas.microsoft.com/office/drawing/2014/main" id="{E4229744-34B8-4183-BE14-240D567AA6C0}"/>
              </a:ext>
            </a:extLst>
          </p:cNvPr>
          <p:cNvSpPr>
            <a:spLocks noGrp="1"/>
          </p:cNvSpPr>
          <p:nvPr>
            <p:ph type="body" sz="quarter" idx="18"/>
          </p:nvPr>
        </p:nvSpPr>
        <p:spPr>
          <a:xfrm>
            <a:off x="2552701" y="4327525"/>
            <a:ext cx="5426074" cy="561975"/>
          </a:xfrm>
        </p:spPr>
        <p:txBody>
          <a:bodyPr anchor="t" anchorCtr="0">
            <a:noAutofit/>
          </a:bodyPr>
          <a:lstStyle>
            <a:lvl1pPr marL="0" indent="0" algn="ctr">
              <a:buNone/>
              <a:defRPr sz="800"/>
            </a:lvl1pPr>
            <a:lvl2pPr marL="144000" indent="0" algn="r">
              <a:buNone/>
              <a:defRPr sz="800"/>
            </a:lvl2pPr>
            <a:lvl3pPr marL="288000" indent="0" algn="r">
              <a:buNone/>
              <a:defRPr sz="800"/>
            </a:lvl3pPr>
            <a:lvl4pPr marL="432000" indent="0" algn="r">
              <a:buNone/>
              <a:defRPr sz="800"/>
            </a:lvl4pPr>
            <a:lvl5pPr marL="576000" indent="0" algn="r">
              <a:buNone/>
              <a:defRPr sz="800"/>
            </a:lvl5pPr>
          </a:lstStyle>
          <a:p>
            <a:pPr lvl="0"/>
            <a:r>
              <a:rPr lang="sv-SE"/>
              <a:t>Klicka här för att ändra format på bakgrundstexten</a:t>
            </a:r>
          </a:p>
        </p:txBody>
      </p:sp>
      <p:sp>
        <p:nvSpPr>
          <p:cNvPr id="15" name="Platshållare för sidfot 5">
            <a:extLst>
              <a:ext uri="{FF2B5EF4-FFF2-40B4-BE49-F238E27FC236}">
                <a16:creationId xmlns:a16="http://schemas.microsoft.com/office/drawing/2014/main" id="{6324595A-7848-4DF9-BE94-08B34D00098B}"/>
              </a:ext>
            </a:extLst>
          </p:cNvPr>
          <p:cNvSpPr>
            <a:spLocks noGrp="1"/>
          </p:cNvSpPr>
          <p:nvPr>
            <p:ph type="ftr" sz="quarter" idx="20"/>
          </p:nvPr>
        </p:nvSpPr>
        <p:spPr>
          <a:xfrm>
            <a:off x="2552700" y="4615656"/>
            <a:ext cx="5426075" cy="273844"/>
          </a:xfrm>
        </p:spPr>
        <p:txBody>
          <a:bodyPr/>
          <a:lstStyle>
            <a:lvl1pPr algn="ctr">
              <a:defRPr/>
            </a:lvl1pPr>
          </a:lstStyle>
          <a:p>
            <a:pPr algn="r"/>
            <a:r>
              <a:rPr lang="en-US"/>
              <a:t>Stakeholder Forum Agenda - Classification: External</a:t>
            </a:r>
            <a:endParaRPr lang="sv-SE"/>
          </a:p>
        </p:txBody>
      </p:sp>
    </p:spTree>
    <p:extLst>
      <p:ext uri="{BB962C8B-B14F-4D97-AF65-F5344CB8AC3E}">
        <p14:creationId xmlns:p14="http://schemas.microsoft.com/office/powerpoint/2010/main" val="28425157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Forside">
    <p:spTree>
      <p:nvGrpSpPr>
        <p:cNvPr id="1" name=""/>
        <p:cNvGrpSpPr/>
        <p:nvPr/>
      </p:nvGrpSpPr>
      <p:grpSpPr>
        <a:xfrm>
          <a:off x="0" y="0"/>
          <a:ext cx="0" cy="0"/>
          <a:chOff x="0" y="0"/>
          <a:chExt cx="0" cy="0"/>
        </a:xfrm>
      </p:grpSpPr>
      <p:sp>
        <p:nvSpPr>
          <p:cNvPr id="18" name="Pladsholder til billede 1"/>
          <p:cNvSpPr>
            <a:spLocks noGrp="1"/>
          </p:cNvSpPr>
          <p:nvPr>
            <p:ph type="pic" sz="quarter" idx="13" hasCustomPrompt="1"/>
          </p:nvPr>
        </p:nvSpPr>
        <p:spPr>
          <a:xfrm>
            <a:off x="2" y="1684802"/>
            <a:ext cx="9144000" cy="2816954"/>
          </a:xfrm>
        </p:spPr>
        <p:txBody>
          <a:bodyPr tIns="432000" rIns="0" anchor="ctr" anchorCtr="0"/>
          <a:lstStyle>
            <a:lvl1pPr algn="ctr">
              <a:defRPr sz="1050">
                <a:solidFill>
                  <a:schemeClr val="accent2"/>
                </a:solidFill>
              </a:defRPr>
            </a:lvl1pPr>
          </a:lstStyle>
          <a:p>
            <a:r>
              <a:rPr lang="da-DK"/>
              <a:t>Klik på ikon for at indsætte billede</a:t>
            </a:r>
          </a:p>
        </p:txBody>
      </p:sp>
      <p:sp>
        <p:nvSpPr>
          <p:cNvPr id="10" name="Titel 1"/>
          <p:cNvSpPr>
            <a:spLocks noGrp="1"/>
          </p:cNvSpPr>
          <p:nvPr>
            <p:ph type="title" hasCustomPrompt="1"/>
          </p:nvPr>
        </p:nvSpPr>
        <p:spPr>
          <a:xfrm>
            <a:off x="318641" y="1015200"/>
            <a:ext cx="8506107" cy="672300"/>
          </a:xfrm>
        </p:spPr>
        <p:txBody>
          <a:bodyPr rIns="2160000" anchor="t" anchorCtr="0"/>
          <a:lstStyle>
            <a:lvl1pPr>
              <a:defRPr cap="all" baseline="0"/>
            </a:lvl1pPr>
          </a:lstStyle>
          <a:p>
            <a:r>
              <a:rPr lang="da-DK"/>
              <a:t>Klik for at indsætte overskrift i en eller to linjer</a:t>
            </a:r>
          </a:p>
        </p:txBody>
      </p:sp>
      <p:sp>
        <p:nvSpPr>
          <p:cNvPr id="17" name="Pladsholder til tekst 2"/>
          <p:cNvSpPr>
            <a:spLocks noGrp="1"/>
          </p:cNvSpPr>
          <p:nvPr>
            <p:ph type="body" sz="quarter" idx="14" hasCustomPrompt="1"/>
          </p:nvPr>
        </p:nvSpPr>
        <p:spPr>
          <a:xfrm>
            <a:off x="2" y="1684800"/>
            <a:ext cx="9144000" cy="243000"/>
          </a:xfrm>
          <a:blipFill>
            <a:blip r:embed="rId2"/>
            <a:stretch>
              <a:fillRect/>
            </a:stretch>
          </a:blipFill>
        </p:spPr>
        <p:txBody>
          <a:bodyPr lIns="446400" tIns="0" rIns="1080000" anchor="ctr" anchorCtr="0"/>
          <a:lstStyle>
            <a:lvl1pPr>
              <a:defRPr lang="da-DK" sz="900" b="1" baseline="0" dirty="0" smtClean="0">
                <a:solidFill>
                  <a:schemeClr val="bg1"/>
                </a:solidFill>
                <a:latin typeface="Nationalbank" panose="020B0503040000020004" pitchFamily="2" charset="0"/>
                <a:ea typeface="+mn-ea"/>
                <a:cs typeface="+mn-cs"/>
              </a:defRPr>
            </a:lvl1pPr>
          </a:lstStyle>
          <a:p>
            <a:pPr lvl="0"/>
            <a:r>
              <a:rPr lang="da-DK"/>
              <a:t>Klik for at indsætte overskrift i en linje</a:t>
            </a:r>
          </a:p>
        </p:txBody>
      </p:sp>
      <p:sp>
        <p:nvSpPr>
          <p:cNvPr id="14" name="Text Box 8"/>
          <p:cNvSpPr txBox="1">
            <a:spLocks noChangeArrowheads="1"/>
          </p:cNvSpPr>
          <p:nvPr userDrawn="1"/>
        </p:nvSpPr>
        <p:spPr bwMode="auto">
          <a:xfrm>
            <a:off x="318641" y="213122"/>
            <a:ext cx="8506107" cy="619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lstStyle/>
          <a:p>
            <a:pPr algn="l">
              <a:lnSpc>
                <a:spcPts val="2250"/>
              </a:lnSpc>
            </a:pPr>
            <a:r>
              <a:rPr lang="da-DK" sz="2250">
                <a:latin typeface="Nationalbank" panose="020B0503040000020004" pitchFamily="2" charset="0"/>
              </a:rPr>
              <a:t>DANMARKS</a:t>
            </a:r>
            <a:br>
              <a:rPr lang="da-DK" sz="2250">
                <a:latin typeface="Nationalbank" panose="020B0503040000020004" pitchFamily="2" charset="0"/>
              </a:rPr>
            </a:br>
            <a:r>
              <a:rPr lang="da-DK" sz="2250">
                <a:latin typeface="Nationalbank" panose="020B0503040000020004" pitchFamily="2" charset="0"/>
              </a:rPr>
              <a:t>NATIONALBANK</a:t>
            </a:r>
          </a:p>
        </p:txBody>
      </p:sp>
      <p:sp>
        <p:nvSpPr>
          <p:cNvPr id="22" name="Pladsholder til dato 2" hidden="1"/>
          <p:cNvSpPr>
            <a:spLocks noGrp="1"/>
          </p:cNvSpPr>
          <p:nvPr>
            <p:ph type="dt" sz="half" idx="10"/>
          </p:nvPr>
        </p:nvSpPr>
        <p:spPr>
          <a:xfrm>
            <a:off x="6706802" y="5887746"/>
            <a:ext cx="2012400" cy="118800"/>
          </a:xfrm>
        </p:spPr>
        <p:txBody>
          <a:bodyPr/>
          <a:lstStyle>
            <a:lvl1pPr>
              <a:defRPr sz="100">
                <a:solidFill>
                  <a:schemeClr val="bg1">
                    <a:lumMod val="75000"/>
                  </a:schemeClr>
                </a:solidFill>
              </a:defRPr>
            </a:lvl1pPr>
          </a:lstStyle>
          <a:p>
            <a:r>
              <a:rPr lang="sv-SE"/>
              <a:t>26/03/2026</a:t>
            </a:r>
            <a:endParaRPr lang="da-DK"/>
          </a:p>
        </p:txBody>
      </p:sp>
      <p:sp>
        <p:nvSpPr>
          <p:cNvPr id="23" name="Pladsholder til sidefod 3" hidden="1"/>
          <p:cNvSpPr>
            <a:spLocks noGrp="1"/>
          </p:cNvSpPr>
          <p:nvPr>
            <p:ph type="ftr" sz="quarter" idx="11"/>
          </p:nvPr>
        </p:nvSpPr>
        <p:spPr>
          <a:xfrm>
            <a:off x="7626327" y="5575548"/>
            <a:ext cx="1095400" cy="236562"/>
          </a:xfrm>
        </p:spPr>
        <p:txBody>
          <a:bodyPr/>
          <a:lstStyle/>
          <a:p>
            <a:r>
              <a:rPr lang="en-US"/>
              <a:t>Stakeholder Forum Agenda - Classification: External</a:t>
            </a:r>
            <a:endParaRPr lang="da-DK"/>
          </a:p>
        </p:txBody>
      </p:sp>
      <p:sp>
        <p:nvSpPr>
          <p:cNvPr id="24" name="Pladsholder til diasnummer 4" hidden="1"/>
          <p:cNvSpPr>
            <a:spLocks noGrp="1"/>
          </p:cNvSpPr>
          <p:nvPr>
            <p:ph type="sldNum" sz="quarter" idx="12"/>
          </p:nvPr>
        </p:nvSpPr>
        <p:spPr>
          <a:xfrm>
            <a:off x="6706802" y="6001146"/>
            <a:ext cx="2012400" cy="135000"/>
          </a:xfrm>
        </p:spPr>
        <p:txBody>
          <a:bodyPr/>
          <a:lstStyle>
            <a:lvl1pPr>
              <a:defRPr sz="100">
                <a:solidFill>
                  <a:schemeClr val="bg1">
                    <a:lumMod val="75000"/>
                  </a:schemeClr>
                </a:solidFill>
              </a:defRPr>
            </a:lvl1pPr>
          </a:lstStyle>
          <a:p>
            <a:fld id="{667EC89C-17A0-4E64-A6D2-B825673CEEDF}" type="slidenum">
              <a:rPr lang="da-DK" smtClean="0"/>
              <a:pPr/>
              <a:t>‹#›</a:t>
            </a:fld>
            <a:endParaRPr lang="da-DK"/>
          </a:p>
        </p:txBody>
      </p:sp>
      <p:sp>
        <p:nvSpPr>
          <p:cNvPr id="2" name="Tekstboks 1"/>
          <p:cNvSpPr txBox="1"/>
          <p:nvPr userDrawn="1"/>
        </p:nvSpPr>
        <p:spPr>
          <a:xfrm>
            <a:off x="9252521" y="0"/>
            <a:ext cx="1530978" cy="1026114"/>
          </a:xfrm>
          <a:prstGeom prst="rect">
            <a:avLst/>
          </a:prstGeom>
          <a:noFill/>
        </p:spPr>
        <p:txBody>
          <a:bodyPr wrap="square" lIns="0" tIns="0" rIns="0" bIns="0" rtlCol="0">
            <a:noAutofit/>
          </a:bodyPr>
          <a:lstStyle/>
          <a:p>
            <a:pPr algn="l"/>
            <a:r>
              <a:rPr lang="da-DK" sz="675" b="1">
                <a:solidFill>
                  <a:schemeClr val="bg1">
                    <a:lumMod val="50000"/>
                  </a:schemeClr>
                </a:solidFill>
              </a:rPr>
              <a:t>Gitter- og hjælpelinjer</a:t>
            </a:r>
          </a:p>
          <a:p>
            <a:pPr algn="l"/>
            <a:r>
              <a:rPr lang="da-DK" sz="675">
                <a:solidFill>
                  <a:schemeClr val="bg1">
                    <a:lumMod val="50000"/>
                  </a:schemeClr>
                </a:solidFill>
              </a:rPr>
              <a:t>For at se gitter- og hjælpelinjer</a:t>
            </a:r>
          </a:p>
          <a:p>
            <a:pPr algn="l"/>
            <a:r>
              <a:rPr lang="da-DK" sz="675" b="1">
                <a:solidFill>
                  <a:schemeClr val="bg1">
                    <a:lumMod val="50000"/>
                  </a:schemeClr>
                </a:solidFill>
              </a:rPr>
              <a:t>1. </a:t>
            </a:r>
            <a:r>
              <a:rPr lang="da-DK" sz="675">
                <a:solidFill>
                  <a:schemeClr val="bg1">
                    <a:lumMod val="50000"/>
                  </a:schemeClr>
                </a:solidFill>
              </a:rPr>
              <a:t>Klik på </a:t>
            </a:r>
            <a:r>
              <a:rPr lang="da-DK" sz="675" b="1">
                <a:solidFill>
                  <a:schemeClr val="bg1">
                    <a:lumMod val="50000"/>
                  </a:schemeClr>
                </a:solidFill>
              </a:rPr>
              <a:t>Vis</a:t>
            </a:r>
          </a:p>
          <a:p>
            <a:pPr algn="l"/>
            <a:r>
              <a:rPr lang="da-DK" sz="675" b="1">
                <a:solidFill>
                  <a:schemeClr val="bg1">
                    <a:lumMod val="50000"/>
                  </a:schemeClr>
                </a:solidFill>
              </a:rPr>
              <a:t>2. </a:t>
            </a:r>
            <a:r>
              <a:rPr lang="da-DK" sz="675">
                <a:solidFill>
                  <a:schemeClr val="bg1">
                    <a:lumMod val="50000"/>
                  </a:schemeClr>
                </a:solidFill>
              </a:rPr>
              <a:t>Vælg </a:t>
            </a:r>
            <a:r>
              <a:rPr lang="da-DK" sz="675" b="1">
                <a:solidFill>
                  <a:schemeClr val="bg1">
                    <a:lumMod val="50000"/>
                  </a:schemeClr>
                </a:solidFill>
              </a:rPr>
              <a:t>Gitterlinjer </a:t>
            </a:r>
            <a:r>
              <a:rPr lang="da-DK" sz="675">
                <a:solidFill>
                  <a:schemeClr val="bg1">
                    <a:lumMod val="50000"/>
                  </a:schemeClr>
                </a:solidFill>
              </a:rPr>
              <a:t>og/eller </a:t>
            </a:r>
            <a:r>
              <a:rPr lang="da-DK" sz="675" b="1">
                <a:solidFill>
                  <a:schemeClr val="bg1">
                    <a:lumMod val="50000"/>
                  </a:schemeClr>
                </a:solidFill>
              </a:rPr>
              <a:t>Hjælpelinjer</a:t>
            </a:r>
          </a:p>
          <a:p>
            <a:pPr algn="l"/>
            <a:endParaRPr lang="da-DK" sz="675">
              <a:solidFill>
                <a:schemeClr val="bg1">
                  <a:lumMod val="50000"/>
                </a:schemeClr>
              </a:solidFill>
            </a:endParaRPr>
          </a:p>
          <a:p>
            <a:pPr algn="l"/>
            <a:r>
              <a:rPr lang="da-DK" sz="675" b="1">
                <a:solidFill>
                  <a:schemeClr val="bg1">
                    <a:lumMod val="50000"/>
                  </a:schemeClr>
                </a:solidFill>
              </a:rPr>
              <a:t>Tip</a:t>
            </a:r>
            <a:r>
              <a:rPr lang="da-DK" sz="675">
                <a:solidFill>
                  <a:schemeClr val="bg1">
                    <a:lumMod val="50000"/>
                  </a:schemeClr>
                </a:solidFill>
              </a:rPr>
              <a:t>: Alt + F9 for hurtig visning af hjælpelinjer</a:t>
            </a:r>
          </a:p>
          <a:p>
            <a:pPr algn="l"/>
            <a:endParaRPr lang="da-DK" sz="675" err="1">
              <a:solidFill>
                <a:schemeClr val="bg1">
                  <a:lumMod val="50000"/>
                </a:schemeClr>
              </a:solidFill>
            </a:endParaRPr>
          </a:p>
        </p:txBody>
      </p:sp>
      <p:sp>
        <p:nvSpPr>
          <p:cNvPr id="16" name="Tekstboks 15"/>
          <p:cNvSpPr txBox="1"/>
          <p:nvPr userDrawn="1"/>
        </p:nvSpPr>
        <p:spPr>
          <a:xfrm>
            <a:off x="9252521" y="1927800"/>
            <a:ext cx="1836000" cy="373920"/>
          </a:xfrm>
          <a:prstGeom prst="rect">
            <a:avLst/>
          </a:prstGeom>
          <a:noFill/>
        </p:spPr>
        <p:txBody>
          <a:bodyPr wrap="square" lIns="0" tIns="0" rIns="0" bIns="0" rtlCol="0">
            <a:noAutofit/>
          </a:bodyPr>
          <a:lstStyle/>
          <a:p>
            <a:pPr algn="l"/>
            <a:r>
              <a:rPr lang="da-DK" sz="675" b="1" i="0" u="none" strike="noStrike" kern="1200" baseline="0" noProof="1">
                <a:solidFill>
                  <a:schemeClr val="bg1">
                    <a:lumMod val="50000"/>
                  </a:schemeClr>
                </a:solidFill>
                <a:latin typeface="+mn-lt"/>
                <a:ea typeface="+mn-ea"/>
                <a:cs typeface="+mn-cs"/>
              </a:rPr>
              <a:t>Forsider:</a:t>
            </a:r>
          </a:p>
          <a:p>
            <a:pPr algn="l"/>
            <a:r>
              <a:rPr lang="da-DK" sz="675" b="0" i="0" u="none" strike="noStrike" kern="1200" baseline="0" noProof="1">
                <a:solidFill>
                  <a:schemeClr val="bg1">
                    <a:lumMod val="50000"/>
                  </a:schemeClr>
                </a:solidFill>
                <a:latin typeface="+mn-lt"/>
                <a:ea typeface="+mn-ea"/>
                <a:cs typeface="+mn-cs"/>
              </a:rPr>
              <a:t>Husk at der er mulighed for at</a:t>
            </a:r>
          </a:p>
          <a:p>
            <a:pPr algn="l"/>
            <a:r>
              <a:rPr lang="da-DK" sz="675" b="0" i="0" u="none" strike="noStrike" kern="1200" baseline="0" noProof="1">
                <a:solidFill>
                  <a:schemeClr val="bg1">
                    <a:lumMod val="50000"/>
                  </a:schemeClr>
                </a:solidFill>
                <a:latin typeface="+mn-lt"/>
                <a:ea typeface="+mn-ea"/>
                <a:cs typeface="+mn-cs"/>
              </a:rPr>
              <a:t>vælge mellem 6 forsideslides</a:t>
            </a:r>
            <a:endParaRPr lang="da-DK" sz="675" noProof="1">
              <a:solidFill>
                <a:schemeClr val="bg1">
                  <a:lumMod val="50000"/>
                </a:schemeClr>
              </a:solidFill>
              <a:latin typeface="+mn-lt"/>
            </a:endParaRPr>
          </a:p>
        </p:txBody>
      </p:sp>
      <p:grpSp>
        <p:nvGrpSpPr>
          <p:cNvPr id="4" name="Gruppe 3"/>
          <p:cNvGrpSpPr/>
          <p:nvPr userDrawn="1"/>
        </p:nvGrpSpPr>
        <p:grpSpPr>
          <a:xfrm>
            <a:off x="9252520" y="2867909"/>
            <a:ext cx="1666644" cy="2275592"/>
            <a:chOff x="12335087" y="3823878"/>
            <a:chExt cx="2221903" cy="3034122"/>
          </a:xfrm>
        </p:grpSpPr>
        <p:sp>
          <p:nvSpPr>
            <p:cNvPr id="19" name="Tekstboks 18"/>
            <p:cNvSpPr txBox="1"/>
            <p:nvPr userDrawn="1"/>
          </p:nvSpPr>
          <p:spPr>
            <a:xfrm>
              <a:off x="12335087" y="3823878"/>
              <a:ext cx="2221903" cy="1440160"/>
            </a:xfrm>
            <a:prstGeom prst="rect">
              <a:avLst/>
            </a:prstGeom>
            <a:noFill/>
          </p:spPr>
          <p:txBody>
            <a:bodyPr wrap="square" lIns="0" tIns="0" rIns="0" bIns="0" rtlCol="0" anchor="b" anchorCtr="0">
              <a:noAutofit/>
            </a:bodyPr>
            <a:lstStyle/>
            <a:p>
              <a:pPr algn="l"/>
              <a:r>
                <a:rPr lang="da-DK" sz="675" b="1" i="0" u="none" strike="noStrike" kern="1200" baseline="0" noProof="1">
                  <a:solidFill>
                    <a:schemeClr val="bg1">
                      <a:lumMod val="50000"/>
                    </a:schemeClr>
                  </a:solidFill>
                  <a:latin typeface="+mn-lt"/>
                  <a:ea typeface="+mn-ea"/>
                  <a:cs typeface="+mn-cs"/>
                </a:rPr>
                <a:t>Valgfrit:</a:t>
              </a:r>
              <a:br>
                <a:rPr lang="da-DK" sz="675" b="1" i="0" u="none" strike="noStrike" kern="1200" baseline="0" noProof="1">
                  <a:solidFill>
                    <a:schemeClr val="bg1">
                      <a:lumMod val="50000"/>
                    </a:schemeClr>
                  </a:solidFill>
                  <a:latin typeface="+mn-lt"/>
                  <a:ea typeface="+mn-ea"/>
                  <a:cs typeface="+mn-cs"/>
                </a:rPr>
              </a:br>
              <a:r>
                <a:rPr lang="da-DK" sz="675" b="1" i="0" u="none" strike="noStrike" kern="1200" baseline="0" noProof="1">
                  <a:solidFill>
                    <a:schemeClr val="bg1">
                      <a:lumMod val="50000"/>
                    </a:schemeClr>
                  </a:solidFill>
                  <a:latin typeface="+mn-lt"/>
                  <a:ea typeface="+mn-ea"/>
                  <a:cs typeface="+mn-cs"/>
                </a:rPr>
                <a:t>Indsætte Sidehoved og sidefod</a:t>
              </a:r>
            </a:p>
            <a:p>
              <a:pPr algn="l"/>
              <a:r>
                <a:rPr lang="da-DK" sz="675" b="1" i="0" u="none" strike="noStrike" kern="1200" baseline="0" noProof="1">
                  <a:solidFill>
                    <a:schemeClr val="bg1">
                      <a:lumMod val="50000"/>
                    </a:schemeClr>
                  </a:solidFill>
                  <a:latin typeface="+mn-lt"/>
                  <a:ea typeface="+mn-ea"/>
                  <a:cs typeface="+mn-cs"/>
                </a:rPr>
                <a:t>1. </a:t>
              </a:r>
              <a:r>
                <a:rPr lang="da-DK" sz="675" b="0" i="0" u="none" strike="noStrike" kern="1200" baseline="0" noProof="1">
                  <a:solidFill>
                    <a:schemeClr val="bg1">
                      <a:lumMod val="50000"/>
                    </a:schemeClr>
                  </a:solidFill>
                  <a:latin typeface="+mn-lt"/>
                  <a:ea typeface="+mn-ea"/>
                  <a:cs typeface="+mn-cs"/>
                </a:rPr>
                <a:t>Vælg</a:t>
              </a:r>
              <a:r>
                <a:rPr lang="da-DK" sz="675" b="1" i="0" u="none" strike="noStrike" kern="1200" baseline="0" noProof="1">
                  <a:solidFill>
                    <a:schemeClr val="bg1">
                      <a:lumMod val="50000"/>
                    </a:schemeClr>
                  </a:solidFill>
                  <a:latin typeface="+mn-lt"/>
                  <a:ea typeface="+mn-ea"/>
                  <a:cs typeface="+mn-cs"/>
                </a:rPr>
                <a:t> Indsæt </a:t>
              </a:r>
              <a:r>
                <a:rPr lang="da-DK" sz="675" b="0" i="0" u="none" strike="noStrike" kern="1200" baseline="0" noProof="1">
                  <a:solidFill>
                    <a:schemeClr val="bg1">
                      <a:lumMod val="50000"/>
                    </a:schemeClr>
                  </a:solidFill>
                  <a:latin typeface="+mn-lt"/>
                  <a:ea typeface="+mn-ea"/>
                  <a:cs typeface="+mn-cs"/>
                </a:rPr>
                <a:t>i topmenuen </a:t>
              </a:r>
            </a:p>
            <a:p>
              <a:pPr algn="l"/>
              <a:r>
                <a:rPr lang="da-DK" sz="675" b="1" i="0" u="none" strike="noStrike" kern="1200" baseline="0" noProof="1">
                  <a:solidFill>
                    <a:schemeClr val="bg1">
                      <a:lumMod val="50000"/>
                    </a:schemeClr>
                  </a:solidFill>
                  <a:latin typeface="+mn-lt"/>
                  <a:ea typeface="+mn-ea"/>
                  <a:cs typeface="+mn-cs"/>
                </a:rPr>
                <a:t>2. </a:t>
              </a:r>
              <a:r>
                <a:rPr lang="da-DK" sz="675" b="0" i="0" u="none" strike="noStrike" kern="1200" baseline="0" noProof="1">
                  <a:solidFill>
                    <a:schemeClr val="bg1">
                      <a:lumMod val="50000"/>
                    </a:schemeClr>
                  </a:solidFill>
                  <a:latin typeface="+mn-lt"/>
                  <a:ea typeface="+mn-ea"/>
                  <a:cs typeface="+mn-cs"/>
                </a:rPr>
                <a:t>Vælg</a:t>
              </a:r>
              <a:r>
                <a:rPr lang="da-DK" sz="675" b="1" i="0" u="none" strike="noStrike" kern="1200" baseline="0" noProof="1">
                  <a:solidFill>
                    <a:schemeClr val="bg1">
                      <a:lumMod val="50000"/>
                    </a:schemeClr>
                  </a:solidFill>
                  <a:latin typeface="+mn-lt"/>
                  <a:ea typeface="+mn-ea"/>
                  <a:cs typeface="+mn-cs"/>
                </a:rPr>
                <a:t> Sidehoved og Sidefod</a:t>
              </a:r>
            </a:p>
            <a:p>
              <a:pPr algn="l"/>
              <a:r>
                <a:rPr lang="da-DK" sz="675" b="1" i="0" u="none" strike="noStrike" kern="1200" baseline="0" noProof="1">
                  <a:solidFill>
                    <a:schemeClr val="bg1">
                      <a:lumMod val="50000"/>
                    </a:schemeClr>
                  </a:solidFill>
                  <a:latin typeface="+mn-lt"/>
                  <a:ea typeface="+mn-ea"/>
                  <a:cs typeface="+mn-cs"/>
                </a:rPr>
                <a:t>3. </a:t>
              </a:r>
              <a:r>
                <a:rPr lang="da-DK" sz="675" b="0" i="0" u="none" strike="noStrike" kern="1200" baseline="0" noProof="1">
                  <a:solidFill>
                    <a:schemeClr val="bg1">
                      <a:lumMod val="50000"/>
                    </a:schemeClr>
                  </a:solidFill>
                  <a:latin typeface="+mn-lt"/>
                  <a:ea typeface="+mn-ea"/>
                  <a:cs typeface="+mn-cs"/>
                </a:rPr>
                <a:t>Tjek om der er sat hak i </a:t>
              </a:r>
              <a:r>
                <a:rPr lang="da-DK" sz="675" b="1" i="0" u="none" strike="noStrike" kern="1200" baseline="0" noProof="1">
                  <a:solidFill>
                    <a:schemeClr val="bg1">
                      <a:lumMod val="50000"/>
                    </a:schemeClr>
                  </a:solidFill>
                  <a:latin typeface="+mn-lt"/>
                  <a:ea typeface="+mn-ea"/>
                  <a:cs typeface="+mn-cs"/>
                </a:rPr>
                <a:t>Dato og klokkeslæt - Opdater automatisk </a:t>
              </a:r>
              <a:r>
                <a:rPr lang="da-DK" sz="675" b="0" i="0" u="none" strike="noStrike" kern="1200" baseline="0" noProof="1">
                  <a:solidFill>
                    <a:schemeClr val="bg1">
                      <a:lumMod val="50000"/>
                    </a:schemeClr>
                  </a:solidFill>
                  <a:latin typeface="+mn-lt"/>
                  <a:ea typeface="+mn-ea"/>
                  <a:cs typeface="+mn-cs"/>
                </a:rPr>
                <a:t>og i  </a:t>
              </a:r>
              <a:r>
                <a:rPr lang="da-DK" sz="675" b="1" i="0" u="none" strike="noStrike" kern="1200" baseline="0" noProof="1">
                  <a:solidFill>
                    <a:schemeClr val="bg1">
                      <a:lumMod val="50000"/>
                    </a:schemeClr>
                  </a:solidFill>
                  <a:latin typeface="+mn-lt"/>
                  <a:ea typeface="+mn-ea"/>
                  <a:cs typeface="+mn-cs"/>
                </a:rPr>
                <a:t>Diasnummer</a:t>
              </a:r>
            </a:p>
            <a:p>
              <a:pPr algn="l"/>
              <a:r>
                <a:rPr lang="da-DK" sz="675" b="1" i="0" u="none" strike="noStrike" kern="1200" baseline="0" noProof="1">
                  <a:solidFill>
                    <a:schemeClr val="bg1">
                      <a:lumMod val="50000"/>
                    </a:schemeClr>
                  </a:solidFill>
                  <a:latin typeface="+mn-lt"/>
                  <a:ea typeface="+mn-ea"/>
                  <a:cs typeface="+mn-cs"/>
                </a:rPr>
                <a:t>4. </a:t>
              </a:r>
              <a:r>
                <a:rPr lang="da-DK" sz="675" b="0" i="0" u="none" strike="noStrike" kern="1200" baseline="0" noProof="1">
                  <a:solidFill>
                    <a:schemeClr val="bg1">
                      <a:lumMod val="50000"/>
                    </a:schemeClr>
                  </a:solidFill>
                  <a:latin typeface="+mn-lt"/>
                  <a:ea typeface="+mn-ea"/>
                  <a:cs typeface="+mn-cs"/>
                </a:rPr>
                <a:t>Indsæt ønsket indhold i </a:t>
              </a:r>
              <a:r>
                <a:rPr lang="da-DK" sz="675" b="1" i="0" u="none" strike="noStrike" kern="1200" baseline="0" noProof="1">
                  <a:solidFill>
                    <a:schemeClr val="bg1">
                      <a:lumMod val="50000"/>
                    </a:schemeClr>
                  </a:solidFill>
                  <a:latin typeface="+mn-lt"/>
                  <a:ea typeface="+mn-ea"/>
                  <a:cs typeface="+mn-cs"/>
                </a:rPr>
                <a:t>Sidefod</a:t>
              </a:r>
            </a:p>
            <a:p>
              <a:pPr algn="l"/>
              <a:r>
                <a:rPr lang="da-DK" sz="675" b="1" i="0" u="none" strike="noStrike" kern="1200" baseline="0" noProof="1">
                  <a:solidFill>
                    <a:schemeClr val="bg1">
                      <a:lumMod val="50000"/>
                    </a:schemeClr>
                  </a:solidFill>
                  <a:latin typeface="+mn-lt"/>
                  <a:ea typeface="+mn-ea"/>
                  <a:cs typeface="+mn-cs"/>
                </a:rPr>
                <a:t>7. </a:t>
              </a:r>
              <a:r>
                <a:rPr lang="da-DK" sz="675" b="0" i="0" u="none" strike="noStrike" kern="1200" baseline="0" noProof="1">
                  <a:solidFill>
                    <a:schemeClr val="bg1">
                      <a:lumMod val="50000"/>
                    </a:schemeClr>
                  </a:solidFill>
                  <a:latin typeface="+mn-lt"/>
                  <a:ea typeface="+mn-ea"/>
                  <a:cs typeface="+mn-cs"/>
                </a:rPr>
                <a:t>Vælg</a:t>
              </a:r>
              <a:r>
                <a:rPr lang="da-DK" sz="675" b="1" i="0" u="none" strike="noStrike" kern="1200" baseline="0" noProof="1">
                  <a:solidFill>
                    <a:schemeClr val="bg1">
                      <a:lumMod val="50000"/>
                    </a:schemeClr>
                  </a:solidFill>
                  <a:latin typeface="+mn-lt"/>
                  <a:ea typeface="+mn-ea"/>
                  <a:cs typeface="+mn-cs"/>
                </a:rPr>
                <a:t> Anvend </a:t>
              </a:r>
              <a:r>
                <a:rPr lang="da-DK" sz="675" b="0" i="0" u="none" strike="noStrike" kern="1200" baseline="0" noProof="1">
                  <a:solidFill>
                    <a:schemeClr val="bg1">
                      <a:lumMod val="50000"/>
                    </a:schemeClr>
                  </a:solidFill>
                  <a:latin typeface="+mn-lt"/>
                  <a:ea typeface="+mn-ea"/>
                  <a:cs typeface="+mn-cs"/>
                </a:rPr>
                <a:t>på alle eller </a:t>
              </a:r>
              <a:r>
                <a:rPr lang="da-DK" sz="675" b="1" i="0" u="none" strike="noStrike" kern="1200" baseline="0" noProof="1">
                  <a:solidFill>
                    <a:schemeClr val="bg1">
                      <a:lumMod val="50000"/>
                    </a:schemeClr>
                  </a:solidFill>
                  <a:latin typeface="+mn-lt"/>
                  <a:ea typeface="+mn-ea"/>
                  <a:cs typeface="+mn-cs"/>
                </a:rPr>
                <a:t>Anvend</a:t>
              </a:r>
              <a:r>
                <a:rPr lang="da-DK" sz="675" b="0" i="0" u="none" strike="noStrike" kern="1200" baseline="0" noProof="1">
                  <a:solidFill>
                    <a:schemeClr val="bg1">
                      <a:lumMod val="50000"/>
                    </a:schemeClr>
                  </a:solidFill>
                  <a:latin typeface="+mn-lt"/>
                  <a:ea typeface="+mn-ea"/>
                  <a:cs typeface="+mn-cs"/>
                </a:rPr>
                <a:t> hvis det kun skal være på et enkelt slide</a:t>
              </a:r>
            </a:p>
          </p:txBody>
        </p:sp>
        <p:pic>
          <p:nvPicPr>
            <p:cNvPr id="15"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2345182" y="5329522"/>
              <a:ext cx="2211808" cy="15284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206391781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ndhold">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a-DK"/>
              <a:t>Klik for at indsætte overskrift i en eller to linjer</a:t>
            </a:r>
          </a:p>
        </p:txBody>
      </p:sp>
      <p:sp>
        <p:nvSpPr>
          <p:cNvPr id="9" name="Pladsholder til indhold 2"/>
          <p:cNvSpPr>
            <a:spLocks noGrp="1"/>
          </p:cNvSpPr>
          <p:nvPr>
            <p:ph sz="quarter" idx="14" hasCustomPrompt="1"/>
          </p:nvPr>
        </p:nvSpPr>
        <p:spPr>
          <a:xfrm>
            <a:off x="318641" y="1015607"/>
            <a:ext cx="8506107" cy="3483769"/>
          </a:xfrm>
        </p:spPr>
        <p:txBody>
          <a:bodyPr/>
          <a:lstStyle>
            <a:lvl1pPr>
              <a:defRPr/>
            </a:lvl1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p:txBody>
      </p:sp>
      <p:sp>
        <p:nvSpPr>
          <p:cNvPr id="3" name="Pladsholder til dato 2"/>
          <p:cNvSpPr>
            <a:spLocks noGrp="1"/>
          </p:cNvSpPr>
          <p:nvPr>
            <p:ph type="dt" sz="half" idx="10"/>
          </p:nvPr>
        </p:nvSpPr>
        <p:spPr/>
        <p:txBody>
          <a:bodyPr/>
          <a:lstStyle/>
          <a:p>
            <a:r>
              <a:rPr lang="sv-SE"/>
              <a:t>26/03/2026</a:t>
            </a:r>
            <a:endParaRPr lang="da-DK"/>
          </a:p>
        </p:txBody>
      </p:sp>
      <p:sp>
        <p:nvSpPr>
          <p:cNvPr id="4" name="Pladsholder til sidefod 3" hidden="1"/>
          <p:cNvSpPr>
            <a:spLocks noGrp="1"/>
          </p:cNvSpPr>
          <p:nvPr>
            <p:ph type="ftr" sz="quarter" idx="11"/>
          </p:nvPr>
        </p:nvSpPr>
        <p:spPr/>
        <p:txBody>
          <a:bodyPr/>
          <a:lstStyle/>
          <a:p>
            <a:r>
              <a:rPr lang="en-US"/>
              <a:t>Stakeholder Forum Agenda - Classification: External</a:t>
            </a:r>
            <a:endParaRPr lang="da-DK"/>
          </a:p>
        </p:txBody>
      </p:sp>
      <p:sp>
        <p:nvSpPr>
          <p:cNvPr id="5" name="Pladsholder til diasnummer 4"/>
          <p:cNvSpPr>
            <a:spLocks noGrp="1"/>
          </p:cNvSpPr>
          <p:nvPr>
            <p:ph type="sldNum" sz="quarter" idx="12"/>
          </p:nvPr>
        </p:nvSpPr>
        <p:spPr/>
        <p:txBody>
          <a:bodyPr/>
          <a:lstStyle/>
          <a:p>
            <a:fld id="{667EC89C-17A0-4E64-A6D2-B825673CEEDF}" type="slidenum">
              <a:rPr lang="da-DK" smtClean="0"/>
              <a:pPr/>
              <a:t>‹#›</a:t>
            </a:fld>
            <a:endParaRPr lang="da-DK"/>
          </a:p>
        </p:txBody>
      </p:sp>
    </p:spTree>
    <p:extLst>
      <p:ext uri="{BB962C8B-B14F-4D97-AF65-F5344CB8AC3E}">
        <p14:creationId xmlns:p14="http://schemas.microsoft.com/office/powerpoint/2010/main" val="312565108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ndhold med not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a-DK"/>
              <a:t>Klik for at indsætte overskrift i en eller to linjer</a:t>
            </a:r>
          </a:p>
        </p:txBody>
      </p:sp>
      <p:sp>
        <p:nvSpPr>
          <p:cNvPr id="7" name="Pladsholder til indhold 2"/>
          <p:cNvSpPr>
            <a:spLocks noGrp="1"/>
          </p:cNvSpPr>
          <p:nvPr>
            <p:ph sz="quarter" idx="13" hasCustomPrompt="1"/>
          </p:nvPr>
        </p:nvSpPr>
        <p:spPr>
          <a:xfrm>
            <a:off x="318641" y="1015604"/>
            <a:ext cx="8506107" cy="3240000"/>
          </a:xfrm>
        </p:spPr>
        <p:txBody>
          <a:bodyPr tIns="72000" rIns="2160000"/>
          <a:lstStyle>
            <a:lvl1pPr>
              <a:defRPr/>
            </a:lvl1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p:txBody>
      </p:sp>
      <p:sp>
        <p:nvSpPr>
          <p:cNvPr id="8" name="Pladsholder til tekst 3"/>
          <p:cNvSpPr>
            <a:spLocks noGrp="1"/>
          </p:cNvSpPr>
          <p:nvPr>
            <p:ph type="body" sz="quarter" idx="18" hasCustomPrompt="1"/>
          </p:nvPr>
        </p:nvSpPr>
        <p:spPr>
          <a:xfrm>
            <a:off x="318641" y="4311901"/>
            <a:ext cx="8506107" cy="93159"/>
          </a:xfrm>
        </p:spPr>
        <p:txBody>
          <a:bodyPr tIns="0" rIns="0"/>
          <a:lstStyle>
            <a:lvl1pPr algn="r">
              <a:lnSpc>
                <a:spcPct val="100000"/>
              </a:lnSpc>
              <a:spcBef>
                <a:spcPts val="0"/>
              </a:spcBef>
              <a:defRPr sz="600"/>
            </a:lvl1pPr>
          </a:lstStyle>
          <a:p>
            <a:pPr lvl="0"/>
            <a:r>
              <a:rPr lang="da-DK"/>
              <a:t>Klik for at indsætte note</a:t>
            </a:r>
          </a:p>
        </p:txBody>
      </p:sp>
      <p:sp>
        <p:nvSpPr>
          <p:cNvPr id="9" name="Pladsholder til tekst 4"/>
          <p:cNvSpPr>
            <a:spLocks noGrp="1"/>
          </p:cNvSpPr>
          <p:nvPr>
            <p:ph type="body" sz="quarter" idx="19" hasCustomPrompt="1"/>
          </p:nvPr>
        </p:nvSpPr>
        <p:spPr>
          <a:xfrm>
            <a:off x="318641" y="4407266"/>
            <a:ext cx="8506107" cy="99947"/>
          </a:xfrm>
        </p:spPr>
        <p:txBody>
          <a:bodyPr tIns="0" rIns="0"/>
          <a:lstStyle>
            <a:lvl1pPr algn="r">
              <a:lnSpc>
                <a:spcPct val="100000"/>
              </a:lnSpc>
              <a:spcBef>
                <a:spcPts val="0"/>
              </a:spcBef>
              <a:defRPr sz="600"/>
            </a:lvl1pPr>
          </a:lstStyle>
          <a:p>
            <a:pPr lvl="0"/>
            <a:r>
              <a:rPr lang="da-DK"/>
              <a:t>Klik for at indsætte kilde</a:t>
            </a:r>
          </a:p>
        </p:txBody>
      </p:sp>
      <p:sp>
        <p:nvSpPr>
          <p:cNvPr id="3" name="Pladsholder til dato 2"/>
          <p:cNvSpPr>
            <a:spLocks noGrp="1"/>
          </p:cNvSpPr>
          <p:nvPr>
            <p:ph type="dt" sz="half" idx="10"/>
          </p:nvPr>
        </p:nvSpPr>
        <p:spPr>
          <a:xfrm>
            <a:off x="6822776" y="4706100"/>
            <a:ext cx="2012400" cy="118800"/>
          </a:xfrm>
        </p:spPr>
        <p:txBody>
          <a:bodyPr/>
          <a:lstStyle/>
          <a:p>
            <a:r>
              <a:rPr lang="sv-SE"/>
              <a:t>26/03/2026</a:t>
            </a:r>
            <a:endParaRPr lang="da-DK"/>
          </a:p>
        </p:txBody>
      </p:sp>
      <p:sp>
        <p:nvSpPr>
          <p:cNvPr id="4" name="Pladsholder til sidefod 3" hidden="1"/>
          <p:cNvSpPr>
            <a:spLocks noGrp="1"/>
          </p:cNvSpPr>
          <p:nvPr>
            <p:ph type="ftr" sz="quarter" idx="11"/>
          </p:nvPr>
        </p:nvSpPr>
        <p:spPr/>
        <p:txBody>
          <a:bodyPr/>
          <a:lstStyle/>
          <a:p>
            <a:r>
              <a:rPr lang="en-US"/>
              <a:t>Stakeholder Forum Agenda - Classification: External</a:t>
            </a:r>
            <a:endParaRPr lang="da-DK"/>
          </a:p>
        </p:txBody>
      </p:sp>
      <p:sp>
        <p:nvSpPr>
          <p:cNvPr id="5" name="Pladsholder til diasnummer 4"/>
          <p:cNvSpPr>
            <a:spLocks noGrp="1"/>
          </p:cNvSpPr>
          <p:nvPr>
            <p:ph type="sldNum" sz="quarter" idx="12"/>
          </p:nvPr>
        </p:nvSpPr>
        <p:spPr>
          <a:xfrm>
            <a:off x="6822776" y="4819500"/>
            <a:ext cx="2012400" cy="135000"/>
          </a:xfrm>
        </p:spPr>
        <p:txBody>
          <a:bodyPr/>
          <a:lstStyle/>
          <a:p>
            <a:fld id="{667EC89C-17A0-4E64-A6D2-B825673CEEDF}" type="slidenum">
              <a:rPr lang="da-DK" smtClean="0"/>
              <a:pPr/>
              <a:t>‹#›</a:t>
            </a:fld>
            <a:endParaRPr lang="da-DK"/>
          </a:p>
        </p:txBody>
      </p:sp>
      <p:sp>
        <p:nvSpPr>
          <p:cNvPr id="15" name="Tekstboks 14"/>
          <p:cNvSpPr txBox="1"/>
          <p:nvPr userDrawn="1"/>
        </p:nvSpPr>
        <p:spPr>
          <a:xfrm>
            <a:off x="9252521" y="4342799"/>
            <a:ext cx="1836000" cy="195311"/>
          </a:xfrm>
          <a:prstGeom prst="rect">
            <a:avLst/>
          </a:prstGeom>
          <a:noFill/>
        </p:spPr>
        <p:txBody>
          <a:bodyPr wrap="square" lIns="0" tIns="0" rIns="0" bIns="0" rtlCol="0">
            <a:noAutofit/>
          </a:bodyPr>
          <a:lstStyle/>
          <a:p>
            <a:pPr algn="l"/>
            <a:r>
              <a:rPr lang="da-DK" sz="675" b="1" i="0" u="none" strike="noStrike" kern="1200" baseline="0" noProof="1">
                <a:solidFill>
                  <a:schemeClr val="bg1">
                    <a:lumMod val="50000"/>
                  </a:schemeClr>
                </a:solidFill>
                <a:latin typeface="+mn-lt"/>
                <a:ea typeface="+mn-ea"/>
                <a:cs typeface="+mn-cs"/>
              </a:rPr>
              <a:t>Valgfrit at vælge note og kilde:</a:t>
            </a:r>
          </a:p>
        </p:txBody>
      </p:sp>
      <p:grpSp>
        <p:nvGrpSpPr>
          <p:cNvPr id="21" name="Gruppe 20"/>
          <p:cNvGrpSpPr/>
          <p:nvPr userDrawn="1"/>
        </p:nvGrpSpPr>
        <p:grpSpPr>
          <a:xfrm>
            <a:off x="-1215674" y="1015605"/>
            <a:ext cx="1107114" cy="1826177"/>
            <a:chOff x="-1620688" y="1354138"/>
            <a:chExt cx="1475960" cy="2434902"/>
          </a:xfrm>
        </p:grpSpPr>
        <p:sp>
          <p:nvSpPr>
            <p:cNvPr id="22" name="Tekstboks 21"/>
            <p:cNvSpPr txBox="1"/>
            <p:nvPr userDrawn="1"/>
          </p:nvSpPr>
          <p:spPr>
            <a:xfrm>
              <a:off x="-1620688" y="1354138"/>
              <a:ext cx="1475960" cy="2434902"/>
            </a:xfrm>
            <a:prstGeom prst="rect">
              <a:avLst/>
            </a:prstGeom>
            <a:noFill/>
          </p:spPr>
          <p:txBody>
            <a:bodyPr wrap="square" lIns="0" tIns="0" rIns="0" bIns="0" rtlCol="0">
              <a:noAutofit/>
            </a:bodyPr>
            <a:lstStyle/>
            <a:p>
              <a:pPr algn="r"/>
              <a:r>
                <a:rPr lang="da-DK" sz="675" b="1">
                  <a:solidFill>
                    <a:schemeClr val="bg1">
                      <a:lumMod val="50000"/>
                    </a:schemeClr>
                  </a:solidFill>
                </a:rPr>
                <a:t>Tekst-typografier</a:t>
              </a:r>
            </a:p>
            <a:p>
              <a:pPr algn="r"/>
              <a:r>
                <a:rPr lang="da-DK" sz="675" b="0">
                  <a:solidFill>
                    <a:schemeClr val="bg1">
                      <a:lumMod val="50000"/>
                    </a:schemeClr>
                  </a:solidFill>
                </a:rPr>
                <a:t>Brug </a:t>
              </a:r>
              <a:r>
                <a:rPr lang="da-DK" sz="675" b="1">
                  <a:solidFill>
                    <a:schemeClr val="bg1">
                      <a:lumMod val="50000"/>
                    </a:schemeClr>
                  </a:solidFill>
                </a:rPr>
                <a:t>TAB</a:t>
              </a:r>
              <a:r>
                <a:rPr lang="da-DK" sz="675" b="0">
                  <a:solidFill>
                    <a:schemeClr val="bg1">
                      <a:lumMod val="50000"/>
                    </a:schemeClr>
                  </a:solidFill>
                </a:rPr>
                <a:t> for at gå frem</a:t>
              </a:r>
            </a:p>
            <a:p>
              <a:pPr algn="r"/>
              <a:r>
                <a:rPr lang="da-DK" sz="675" b="0">
                  <a:solidFill>
                    <a:schemeClr val="bg1">
                      <a:lumMod val="50000"/>
                    </a:schemeClr>
                  </a:solidFill>
                </a:rPr>
                <a:t>i tekst-niveauer</a:t>
              </a:r>
            </a:p>
            <a:p>
              <a:pPr algn="r"/>
              <a:endParaRPr lang="da-DK" sz="675" b="0">
                <a:solidFill>
                  <a:schemeClr val="bg1">
                    <a:lumMod val="50000"/>
                  </a:schemeClr>
                </a:solidFill>
              </a:endParaRPr>
            </a:p>
            <a:p>
              <a:pPr algn="l"/>
              <a:r>
                <a:rPr lang="da-DK" sz="675" b="0">
                  <a:solidFill>
                    <a:schemeClr val="bg1">
                      <a:lumMod val="50000"/>
                    </a:schemeClr>
                  </a:solidFill>
                </a:rPr>
                <a:t>Klik for at indsætte tekst</a:t>
              </a:r>
            </a:p>
            <a:p>
              <a:pPr marL="80992" indent="-80992" algn="l">
                <a:buFont typeface="Arial" panose="020B0604020202020204" pitchFamily="34" charset="0"/>
                <a:buChar char="•"/>
              </a:pPr>
              <a:r>
                <a:rPr lang="da-DK" sz="675" b="0">
                  <a:solidFill>
                    <a:schemeClr val="bg1">
                      <a:lumMod val="50000"/>
                    </a:schemeClr>
                  </a:solidFill>
                </a:rPr>
                <a:t>Andet niveau</a:t>
              </a:r>
            </a:p>
            <a:p>
              <a:pPr marL="215978" indent="-80992" algn="l">
                <a:buFont typeface="Arial" panose="020B0604020202020204" pitchFamily="34" charset="0"/>
                <a:buChar char="•"/>
              </a:pPr>
              <a:r>
                <a:rPr lang="da-DK" sz="600" b="0">
                  <a:solidFill>
                    <a:schemeClr val="bg1">
                      <a:lumMod val="50000"/>
                    </a:schemeClr>
                  </a:solidFill>
                </a:rPr>
                <a:t>Tredje niveau</a:t>
              </a:r>
            </a:p>
            <a:p>
              <a:pPr marL="350965" indent="-80992" algn="l">
                <a:buFont typeface="Arial" panose="020B0604020202020204" pitchFamily="34" charset="0"/>
                <a:buChar char="•"/>
              </a:pPr>
              <a:r>
                <a:rPr lang="da-DK" sz="450" b="0">
                  <a:solidFill>
                    <a:schemeClr val="bg1">
                      <a:lumMod val="50000"/>
                    </a:schemeClr>
                  </a:solidFill>
                </a:rPr>
                <a:t>Fjerde niveau</a:t>
              </a:r>
            </a:p>
            <a:p>
              <a:pPr marL="458954" indent="-80992" algn="l">
                <a:buFont typeface="Arial" panose="020B0604020202020204" pitchFamily="34" charset="0"/>
                <a:buChar char="•"/>
              </a:pPr>
              <a:r>
                <a:rPr lang="da-DK" sz="450" b="0">
                  <a:solidFill>
                    <a:schemeClr val="bg1">
                      <a:lumMod val="50000"/>
                    </a:schemeClr>
                  </a:solidFill>
                </a:rPr>
                <a:t>Femte niveau</a:t>
              </a:r>
            </a:p>
            <a:p>
              <a:pPr algn="r"/>
              <a:endParaRPr lang="da-DK" sz="675" b="0">
                <a:solidFill>
                  <a:schemeClr val="bg1">
                    <a:lumMod val="50000"/>
                  </a:schemeClr>
                </a:solidFill>
              </a:endParaRPr>
            </a:p>
            <a:p>
              <a:pPr algn="r"/>
              <a:r>
                <a:rPr lang="da-DK" sz="675" b="0">
                  <a:solidFill>
                    <a:schemeClr val="bg1">
                      <a:lumMod val="50000"/>
                    </a:schemeClr>
                  </a:solidFill>
                </a:rPr>
                <a:t>For at gå tilbage i tekst-niveauer,</a:t>
              </a:r>
            </a:p>
            <a:p>
              <a:pPr algn="r"/>
              <a:r>
                <a:rPr lang="da-DK" sz="675" b="0">
                  <a:solidFill>
                    <a:schemeClr val="bg1">
                      <a:lumMod val="50000"/>
                    </a:schemeClr>
                  </a:solidFill>
                </a:rPr>
                <a:t>brug </a:t>
              </a:r>
              <a:r>
                <a:rPr lang="da-DK" sz="675" b="1">
                  <a:solidFill>
                    <a:schemeClr val="bg1">
                      <a:lumMod val="50000"/>
                    </a:schemeClr>
                  </a:solidFill>
                </a:rPr>
                <a:t>SHIFT + TAB</a:t>
              </a:r>
            </a:p>
            <a:p>
              <a:pPr algn="r"/>
              <a:endParaRPr lang="da-DK" sz="675" b="0">
                <a:solidFill>
                  <a:schemeClr val="bg1">
                    <a:lumMod val="50000"/>
                  </a:schemeClr>
                </a:solidFill>
              </a:endParaRPr>
            </a:p>
            <a:p>
              <a:pPr algn="r"/>
              <a:endParaRPr lang="da-DK" sz="675" b="0">
                <a:solidFill>
                  <a:schemeClr val="bg1">
                    <a:lumMod val="50000"/>
                  </a:schemeClr>
                </a:solidFill>
              </a:endParaRPr>
            </a:p>
            <a:p>
              <a:pPr algn="r"/>
              <a:r>
                <a:rPr lang="da-DK" sz="675" b="0">
                  <a:solidFill>
                    <a:schemeClr val="bg1">
                      <a:lumMod val="50000"/>
                    </a:schemeClr>
                  </a:solidFill>
                </a:rPr>
                <a:t>Alternativt kan</a:t>
              </a:r>
            </a:p>
            <a:p>
              <a:pPr algn="r"/>
              <a:r>
                <a:rPr lang="da-DK" sz="675" b="1">
                  <a:solidFill>
                    <a:schemeClr val="bg1">
                      <a:lumMod val="50000"/>
                    </a:schemeClr>
                  </a:solidFill>
                </a:rPr>
                <a:t>Forøg og Formindsk </a:t>
              </a:r>
            </a:p>
            <a:p>
              <a:pPr algn="r"/>
              <a:r>
                <a:rPr lang="da-DK" sz="675" b="0">
                  <a:solidFill>
                    <a:schemeClr val="bg1">
                      <a:lumMod val="50000"/>
                    </a:schemeClr>
                  </a:solidFill>
                </a:rPr>
                <a:t>listeniveau bruges</a:t>
              </a:r>
            </a:p>
          </p:txBody>
        </p:sp>
        <p:grpSp>
          <p:nvGrpSpPr>
            <p:cNvPr id="23" name="Gruppe 22"/>
            <p:cNvGrpSpPr/>
            <p:nvPr userDrawn="1"/>
          </p:nvGrpSpPr>
          <p:grpSpPr>
            <a:xfrm>
              <a:off x="-503503" y="3048030"/>
              <a:ext cx="358775" cy="236537"/>
              <a:chOff x="-503503" y="3171825"/>
              <a:chExt cx="358775" cy="236537"/>
            </a:xfrm>
          </p:grpSpPr>
          <p:pic>
            <p:nvPicPr>
              <p:cNvPr id="2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3503" y="3171825"/>
                <a:ext cx="358775" cy="2365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Afrundet rektangel 24"/>
              <p:cNvSpPr/>
              <p:nvPr userDrawn="1"/>
            </p:nvSpPr>
            <p:spPr>
              <a:xfrm>
                <a:off x="-503503" y="3171825"/>
                <a:ext cx="179387" cy="236537"/>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sz="750"/>
              </a:p>
            </p:txBody>
          </p:sp>
        </p:grpSp>
      </p:grpSp>
    </p:spTree>
    <p:extLst>
      <p:ext uri="{BB962C8B-B14F-4D97-AF65-F5344CB8AC3E}">
        <p14:creationId xmlns:p14="http://schemas.microsoft.com/office/powerpoint/2010/main" val="21048295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o indhold med not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a-DK"/>
              <a:t>Klik for at indsætte overskrift i en eller to linjer</a:t>
            </a:r>
          </a:p>
        </p:txBody>
      </p:sp>
      <p:sp>
        <p:nvSpPr>
          <p:cNvPr id="7" name="Pladsholder til indhold 2"/>
          <p:cNvSpPr>
            <a:spLocks noGrp="1"/>
          </p:cNvSpPr>
          <p:nvPr>
            <p:ph sz="quarter" idx="13" hasCustomPrompt="1"/>
          </p:nvPr>
        </p:nvSpPr>
        <p:spPr>
          <a:xfrm>
            <a:off x="318641" y="1015604"/>
            <a:ext cx="4185545" cy="3240000"/>
          </a:xfrm>
        </p:spPr>
        <p:txBody>
          <a:bodyPr tIns="72000" rIns="1080000"/>
          <a:lstStyle>
            <a:lvl1pPr>
              <a:defRPr/>
            </a:lvl1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p:txBody>
      </p:sp>
      <p:sp>
        <p:nvSpPr>
          <p:cNvPr id="8" name="Pladsholder til tekst 3"/>
          <p:cNvSpPr>
            <a:spLocks noGrp="1"/>
          </p:cNvSpPr>
          <p:nvPr>
            <p:ph type="body" sz="quarter" idx="18" hasCustomPrompt="1"/>
          </p:nvPr>
        </p:nvSpPr>
        <p:spPr>
          <a:xfrm>
            <a:off x="4638158" y="4311899"/>
            <a:ext cx="4185545" cy="94500"/>
          </a:xfrm>
        </p:spPr>
        <p:txBody>
          <a:bodyPr tIns="0" rIns="0"/>
          <a:lstStyle>
            <a:lvl1pPr algn="r">
              <a:lnSpc>
                <a:spcPct val="100000"/>
              </a:lnSpc>
              <a:spcBef>
                <a:spcPts val="0"/>
              </a:spcBef>
              <a:defRPr sz="600"/>
            </a:lvl1pPr>
          </a:lstStyle>
          <a:p>
            <a:pPr lvl="0"/>
            <a:r>
              <a:rPr lang="da-DK"/>
              <a:t>Klik for at indsætte note</a:t>
            </a:r>
          </a:p>
        </p:txBody>
      </p:sp>
      <p:sp>
        <p:nvSpPr>
          <p:cNvPr id="9" name="Pladsholder til tekst 4"/>
          <p:cNvSpPr>
            <a:spLocks noGrp="1"/>
          </p:cNvSpPr>
          <p:nvPr>
            <p:ph type="body" sz="quarter" idx="19" hasCustomPrompt="1"/>
          </p:nvPr>
        </p:nvSpPr>
        <p:spPr>
          <a:xfrm>
            <a:off x="4638158" y="4407264"/>
            <a:ext cx="4185545" cy="99900"/>
          </a:xfrm>
        </p:spPr>
        <p:txBody>
          <a:bodyPr tIns="0" rIns="0"/>
          <a:lstStyle>
            <a:lvl1pPr algn="r">
              <a:lnSpc>
                <a:spcPct val="100000"/>
              </a:lnSpc>
              <a:spcBef>
                <a:spcPts val="0"/>
              </a:spcBef>
              <a:defRPr sz="600"/>
            </a:lvl1pPr>
          </a:lstStyle>
          <a:p>
            <a:pPr lvl="0"/>
            <a:r>
              <a:rPr lang="da-DK"/>
              <a:t>Klik for at indsætte kilde</a:t>
            </a:r>
          </a:p>
        </p:txBody>
      </p:sp>
      <p:sp>
        <p:nvSpPr>
          <p:cNvPr id="3" name="Pladsholder til dato 2"/>
          <p:cNvSpPr>
            <a:spLocks noGrp="1"/>
          </p:cNvSpPr>
          <p:nvPr>
            <p:ph type="dt" sz="half" idx="10"/>
          </p:nvPr>
        </p:nvSpPr>
        <p:spPr>
          <a:xfrm>
            <a:off x="6822776" y="4706100"/>
            <a:ext cx="2012400" cy="118800"/>
          </a:xfrm>
        </p:spPr>
        <p:txBody>
          <a:bodyPr/>
          <a:lstStyle/>
          <a:p>
            <a:r>
              <a:rPr lang="sv-SE"/>
              <a:t>26/03/2026</a:t>
            </a:r>
            <a:endParaRPr lang="da-DK"/>
          </a:p>
        </p:txBody>
      </p:sp>
      <p:sp>
        <p:nvSpPr>
          <p:cNvPr id="4" name="Pladsholder til sidefod 3" hidden="1"/>
          <p:cNvSpPr>
            <a:spLocks noGrp="1"/>
          </p:cNvSpPr>
          <p:nvPr>
            <p:ph type="ftr" sz="quarter" idx="11"/>
          </p:nvPr>
        </p:nvSpPr>
        <p:spPr/>
        <p:txBody>
          <a:bodyPr/>
          <a:lstStyle/>
          <a:p>
            <a:r>
              <a:rPr lang="en-US"/>
              <a:t>Stakeholder Forum Agenda - Classification: External</a:t>
            </a:r>
            <a:endParaRPr lang="da-DK"/>
          </a:p>
        </p:txBody>
      </p:sp>
      <p:sp>
        <p:nvSpPr>
          <p:cNvPr id="5" name="Pladsholder til diasnummer 4"/>
          <p:cNvSpPr>
            <a:spLocks noGrp="1"/>
          </p:cNvSpPr>
          <p:nvPr>
            <p:ph type="sldNum" sz="quarter" idx="12"/>
          </p:nvPr>
        </p:nvSpPr>
        <p:spPr>
          <a:xfrm>
            <a:off x="6822776" y="4819500"/>
            <a:ext cx="2012400" cy="135000"/>
          </a:xfrm>
        </p:spPr>
        <p:txBody>
          <a:bodyPr/>
          <a:lstStyle/>
          <a:p>
            <a:fld id="{667EC89C-17A0-4E64-A6D2-B825673CEEDF}" type="slidenum">
              <a:rPr lang="da-DK" smtClean="0"/>
              <a:pPr/>
              <a:t>‹#›</a:t>
            </a:fld>
            <a:endParaRPr lang="da-DK"/>
          </a:p>
        </p:txBody>
      </p:sp>
      <p:sp>
        <p:nvSpPr>
          <p:cNvPr id="15" name="Tekstboks 14"/>
          <p:cNvSpPr txBox="1"/>
          <p:nvPr userDrawn="1"/>
        </p:nvSpPr>
        <p:spPr>
          <a:xfrm>
            <a:off x="9252521" y="4342799"/>
            <a:ext cx="1836000" cy="195311"/>
          </a:xfrm>
          <a:prstGeom prst="rect">
            <a:avLst/>
          </a:prstGeom>
          <a:noFill/>
        </p:spPr>
        <p:txBody>
          <a:bodyPr wrap="square" lIns="0" tIns="0" rIns="0" bIns="0" rtlCol="0">
            <a:noAutofit/>
          </a:bodyPr>
          <a:lstStyle/>
          <a:p>
            <a:pPr algn="l"/>
            <a:r>
              <a:rPr lang="da-DK" sz="675" b="1" i="0" u="none" strike="noStrike" kern="1200" baseline="0" noProof="1">
                <a:solidFill>
                  <a:schemeClr val="bg1">
                    <a:lumMod val="50000"/>
                  </a:schemeClr>
                </a:solidFill>
                <a:latin typeface="+mn-lt"/>
                <a:ea typeface="+mn-ea"/>
                <a:cs typeface="+mn-cs"/>
              </a:rPr>
              <a:t>Valgfrit at vælge note og kilde:</a:t>
            </a:r>
          </a:p>
        </p:txBody>
      </p:sp>
      <p:sp>
        <p:nvSpPr>
          <p:cNvPr id="16" name="Pladsholder til indhold 2"/>
          <p:cNvSpPr>
            <a:spLocks noGrp="1"/>
          </p:cNvSpPr>
          <p:nvPr>
            <p:ph sz="quarter" idx="20" hasCustomPrompt="1"/>
          </p:nvPr>
        </p:nvSpPr>
        <p:spPr>
          <a:xfrm>
            <a:off x="4640337" y="1015604"/>
            <a:ext cx="4185545" cy="3240000"/>
          </a:xfrm>
        </p:spPr>
        <p:txBody>
          <a:bodyPr tIns="72000" rIns="1080000"/>
          <a:lstStyle>
            <a:lvl1pPr>
              <a:defRPr/>
            </a:lvl1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p:txBody>
      </p:sp>
      <p:sp>
        <p:nvSpPr>
          <p:cNvPr id="17" name="Pladsholder til tekst 3"/>
          <p:cNvSpPr>
            <a:spLocks noGrp="1"/>
          </p:cNvSpPr>
          <p:nvPr>
            <p:ph type="body" sz="quarter" idx="21" hasCustomPrompt="1"/>
          </p:nvPr>
        </p:nvSpPr>
        <p:spPr>
          <a:xfrm>
            <a:off x="318643" y="4311901"/>
            <a:ext cx="4185545" cy="93159"/>
          </a:xfrm>
        </p:spPr>
        <p:txBody>
          <a:bodyPr tIns="0" rIns="0"/>
          <a:lstStyle>
            <a:lvl1pPr algn="r">
              <a:lnSpc>
                <a:spcPct val="100000"/>
              </a:lnSpc>
              <a:spcBef>
                <a:spcPts val="0"/>
              </a:spcBef>
              <a:defRPr sz="600"/>
            </a:lvl1pPr>
          </a:lstStyle>
          <a:p>
            <a:pPr lvl="0"/>
            <a:r>
              <a:rPr lang="da-DK"/>
              <a:t>Klik for at indsætte note</a:t>
            </a:r>
          </a:p>
        </p:txBody>
      </p:sp>
      <p:sp>
        <p:nvSpPr>
          <p:cNvPr id="18" name="Pladsholder til tekst 4"/>
          <p:cNvSpPr>
            <a:spLocks noGrp="1"/>
          </p:cNvSpPr>
          <p:nvPr>
            <p:ph type="body" sz="quarter" idx="22" hasCustomPrompt="1"/>
          </p:nvPr>
        </p:nvSpPr>
        <p:spPr>
          <a:xfrm>
            <a:off x="318643" y="4407266"/>
            <a:ext cx="4185545" cy="99947"/>
          </a:xfrm>
        </p:spPr>
        <p:txBody>
          <a:bodyPr tIns="0" rIns="0"/>
          <a:lstStyle>
            <a:lvl1pPr algn="r">
              <a:lnSpc>
                <a:spcPct val="100000"/>
              </a:lnSpc>
              <a:spcBef>
                <a:spcPts val="0"/>
              </a:spcBef>
              <a:defRPr sz="600"/>
            </a:lvl1pPr>
          </a:lstStyle>
          <a:p>
            <a:pPr lvl="0"/>
            <a:r>
              <a:rPr lang="da-DK"/>
              <a:t>Klik for at indsætte kilde</a:t>
            </a:r>
          </a:p>
        </p:txBody>
      </p:sp>
      <p:grpSp>
        <p:nvGrpSpPr>
          <p:cNvPr id="24" name="Gruppe 23"/>
          <p:cNvGrpSpPr/>
          <p:nvPr userDrawn="1"/>
        </p:nvGrpSpPr>
        <p:grpSpPr>
          <a:xfrm>
            <a:off x="-1215674" y="1015605"/>
            <a:ext cx="1107114" cy="1826177"/>
            <a:chOff x="-1620688" y="1354138"/>
            <a:chExt cx="1475960" cy="2434902"/>
          </a:xfrm>
        </p:grpSpPr>
        <p:sp>
          <p:nvSpPr>
            <p:cNvPr id="25" name="Tekstboks 24"/>
            <p:cNvSpPr txBox="1"/>
            <p:nvPr userDrawn="1"/>
          </p:nvSpPr>
          <p:spPr>
            <a:xfrm>
              <a:off x="-1620688" y="1354138"/>
              <a:ext cx="1475960" cy="2434902"/>
            </a:xfrm>
            <a:prstGeom prst="rect">
              <a:avLst/>
            </a:prstGeom>
            <a:noFill/>
          </p:spPr>
          <p:txBody>
            <a:bodyPr wrap="square" lIns="0" tIns="0" rIns="0" bIns="0" rtlCol="0">
              <a:noAutofit/>
            </a:bodyPr>
            <a:lstStyle/>
            <a:p>
              <a:pPr algn="r"/>
              <a:r>
                <a:rPr lang="da-DK" sz="675" b="1">
                  <a:solidFill>
                    <a:schemeClr val="bg1">
                      <a:lumMod val="50000"/>
                    </a:schemeClr>
                  </a:solidFill>
                </a:rPr>
                <a:t>Tekst-typografier</a:t>
              </a:r>
            </a:p>
            <a:p>
              <a:pPr algn="r"/>
              <a:r>
                <a:rPr lang="da-DK" sz="675" b="0">
                  <a:solidFill>
                    <a:schemeClr val="bg1">
                      <a:lumMod val="50000"/>
                    </a:schemeClr>
                  </a:solidFill>
                </a:rPr>
                <a:t>Brug </a:t>
              </a:r>
              <a:r>
                <a:rPr lang="da-DK" sz="675" b="1">
                  <a:solidFill>
                    <a:schemeClr val="bg1">
                      <a:lumMod val="50000"/>
                    </a:schemeClr>
                  </a:solidFill>
                </a:rPr>
                <a:t>TAB</a:t>
              </a:r>
              <a:r>
                <a:rPr lang="da-DK" sz="675" b="0">
                  <a:solidFill>
                    <a:schemeClr val="bg1">
                      <a:lumMod val="50000"/>
                    </a:schemeClr>
                  </a:solidFill>
                </a:rPr>
                <a:t> for at gå frem</a:t>
              </a:r>
            </a:p>
            <a:p>
              <a:pPr algn="r"/>
              <a:r>
                <a:rPr lang="da-DK" sz="675" b="0">
                  <a:solidFill>
                    <a:schemeClr val="bg1">
                      <a:lumMod val="50000"/>
                    </a:schemeClr>
                  </a:solidFill>
                </a:rPr>
                <a:t>i tekst-niveauer</a:t>
              </a:r>
            </a:p>
            <a:p>
              <a:pPr algn="r"/>
              <a:endParaRPr lang="da-DK" sz="675" b="0">
                <a:solidFill>
                  <a:schemeClr val="bg1">
                    <a:lumMod val="50000"/>
                  </a:schemeClr>
                </a:solidFill>
              </a:endParaRPr>
            </a:p>
            <a:p>
              <a:pPr algn="l"/>
              <a:r>
                <a:rPr lang="da-DK" sz="675" b="0">
                  <a:solidFill>
                    <a:schemeClr val="bg1">
                      <a:lumMod val="50000"/>
                    </a:schemeClr>
                  </a:solidFill>
                </a:rPr>
                <a:t>Klik for at indsætte tekst</a:t>
              </a:r>
            </a:p>
            <a:p>
              <a:pPr marL="80992" indent="-80992" algn="l">
                <a:buFont typeface="Arial" panose="020B0604020202020204" pitchFamily="34" charset="0"/>
                <a:buChar char="•"/>
              </a:pPr>
              <a:r>
                <a:rPr lang="da-DK" sz="675" b="0">
                  <a:solidFill>
                    <a:schemeClr val="bg1">
                      <a:lumMod val="50000"/>
                    </a:schemeClr>
                  </a:solidFill>
                </a:rPr>
                <a:t>Andet niveau</a:t>
              </a:r>
            </a:p>
            <a:p>
              <a:pPr marL="215978" indent="-80992" algn="l">
                <a:buFont typeface="Arial" panose="020B0604020202020204" pitchFamily="34" charset="0"/>
                <a:buChar char="•"/>
              </a:pPr>
              <a:r>
                <a:rPr lang="da-DK" sz="600" b="0">
                  <a:solidFill>
                    <a:schemeClr val="bg1">
                      <a:lumMod val="50000"/>
                    </a:schemeClr>
                  </a:solidFill>
                </a:rPr>
                <a:t>Tredje niveau</a:t>
              </a:r>
            </a:p>
            <a:p>
              <a:pPr marL="350965" indent="-80992" algn="l">
                <a:buFont typeface="Arial" panose="020B0604020202020204" pitchFamily="34" charset="0"/>
                <a:buChar char="•"/>
              </a:pPr>
              <a:r>
                <a:rPr lang="da-DK" sz="450" b="0">
                  <a:solidFill>
                    <a:schemeClr val="bg1">
                      <a:lumMod val="50000"/>
                    </a:schemeClr>
                  </a:solidFill>
                </a:rPr>
                <a:t>Fjerde niveau</a:t>
              </a:r>
            </a:p>
            <a:p>
              <a:pPr marL="458954" indent="-80992" algn="l">
                <a:buFont typeface="Arial" panose="020B0604020202020204" pitchFamily="34" charset="0"/>
                <a:buChar char="•"/>
              </a:pPr>
              <a:r>
                <a:rPr lang="da-DK" sz="450" b="0">
                  <a:solidFill>
                    <a:schemeClr val="bg1">
                      <a:lumMod val="50000"/>
                    </a:schemeClr>
                  </a:solidFill>
                </a:rPr>
                <a:t>Femte niveau</a:t>
              </a:r>
            </a:p>
            <a:p>
              <a:pPr algn="r"/>
              <a:endParaRPr lang="da-DK" sz="675" b="0">
                <a:solidFill>
                  <a:schemeClr val="bg1">
                    <a:lumMod val="50000"/>
                  </a:schemeClr>
                </a:solidFill>
              </a:endParaRPr>
            </a:p>
            <a:p>
              <a:pPr algn="r"/>
              <a:r>
                <a:rPr lang="da-DK" sz="675" b="0">
                  <a:solidFill>
                    <a:schemeClr val="bg1">
                      <a:lumMod val="50000"/>
                    </a:schemeClr>
                  </a:solidFill>
                </a:rPr>
                <a:t>For at gå tilbage i tekst-niveauer,</a:t>
              </a:r>
            </a:p>
            <a:p>
              <a:pPr algn="r"/>
              <a:r>
                <a:rPr lang="da-DK" sz="675" b="0">
                  <a:solidFill>
                    <a:schemeClr val="bg1">
                      <a:lumMod val="50000"/>
                    </a:schemeClr>
                  </a:solidFill>
                </a:rPr>
                <a:t>brug </a:t>
              </a:r>
              <a:r>
                <a:rPr lang="da-DK" sz="675" b="1">
                  <a:solidFill>
                    <a:schemeClr val="bg1">
                      <a:lumMod val="50000"/>
                    </a:schemeClr>
                  </a:solidFill>
                </a:rPr>
                <a:t>SHIFT + TAB</a:t>
              </a:r>
            </a:p>
            <a:p>
              <a:pPr algn="r"/>
              <a:endParaRPr lang="da-DK" sz="675" b="0">
                <a:solidFill>
                  <a:schemeClr val="bg1">
                    <a:lumMod val="50000"/>
                  </a:schemeClr>
                </a:solidFill>
              </a:endParaRPr>
            </a:p>
            <a:p>
              <a:pPr algn="r"/>
              <a:endParaRPr lang="da-DK" sz="675" b="0">
                <a:solidFill>
                  <a:schemeClr val="bg1">
                    <a:lumMod val="50000"/>
                  </a:schemeClr>
                </a:solidFill>
              </a:endParaRPr>
            </a:p>
            <a:p>
              <a:pPr algn="r"/>
              <a:r>
                <a:rPr lang="da-DK" sz="675" b="0">
                  <a:solidFill>
                    <a:schemeClr val="bg1">
                      <a:lumMod val="50000"/>
                    </a:schemeClr>
                  </a:solidFill>
                </a:rPr>
                <a:t>Alternativt kan</a:t>
              </a:r>
            </a:p>
            <a:p>
              <a:pPr algn="r"/>
              <a:r>
                <a:rPr lang="da-DK" sz="675" b="1">
                  <a:solidFill>
                    <a:schemeClr val="bg1">
                      <a:lumMod val="50000"/>
                    </a:schemeClr>
                  </a:solidFill>
                </a:rPr>
                <a:t>Forøg og Formindsk </a:t>
              </a:r>
            </a:p>
            <a:p>
              <a:pPr algn="r"/>
              <a:r>
                <a:rPr lang="da-DK" sz="675" b="0">
                  <a:solidFill>
                    <a:schemeClr val="bg1">
                      <a:lumMod val="50000"/>
                    </a:schemeClr>
                  </a:solidFill>
                </a:rPr>
                <a:t>listeniveau bruges</a:t>
              </a:r>
            </a:p>
          </p:txBody>
        </p:sp>
        <p:grpSp>
          <p:nvGrpSpPr>
            <p:cNvPr id="26" name="Gruppe 25"/>
            <p:cNvGrpSpPr/>
            <p:nvPr userDrawn="1"/>
          </p:nvGrpSpPr>
          <p:grpSpPr>
            <a:xfrm>
              <a:off x="-503503" y="3048030"/>
              <a:ext cx="358775" cy="236537"/>
              <a:chOff x="-503503" y="3171825"/>
              <a:chExt cx="358775" cy="236537"/>
            </a:xfrm>
          </p:grpSpPr>
          <p:pic>
            <p:nvPicPr>
              <p:cNvPr id="2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3503" y="3171825"/>
                <a:ext cx="358775" cy="2365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 name="Afrundet rektangel 27"/>
              <p:cNvSpPr/>
              <p:nvPr userDrawn="1"/>
            </p:nvSpPr>
            <p:spPr>
              <a:xfrm>
                <a:off x="-503503" y="3171825"/>
                <a:ext cx="179387" cy="236537"/>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sz="750"/>
              </a:p>
            </p:txBody>
          </p:sp>
        </p:grpSp>
      </p:grpSp>
    </p:spTree>
    <p:extLst>
      <p:ext uri="{BB962C8B-B14F-4D97-AF65-F5344CB8AC3E}">
        <p14:creationId xmlns:p14="http://schemas.microsoft.com/office/powerpoint/2010/main" val="243030821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ndhold til figu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a-DK"/>
              <a:t>Klik for at indsætte overskrift i en eller to linjer</a:t>
            </a:r>
          </a:p>
        </p:txBody>
      </p:sp>
      <p:sp>
        <p:nvSpPr>
          <p:cNvPr id="10" name="Pladsholder til tekst 2"/>
          <p:cNvSpPr>
            <a:spLocks noGrp="1"/>
          </p:cNvSpPr>
          <p:nvPr>
            <p:ph type="body" sz="quarter" idx="17" hasCustomPrompt="1"/>
          </p:nvPr>
        </p:nvSpPr>
        <p:spPr>
          <a:xfrm>
            <a:off x="318641" y="1014413"/>
            <a:ext cx="8506107" cy="270000"/>
          </a:xfrm>
        </p:spPr>
        <p:txBody>
          <a:bodyPr tIns="0" rIns="0"/>
          <a:lstStyle>
            <a:lvl1pPr>
              <a:spcBef>
                <a:spcPts val="0"/>
              </a:spcBef>
              <a:defRPr sz="1050" b="1"/>
            </a:lvl1pPr>
          </a:lstStyle>
          <a:p>
            <a:pPr lvl="0"/>
            <a:r>
              <a:rPr lang="da-DK"/>
              <a:t>Klik for at indsætte figurtitel i en linje</a:t>
            </a:r>
          </a:p>
        </p:txBody>
      </p:sp>
      <p:sp>
        <p:nvSpPr>
          <p:cNvPr id="7" name="Pladsholder til indhold 3"/>
          <p:cNvSpPr>
            <a:spLocks noGrp="1"/>
          </p:cNvSpPr>
          <p:nvPr>
            <p:ph sz="quarter" idx="13" hasCustomPrompt="1"/>
          </p:nvPr>
        </p:nvSpPr>
        <p:spPr>
          <a:xfrm>
            <a:off x="318641" y="1285200"/>
            <a:ext cx="8506107" cy="2970000"/>
          </a:xfrm>
        </p:spPr>
        <p:txBody>
          <a:bodyPr tIns="72000" rIns="2160000"/>
          <a:lstStyle>
            <a:lvl1pPr>
              <a:defRPr/>
            </a:lvl1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p:txBody>
      </p:sp>
      <p:sp>
        <p:nvSpPr>
          <p:cNvPr id="8" name="Pladsholder til tekst 4"/>
          <p:cNvSpPr>
            <a:spLocks noGrp="1"/>
          </p:cNvSpPr>
          <p:nvPr>
            <p:ph type="body" sz="quarter" idx="18" hasCustomPrompt="1"/>
          </p:nvPr>
        </p:nvSpPr>
        <p:spPr>
          <a:xfrm>
            <a:off x="318641" y="4311901"/>
            <a:ext cx="8506107" cy="93159"/>
          </a:xfrm>
        </p:spPr>
        <p:txBody>
          <a:bodyPr tIns="0" rIns="0"/>
          <a:lstStyle>
            <a:lvl1pPr algn="r">
              <a:lnSpc>
                <a:spcPct val="100000"/>
              </a:lnSpc>
              <a:spcBef>
                <a:spcPts val="0"/>
              </a:spcBef>
              <a:defRPr sz="600"/>
            </a:lvl1pPr>
          </a:lstStyle>
          <a:p>
            <a:pPr lvl="0"/>
            <a:r>
              <a:rPr lang="da-DK"/>
              <a:t>Klik for at indsætte note</a:t>
            </a:r>
          </a:p>
        </p:txBody>
      </p:sp>
      <p:sp>
        <p:nvSpPr>
          <p:cNvPr id="9" name="Pladsholder til tekst 5"/>
          <p:cNvSpPr>
            <a:spLocks noGrp="1"/>
          </p:cNvSpPr>
          <p:nvPr>
            <p:ph type="body" sz="quarter" idx="19" hasCustomPrompt="1"/>
          </p:nvPr>
        </p:nvSpPr>
        <p:spPr>
          <a:xfrm>
            <a:off x="318641" y="4407266"/>
            <a:ext cx="8506107" cy="99947"/>
          </a:xfrm>
        </p:spPr>
        <p:txBody>
          <a:bodyPr tIns="0" rIns="0"/>
          <a:lstStyle>
            <a:lvl1pPr algn="r">
              <a:lnSpc>
                <a:spcPct val="100000"/>
              </a:lnSpc>
              <a:spcBef>
                <a:spcPts val="0"/>
              </a:spcBef>
              <a:defRPr sz="600"/>
            </a:lvl1pPr>
          </a:lstStyle>
          <a:p>
            <a:pPr lvl="0"/>
            <a:r>
              <a:rPr lang="da-DK"/>
              <a:t>Klik for at indsætte kilde</a:t>
            </a:r>
          </a:p>
        </p:txBody>
      </p:sp>
      <p:sp>
        <p:nvSpPr>
          <p:cNvPr id="3" name="Pladsholder til dato 2"/>
          <p:cNvSpPr>
            <a:spLocks noGrp="1"/>
          </p:cNvSpPr>
          <p:nvPr>
            <p:ph type="dt" sz="half" idx="10"/>
          </p:nvPr>
        </p:nvSpPr>
        <p:spPr/>
        <p:txBody>
          <a:bodyPr/>
          <a:lstStyle/>
          <a:p>
            <a:r>
              <a:rPr lang="sv-SE"/>
              <a:t>26/03/2026</a:t>
            </a:r>
            <a:endParaRPr lang="da-DK"/>
          </a:p>
        </p:txBody>
      </p:sp>
      <p:sp>
        <p:nvSpPr>
          <p:cNvPr id="4" name="Pladsholder til sidefod 3" hidden="1"/>
          <p:cNvSpPr>
            <a:spLocks noGrp="1"/>
          </p:cNvSpPr>
          <p:nvPr>
            <p:ph type="ftr" sz="quarter" idx="11"/>
          </p:nvPr>
        </p:nvSpPr>
        <p:spPr/>
        <p:txBody>
          <a:bodyPr/>
          <a:lstStyle/>
          <a:p>
            <a:r>
              <a:rPr lang="en-US"/>
              <a:t>Stakeholder Forum Agenda - Classification: External</a:t>
            </a:r>
            <a:endParaRPr lang="da-DK"/>
          </a:p>
        </p:txBody>
      </p:sp>
      <p:sp>
        <p:nvSpPr>
          <p:cNvPr id="5" name="Pladsholder til diasnummer 4"/>
          <p:cNvSpPr>
            <a:spLocks noGrp="1"/>
          </p:cNvSpPr>
          <p:nvPr>
            <p:ph type="sldNum" sz="quarter" idx="12"/>
          </p:nvPr>
        </p:nvSpPr>
        <p:spPr/>
        <p:txBody>
          <a:bodyPr/>
          <a:lstStyle/>
          <a:p>
            <a:fld id="{667EC89C-17A0-4E64-A6D2-B825673CEEDF}" type="slidenum">
              <a:rPr lang="da-DK" smtClean="0"/>
              <a:pPr/>
              <a:t>‹#›</a:t>
            </a:fld>
            <a:endParaRPr lang="da-DK"/>
          </a:p>
        </p:txBody>
      </p:sp>
      <p:grpSp>
        <p:nvGrpSpPr>
          <p:cNvPr id="21" name="Gruppe 20"/>
          <p:cNvGrpSpPr/>
          <p:nvPr userDrawn="1"/>
        </p:nvGrpSpPr>
        <p:grpSpPr>
          <a:xfrm>
            <a:off x="-1215674" y="1015605"/>
            <a:ext cx="1107114" cy="1826177"/>
            <a:chOff x="-1620688" y="1354138"/>
            <a:chExt cx="1475960" cy="2434902"/>
          </a:xfrm>
        </p:grpSpPr>
        <p:sp>
          <p:nvSpPr>
            <p:cNvPr id="22" name="Tekstboks 21"/>
            <p:cNvSpPr txBox="1"/>
            <p:nvPr userDrawn="1"/>
          </p:nvSpPr>
          <p:spPr>
            <a:xfrm>
              <a:off x="-1620688" y="1354138"/>
              <a:ext cx="1475960" cy="2434902"/>
            </a:xfrm>
            <a:prstGeom prst="rect">
              <a:avLst/>
            </a:prstGeom>
            <a:noFill/>
          </p:spPr>
          <p:txBody>
            <a:bodyPr wrap="square" lIns="0" tIns="0" rIns="0" bIns="0" rtlCol="0">
              <a:noAutofit/>
            </a:bodyPr>
            <a:lstStyle/>
            <a:p>
              <a:pPr algn="r"/>
              <a:r>
                <a:rPr lang="da-DK" sz="675" b="1">
                  <a:solidFill>
                    <a:schemeClr val="bg1">
                      <a:lumMod val="50000"/>
                    </a:schemeClr>
                  </a:solidFill>
                </a:rPr>
                <a:t>Tekst-typografier</a:t>
              </a:r>
            </a:p>
            <a:p>
              <a:pPr algn="r"/>
              <a:r>
                <a:rPr lang="da-DK" sz="675" b="0">
                  <a:solidFill>
                    <a:schemeClr val="bg1">
                      <a:lumMod val="50000"/>
                    </a:schemeClr>
                  </a:solidFill>
                </a:rPr>
                <a:t>Brug </a:t>
              </a:r>
              <a:r>
                <a:rPr lang="da-DK" sz="675" b="1">
                  <a:solidFill>
                    <a:schemeClr val="bg1">
                      <a:lumMod val="50000"/>
                    </a:schemeClr>
                  </a:solidFill>
                </a:rPr>
                <a:t>TAB</a:t>
              </a:r>
              <a:r>
                <a:rPr lang="da-DK" sz="675" b="0">
                  <a:solidFill>
                    <a:schemeClr val="bg1">
                      <a:lumMod val="50000"/>
                    </a:schemeClr>
                  </a:solidFill>
                </a:rPr>
                <a:t> for at gå frem</a:t>
              </a:r>
            </a:p>
            <a:p>
              <a:pPr algn="r"/>
              <a:r>
                <a:rPr lang="da-DK" sz="675" b="0">
                  <a:solidFill>
                    <a:schemeClr val="bg1">
                      <a:lumMod val="50000"/>
                    </a:schemeClr>
                  </a:solidFill>
                </a:rPr>
                <a:t>i tekst-niveauer</a:t>
              </a:r>
            </a:p>
            <a:p>
              <a:pPr algn="r"/>
              <a:endParaRPr lang="da-DK" sz="675" b="0">
                <a:solidFill>
                  <a:schemeClr val="bg1">
                    <a:lumMod val="50000"/>
                  </a:schemeClr>
                </a:solidFill>
              </a:endParaRPr>
            </a:p>
            <a:p>
              <a:pPr algn="l"/>
              <a:r>
                <a:rPr lang="da-DK" sz="675" b="0">
                  <a:solidFill>
                    <a:schemeClr val="bg1">
                      <a:lumMod val="50000"/>
                    </a:schemeClr>
                  </a:solidFill>
                </a:rPr>
                <a:t>Klik for at indsætte tekst</a:t>
              </a:r>
            </a:p>
            <a:p>
              <a:pPr marL="80992" indent="-80992" algn="l">
                <a:buFont typeface="Arial" panose="020B0604020202020204" pitchFamily="34" charset="0"/>
                <a:buChar char="•"/>
              </a:pPr>
              <a:r>
                <a:rPr lang="da-DK" sz="675" b="0">
                  <a:solidFill>
                    <a:schemeClr val="bg1">
                      <a:lumMod val="50000"/>
                    </a:schemeClr>
                  </a:solidFill>
                </a:rPr>
                <a:t>Andet niveau</a:t>
              </a:r>
            </a:p>
            <a:p>
              <a:pPr marL="215978" indent="-80992" algn="l">
                <a:buFont typeface="Arial" panose="020B0604020202020204" pitchFamily="34" charset="0"/>
                <a:buChar char="•"/>
              </a:pPr>
              <a:r>
                <a:rPr lang="da-DK" sz="600" b="0">
                  <a:solidFill>
                    <a:schemeClr val="bg1">
                      <a:lumMod val="50000"/>
                    </a:schemeClr>
                  </a:solidFill>
                </a:rPr>
                <a:t>Tredje niveau</a:t>
              </a:r>
            </a:p>
            <a:p>
              <a:pPr marL="350965" indent="-80992" algn="l">
                <a:buFont typeface="Arial" panose="020B0604020202020204" pitchFamily="34" charset="0"/>
                <a:buChar char="•"/>
              </a:pPr>
              <a:r>
                <a:rPr lang="da-DK" sz="450" b="0">
                  <a:solidFill>
                    <a:schemeClr val="bg1">
                      <a:lumMod val="50000"/>
                    </a:schemeClr>
                  </a:solidFill>
                </a:rPr>
                <a:t>Fjerde niveau</a:t>
              </a:r>
            </a:p>
            <a:p>
              <a:pPr marL="458954" indent="-80992" algn="l">
                <a:buFont typeface="Arial" panose="020B0604020202020204" pitchFamily="34" charset="0"/>
                <a:buChar char="•"/>
              </a:pPr>
              <a:r>
                <a:rPr lang="da-DK" sz="450" b="0">
                  <a:solidFill>
                    <a:schemeClr val="bg1">
                      <a:lumMod val="50000"/>
                    </a:schemeClr>
                  </a:solidFill>
                </a:rPr>
                <a:t>Femte niveau</a:t>
              </a:r>
            </a:p>
            <a:p>
              <a:pPr algn="r"/>
              <a:endParaRPr lang="da-DK" sz="675" b="0">
                <a:solidFill>
                  <a:schemeClr val="bg1">
                    <a:lumMod val="50000"/>
                  </a:schemeClr>
                </a:solidFill>
              </a:endParaRPr>
            </a:p>
            <a:p>
              <a:pPr algn="r"/>
              <a:r>
                <a:rPr lang="da-DK" sz="675" b="0">
                  <a:solidFill>
                    <a:schemeClr val="bg1">
                      <a:lumMod val="50000"/>
                    </a:schemeClr>
                  </a:solidFill>
                </a:rPr>
                <a:t>For at gå tilbage i tekst-niveauer,</a:t>
              </a:r>
            </a:p>
            <a:p>
              <a:pPr algn="r"/>
              <a:r>
                <a:rPr lang="da-DK" sz="675" b="0">
                  <a:solidFill>
                    <a:schemeClr val="bg1">
                      <a:lumMod val="50000"/>
                    </a:schemeClr>
                  </a:solidFill>
                </a:rPr>
                <a:t>brug </a:t>
              </a:r>
              <a:r>
                <a:rPr lang="da-DK" sz="675" b="1">
                  <a:solidFill>
                    <a:schemeClr val="bg1">
                      <a:lumMod val="50000"/>
                    </a:schemeClr>
                  </a:solidFill>
                </a:rPr>
                <a:t>SHIFT + TAB</a:t>
              </a:r>
            </a:p>
            <a:p>
              <a:pPr algn="r"/>
              <a:endParaRPr lang="da-DK" sz="675" b="0">
                <a:solidFill>
                  <a:schemeClr val="bg1">
                    <a:lumMod val="50000"/>
                  </a:schemeClr>
                </a:solidFill>
              </a:endParaRPr>
            </a:p>
            <a:p>
              <a:pPr algn="r"/>
              <a:endParaRPr lang="da-DK" sz="675" b="0">
                <a:solidFill>
                  <a:schemeClr val="bg1">
                    <a:lumMod val="50000"/>
                  </a:schemeClr>
                </a:solidFill>
              </a:endParaRPr>
            </a:p>
            <a:p>
              <a:pPr algn="r"/>
              <a:r>
                <a:rPr lang="da-DK" sz="675" b="0">
                  <a:solidFill>
                    <a:schemeClr val="bg1">
                      <a:lumMod val="50000"/>
                    </a:schemeClr>
                  </a:solidFill>
                </a:rPr>
                <a:t>Alternativt kan</a:t>
              </a:r>
            </a:p>
            <a:p>
              <a:pPr algn="r"/>
              <a:r>
                <a:rPr lang="da-DK" sz="675" b="1">
                  <a:solidFill>
                    <a:schemeClr val="bg1">
                      <a:lumMod val="50000"/>
                    </a:schemeClr>
                  </a:solidFill>
                </a:rPr>
                <a:t>Forøg og Formindsk </a:t>
              </a:r>
            </a:p>
            <a:p>
              <a:pPr algn="r"/>
              <a:r>
                <a:rPr lang="da-DK" sz="675" b="0">
                  <a:solidFill>
                    <a:schemeClr val="bg1">
                      <a:lumMod val="50000"/>
                    </a:schemeClr>
                  </a:solidFill>
                </a:rPr>
                <a:t>listeniveau bruges</a:t>
              </a:r>
            </a:p>
          </p:txBody>
        </p:sp>
        <p:grpSp>
          <p:nvGrpSpPr>
            <p:cNvPr id="23" name="Gruppe 22"/>
            <p:cNvGrpSpPr/>
            <p:nvPr userDrawn="1"/>
          </p:nvGrpSpPr>
          <p:grpSpPr>
            <a:xfrm>
              <a:off x="-503503" y="3048030"/>
              <a:ext cx="358775" cy="236537"/>
              <a:chOff x="-503503" y="3171825"/>
              <a:chExt cx="358775" cy="236537"/>
            </a:xfrm>
          </p:grpSpPr>
          <p:pic>
            <p:nvPicPr>
              <p:cNvPr id="2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3503" y="3171825"/>
                <a:ext cx="358775" cy="2365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Afrundet rektangel 24"/>
              <p:cNvSpPr/>
              <p:nvPr userDrawn="1"/>
            </p:nvSpPr>
            <p:spPr>
              <a:xfrm>
                <a:off x="-503503" y="3171825"/>
                <a:ext cx="179387" cy="236537"/>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sz="750"/>
              </a:p>
            </p:txBody>
          </p:sp>
        </p:grpSp>
      </p:grpSp>
    </p:spTree>
    <p:extLst>
      <p:ext uri="{BB962C8B-B14F-4D97-AF65-F5344CB8AC3E}">
        <p14:creationId xmlns:p14="http://schemas.microsoft.com/office/powerpoint/2010/main" val="428740160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ndhold på verdenbaggrund">
    <p:spTree>
      <p:nvGrpSpPr>
        <p:cNvPr id="1" name=""/>
        <p:cNvGrpSpPr/>
        <p:nvPr/>
      </p:nvGrpSpPr>
      <p:grpSpPr>
        <a:xfrm>
          <a:off x="0" y="0"/>
          <a:ext cx="0" cy="0"/>
          <a:chOff x="0" y="0"/>
          <a:chExt cx="0" cy="0"/>
        </a:xfrm>
      </p:grpSpPr>
      <p:pic>
        <p:nvPicPr>
          <p:cNvPr id="15" name="Verden" descr="verdens-kort_2012_0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289901" y="966600"/>
            <a:ext cx="6856511" cy="4180284"/>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hasCustomPrompt="1"/>
          </p:nvPr>
        </p:nvSpPr>
        <p:spPr/>
        <p:txBody>
          <a:bodyPr/>
          <a:lstStyle/>
          <a:p>
            <a:r>
              <a:rPr lang="da-DK"/>
              <a:t>Klik for at indsætte overskrift i en eller to linjer</a:t>
            </a:r>
          </a:p>
        </p:txBody>
      </p:sp>
      <p:sp>
        <p:nvSpPr>
          <p:cNvPr id="7" name="Pladsholder til indhold 2"/>
          <p:cNvSpPr>
            <a:spLocks noGrp="1"/>
          </p:cNvSpPr>
          <p:nvPr>
            <p:ph sz="quarter" idx="13" hasCustomPrompt="1"/>
          </p:nvPr>
        </p:nvSpPr>
        <p:spPr>
          <a:xfrm>
            <a:off x="318641" y="1015607"/>
            <a:ext cx="8506107" cy="3483769"/>
          </a:xfrm>
        </p:spPr>
        <p:txBody>
          <a:bodyPr tIns="72000" rIns="2160000"/>
          <a:lstStyle>
            <a:lvl1pPr>
              <a:defRPr/>
            </a:lvl1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p:txBody>
      </p:sp>
      <p:sp>
        <p:nvSpPr>
          <p:cNvPr id="3" name="Pladsholder til dato 2"/>
          <p:cNvSpPr>
            <a:spLocks noGrp="1"/>
          </p:cNvSpPr>
          <p:nvPr>
            <p:ph type="dt" sz="half" idx="10"/>
          </p:nvPr>
        </p:nvSpPr>
        <p:spPr/>
        <p:txBody>
          <a:bodyPr/>
          <a:lstStyle/>
          <a:p>
            <a:r>
              <a:rPr lang="sv-SE"/>
              <a:t>26/03/2026</a:t>
            </a:r>
            <a:endParaRPr lang="da-DK"/>
          </a:p>
        </p:txBody>
      </p:sp>
      <p:sp>
        <p:nvSpPr>
          <p:cNvPr id="4" name="Pladsholder til sidefod 3" hidden="1"/>
          <p:cNvSpPr>
            <a:spLocks noGrp="1"/>
          </p:cNvSpPr>
          <p:nvPr>
            <p:ph type="ftr" sz="quarter" idx="11"/>
          </p:nvPr>
        </p:nvSpPr>
        <p:spPr/>
        <p:txBody>
          <a:bodyPr/>
          <a:lstStyle/>
          <a:p>
            <a:r>
              <a:rPr lang="en-US"/>
              <a:t>Stakeholder Forum Agenda - Classification: External</a:t>
            </a:r>
            <a:endParaRPr lang="da-DK"/>
          </a:p>
        </p:txBody>
      </p:sp>
      <p:sp>
        <p:nvSpPr>
          <p:cNvPr id="5" name="Pladsholder til diasnummer 4"/>
          <p:cNvSpPr>
            <a:spLocks noGrp="1"/>
          </p:cNvSpPr>
          <p:nvPr>
            <p:ph type="sldNum" sz="quarter" idx="12"/>
          </p:nvPr>
        </p:nvSpPr>
        <p:spPr/>
        <p:txBody>
          <a:bodyPr/>
          <a:lstStyle/>
          <a:p>
            <a:fld id="{667EC89C-17A0-4E64-A6D2-B825673CEEDF}" type="slidenum">
              <a:rPr lang="da-DK" smtClean="0"/>
              <a:pPr/>
              <a:t>‹#›</a:t>
            </a:fld>
            <a:endParaRPr lang="da-DK"/>
          </a:p>
        </p:txBody>
      </p:sp>
      <p:grpSp>
        <p:nvGrpSpPr>
          <p:cNvPr id="20" name="Gruppe 19"/>
          <p:cNvGrpSpPr/>
          <p:nvPr userDrawn="1"/>
        </p:nvGrpSpPr>
        <p:grpSpPr>
          <a:xfrm>
            <a:off x="-1215674" y="1015605"/>
            <a:ext cx="1107114" cy="1826177"/>
            <a:chOff x="-1620688" y="1354138"/>
            <a:chExt cx="1475960" cy="2434902"/>
          </a:xfrm>
        </p:grpSpPr>
        <p:sp>
          <p:nvSpPr>
            <p:cNvPr id="21" name="Tekstboks 20"/>
            <p:cNvSpPr txBox="1"/>
            <p:nvPr userDrawn="1"/>
          </p:nvSpPr>
          <p:spPr>
            <a:xfrm>
              <a:off x="-1620688" y="1354138"/>
              <a:ext cx="1475960" cy="2434902"/>
            </a:xfrm>
            <a:prstGeom prst="rect">
              <a:avLst/>
            </a:prstGeom>
            <a:noFill/>
          </p:spPr>
          <p:txBody>
            <a:bodyPr wrap="square" lIns="0" tIns="0" rIns="0" bIns="0" rtlCol="0">
              <a:noAutofit/>
            </a:bodyPr>
            <a:lstStyle/>
            <a:p>
              <a:pPr algn="r"/>
              <a:r>
                <a:rPr lang="da-DK" sz="675" b="1">
                  <a:solidFill>
                    <a:schemeClr val="bg1">
                      <a:lumMod val="50000"/>
                    </a:schemeClr>
                  </a:solidFill>
                </a:rPr>
                <a:t>Tekst-typografier</a:t>
              </a:r>
            </a:p>
            <a:p>
              <a:pPr algn="r"/>
              <a:r>
                <a:rPr lang="da-DK" sz="675" b="0">
                  <a:solidFill>
                    <a:schemeClr val="bg1">
                      <a:lumMod val="50000"/>
                    </a:schemeClr>
                  </a:solidFill>
                </a:rPr>
                <a:t>Brug </a:t>
              </a:r>
              <a:r>
                <a:rPr lang="da-DK" sz="675" b="1">
                  <a:solidFill>
                    <a:schemeClr val="bg1">
                      <a:lumMod val="50000"/>
                    </a:schemeClr>
                  </a:solidFill>
                </a:rPr>
                <a:t>TAB</a:t>
              </a:r>
              <a:r>
                <a:rPr lang="da-DK" sz="675" b="0">
                  <a:solidFill>
                    <a:schemeClr val="bg1">
                      <a:lumMod val="50000"/>
                    </a:schemeClr>
                  </a:solidFill>
                </a:rPr>
                <a:t> for at gå frem</a:t>
              </a:r>
            </a:p>
            <a:p>
              <a:pPr algn="r"/>
              <a:r>
                <a:rPr lang="da-DK" sz="675" b="0">
                  <a:solidFill>
                    <a:schemeClr val="bg1">
                      <a:lumMod val="50000"/>
                    </a:schemeClr>
                  </a:solidFill>
                </a:rPr>
                <a:t>i tekst-niveauer</a:t>
              </a:r>
            </a:p>
            <a:p>
              <a:pPr algn="r"/>
              <a:endParaRPr lang="da-DK" sz="675" b="0">
                <a:solidFill>
                  <a:schemeClr val="bg1">
                    <a:lumMod val="50000"/>
                  </a:schemeClr>
                </a:solidFill>
              </a:endParaRPr>
            </a:p>
            <a:p>
              <a:pPr algn="l"/>
              <a:r>
                <a:rPr lang="da-DK" sz="675" b="0">
                  <a:solidFill>
                    <a:schemeClr val="bg1">
                      <a:lumMod val="50000"/>
                    </a:schemeClr>
                  </a:solidFill>
                </a:rPr>
                <a:t>Klik for at indsætte tekst</a:t>
              </a:r>
            </a:p>
            <a:p>
              <a:pPr marL="80992" indent="-80992" algn="l">
                <a:buFont typeface="Arial" panose="020B0604020202020204" pitchFamily="34" charset="0"/>
                <a:buChar char="•"/>
              </a:pPr>
              <a:r>
                <a:rPr lang="da-DK" sz="675" b="0">
                  <a:solidFill>
                    <a:schemeClr val="bg1">
                      <a:lumMod val="50000"/>
                    </a:schemeClr>
                  </a:solidFill>
                </a:rPr>
                <a:t>Andet niveau</a:t>
              </a:r>
            </a:p>
            <a:p>
              <a:pPr marL="215978" indent="-80992" algn="l">
                <a:buFont typeface="Arial" panose="020B0604020202020204" pitchFamily="34" charset="0"/>
                <a:buChar char="•"/>
              </a:pPr>
              <a:r>
                <a:rPr lang="da-DK" sz="600" b="0">
                  <a:solidFill>
                    <a:schemeClr val="bg1">
                      <a:lumMod val="50000"/>
                    </a:schemeClr>
                  </a:solidFill>
                </a:rPr>
                <a:t>Tredje niveau</a:t>
              </a:r>
            </a:p>
            <a:p>
              <a:pPr marL="350965" indent="-80992" algn="l">
                <a:buFont typeface="Arial" panose="020B0604020202020204" pitchFamily="34" charset="0"/>
                <a:buChar char="•"/>
              </a:pPr>
              <a:r>
                <a:rPr lang="da-DK" sz="450" b="0">
                  <a:solidFill>
                    <a:schemeClr val="bg1">
                      <a:lumMod val="50000"/>
                    </a:schemeClr>
                  </a:solidFill>
                </a:rPr>
                <a:t>Fjerde niveau</a:t>
              </a:r>
            </a:p>
            <a:p>
              <a:pPr marL="458954" indent="-80992" algn="l">
                <a:buFont typeface="Arial" panose="020B0604020202020204" pitchFamily="34" charset="0"/>
                <a:buChar char="•"/>
              </a:pPr>
              <a:r>
                <a:rPr lang="da-DK" sz="450" b="0">
                  <a:solidFill>
                    <a:schemeClr val="bg1">
                      <a:lumMod val="50000"/>
                    </a:schemeClr>
                  </a:solidFill>
                </a:rPr>
                <a:t>Femte niveau</a:t>
              </a:r>
            </a:p>
            <a:p>
              <a:pPr algn="r"/>
              <a:endParaRPr lang="da-DK" sz="675" b="0">
                <a:solidFill>
                  <a:schemeClr val="bg1">
                    <a:lumMod val="50000"/>
                  </a:schemeClr>
                </a:solidFill>
              </a:endParaRPr>
            </a:p>
            <a:p>
              <a:pPr algn="r"/>
              <a:r>
                <a:rPr lang="da-DK" sz="675" b="0">
                  <a:solidFill>
                    <a:schemeClr val="bg1">
                      <a:lumMod val="50000"/>
                    </a:schemeClr>
                  </a:solidFill>
                </a:rPr>
                <a:t>For at gå tilbage i tekst-niveauer,</a:t>
              </a:r>
            </a:p>
            <a:p>
              <a:pPr algn="r"/>
              <a:r>
                <a:rPr lang="da-DK" sz="675" b="0">
                  <a:solidFill>
                    <a:schemeClr val="bg1">
                      <a:lumMod val="50000"/>
                    </a:schemeClr>
                  </a:solidFill>
                </a:rPr>
                <a:t>brug </a:t>
              </a:r>
              <a:r>
                <a:rPr lang="da-DK" sz="675" b="1">
                  <a:solidFill>
                    <a:schemeClr val="bg1">
                      <a:lumMod val="50000"/>
                    </a:schemeClr>
                  </a:solidFill>
                </a:rPr>
                <a:t>SHIFT + TAB</a:t>
              </a:r>
            </a:p>
            <a:p>
              <a:pPr algn="r"/>
              <a:endParaRPr lang="da-DK" sz="675" b="0">
                <a:solidFill>
                  <a:schemeClr val="bg1">
                    <a:lumMod val="50000"/>
                  </a:schemeClr>
                </a:solidFill>
              </a:endParaRPr>
            </a:p>
            <a:p>
              <a:pPr algn="r"/>
              <a:endParaRPr lang="da-DK" sz="675" b="0">
                <a:solidFill>
                  <a:schemeClr val="bg1">
                    <a:lumMod val="50000"/>
                  </a:schemeClr>
                </a:solidFill>
              </a:endParaRPr>
            </a:p>
            <a:p>
              <a:pPr algn="r"/>
              <a:r>
                <a:rPr lang="da-DK" sz="675" b="0">
                  <a:solidFill>
                    <a:schemeClr val="bg1">
                      <a:lumMod val="50000"/>
                    </a:schemeClr>
                  </a:solidFill>
                </a:rPr>
                <a:t>Alternativt kan</a:t>
              </a:r>
            </a:p>
            <a:p>
              <a:pPr algn="r"/>
              <a:r>
                <a:rPr lang="da-DK" sz="675" b="1">
                  <a:solidFill>
                    <a:schemeClr val="bg1">
                      <a:lumMod val="50000"/>
                    </a:schemeClr>
                  </a:solidFill>
                </a:rPr>
                <a:t>Forøg og Formindsk </a:t>
              </a:r>
            </a:p>
            <a:p>
              <a:pPr algn="r"/>
              <a:r>
                <a:rPr lang="da-DK" sz="675" b="0">
                  <a:solidFill>
                    <a:schemeClr val="bg1">
                      <a:lumMod val="50000"/>
                    </a:schemeClr>
                  </a:solidFill>
                </a:rPr>
                <a:t>listeniveau bruges</a:t>
              </a:r>
            </a:p>
          </p:txBody>
        </p:sp>
        <p:grpSp>
          <p:nvGrpSpPr>
            <p:cNvPr id="22" name="Gruppe 21"/>
            <p:cNvGrpSpPr/>
            <p:nvPr userDrawn="1"/>
          </p:nvGrpSpPr>
          <p:grpSpPr>
            <a:xfrm>
              <a:off x="-503503" y="3048030"/>
              <a:ext cx="358775" cy="236537"/>
              <a:chOff x="-503503" y="3171825"/>
              <a:chExt cx="358775" cy="236537"/>
            </a:xfrm>
          </p:grpSpPr>
          <p:pic>
            <p:nvPicPr>
              <p:cNvPr id="23"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03503" y="3171825"/>
                <a:ext cx="358775" cy="2365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4" name="Afrundet rektangel 23"/>
              <p:cNvSpPr/>
              <p:nvPr userDrawn="1"/>
            </p:nvSpPr>
            <p:spPr>
              <a:xfrm>
                <a:off x="-503503" y="3171825"/>
                <a:ext cx="179387" cy="236537"/>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sz="750"/>
              </a:p>
            </p:txBody>
          </p:sp>
        </p:grpSp>
      </p:grpSp>
    </p:spTree>
    <p:extLst>
      <p:ext uri="{BB962C8B-B14F-4D97-AF65-F5344CB8AC3E}">
        <p14:creationId xmlns:p14="http://schemas.microsoft.com/office/powerpoint/2010/main" val="172956013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o tekstboks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a-DK"/>
              <a:t>Klik for at indsætte overskrift i en eller to linjer</a:t>
            </a:r>
          </a:p>
        </p:txBody>
      </p:sp>
      <p:sp>
        <p:nvSpPr>
          <p:cNvPr id="8" name="Pladsholder til tekst 2"/>
          <p:cNvSpPr>
            <a:spLocks noGrp="1"/>
          </p:cNvSpPr>
          <p:nvPr>
            <p:ph type="body" sz="quarter" idx="13" hasCustomPrompt="1"/>
          </p:nvPr>
        </p:nvSpPr>
        <p:spPr>
          <a:xfrm>
            <a:off x="318642" y="1015607"/>
            <a:ext cx="4185545" cy="3483769"/>
          </a:xfrm>
        </p:spPr>
        <p:txBody>
          <a:bodyPr rIns="0"/>
          <a:lstStyle>
            <a:lvl1pPr>
              <a:defRPr/>
            </a:lvl1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p:txBody>
      </p:sp>
      <p:sp>
        <p:nvSpPr>
          <p:cNvPr id="10" name="Pladsholder til tekst 3"/>
          <p:cNvSpPr>
            <a:spLocks noGrp="1"/>
          </p:cNvSpPr>
          <p:nvPr>
            <p:ph type="body" sz="quarter" idx="14" hasCustomPrompt="1"/>
          </p:nvPr>
        </p:nvSpPr>
        <p:spPr>
          <a:xfrm>
            <a:off x="4633804" y="1015204"/>
            <a:ext cx="4185545" cy="3483769"/>
          </a:xfrm>
        </p:spPr>
        <p:txBody>
          <a:bodyPr rIns="0"/>
          <a:lstStyle>
            <a:lvl1pPr>
              <a:defRPr/>
            </a:lvl1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p:txBody>
      </p:sp>
      <p:sp>
        <p:nvSpPr>
          <p:cNvPr id="3" name="Pladsholder til dato 2"/>
          <p:cNvSpPr>
            <a:spLocks noGrp="1"/>
          </p:cNvSpPr>
          <p:nvPr>
            <p:ph type="dt" sz="half" idx="10"/>
          </p:nvPr>
        </p:nvSpPr>
        <p:spPr/>
        <p:txBody>
          <a:bodyPr/>
          <a:lstStyle/>
          <a:p>
            <a:r>
              <a:rPr lang="sv-SE"/>
              <a:t>26/03/2026</a:t>
            </a:r>
            <a:endParaRPr lang="da-DK"/>
          </a:p>
        </p:txBody>
      </p:sp>
      <p:sp>
        <p:nvSpPr>
          <p:cNvPr id="4" name="Pladsholder til sidefod 3" hidden="1"/>
          <p:cNvSpPr>
            <a:spLocks noGrp="1"/>
          </p:cNvSpPr>
          <p:nvPr>
            <p:ph type="ftr" sz="quarter" idx="11"/>
          </p:nvPr>
        </p:nvSpPr>
        <p:spPr/>
        <p:txBody>
          <a:bodyPr/>
          <a:lstStyle/>
          <a:p>
            <a:r>
              <a:rPr lang="en-US"/>
              <a:t>Stakeholder Forum Agenda - Classification: External</a:t>
            </a:r>
            <a:endParaRPr lang="da-DK"/>
          </a:p>
        </p:txBody>
      </p:sp>
      <p:sp>
        <p:nvSpPr>
          <p:cNvPr id="5" name="Pladsholder til diasnummer 4"/>
          <p:cNvSpPr>
            <a:spLocks noGrp="1"/>
          </p:cNvSpPr>
          <p:nvPr>
            <p:ph type="sldNum" sz="quarter" idx="12"/>
          </p:nvPr>
        </p:nvSpPr>
        <p:spPr/>
        <p:txBody>
          <a:bodyPr/>
          <a:lstStyle/>
          <a:p>
            <a:fld id="{667EC89C-17A0-4E64-A6D2-B825673CEEDF}" type="slidenum">
              <a:rPr lang="da-DK" smtClean="0"/>
              <a:pPr/>
              <a:t>‹#›</a:t>
            </a:fld>
            <a:endParaRPr lang="da-DK"/>
          </a:p>
        </p:txBody>
      </p:sp>
      <p:grpSp>
        <p:nvGrpSpPr>
          <p:cNvPr id="20" name="Gruppe 19"/>
          <p:cNvGrpSpPr/>
          <p:nvPr userDrawn="1"/>
        </p:nvGrpSpPr>
        <p:grpSpPr>
          <a:xfrm>
            <a:off x="-1215674" y="1015605"/>
            <a:ext cx="1107114" cy="1826177"/>
            <a:chOff x="-1620688" y="1354138"/>
            <a:chExt cx="1475960" cy="2434902"/>
          </a:xfrm>
        </p:grpSpPr>
        <p:sp>
          <p:nvSpPr>
            <p:cNvPr id="21" name="Tekstboks 20"/>
            <p:cNvSpPr txBox="1"/>
            <p:nvPr userDrawn="1"/>
          </p:nvSpPr>
          <p:spPr>
            <a:xfrm>
              <a:off x="-1620688" y="1354138"/>
              <a:ext cx="1475960" cy="2434902"/>
            </a:xfrm>
            <a:prstGeom prst="rect">
              <a:avLst/>
            </a:prstGeom>
            <a:noFill/>
          </p:spPr>
          <p:txBody>
            <a:bodyPr wrap="square" lIns="0" tIns="0" rIns="0" bIns="0" rtlCol="0">
              <a:noAutofit/>
            </a:bodyPr>
            <a:lstStyle/>
            <a:p>
              <a:pPr algn="r"/>
              <a:r>
                <a:rPr lang="da-DK" sz="675" b="1">
                  <a:solidFill>
                    <a:schemeClr val="bg1">
                      <a:lumMod val="50000"/>
                    </a:schemeClr>
                  </a:solidFill>
                </a:rPr>
                <a:t>Tekst-typografier</a:t>
              </a:r>
            </a:p>
            <a:p>
              <a:pPr algn="r"/>
              <a:r>
                <a:rPr lang="da-DK" sz="675" b="0">
                  <a:solidFill>
                    <a:schemeClr val="bg1">
                      <a:lumMod val="50000"/>
                    </a:schemeClr>
                  </a:solidFill>
                </a:rPr>
                <a:t>Brug </a:t>
              </a:r>
              <a:r>
                <a:rPr lang="da-DK" sz="675" b="1">
                  <a:solidFill>
                    <a:schemeClr val="bg1">
                      <a:lumMod val="50000"/>
                    </a:schemeClr>
                  </a:solidFill>
                </a:rPr>
                <a:t>TAB</a:t>
              </a:r>
              <a:r>
                <a:rPr lang="da-DK" sz="675" b="0">
                  <a:solidFill>
                    <a:schemeClr val="bg1">
                      <a:lumMod val="50000"/>
                    </a:schemeClr>
                  </a:solidFill>
                </a:rPr>
                <a:t> for at gå frem</a:t>
              </a:r>
            </a:p>
            <a:p>
              <a:pPr algn="r"/>
              <a:r>
                <a:rPr lang="da-DK" sz="675" b="0">
                  <a:solidFill>
                    <a:schemeClr val="bg1">
                      <a:lumMod val="50000"/>
                    </a:schemeClr>
                  </a:solidFill>
                </a:rPr>
                <a:t>i tekst-niveauer</a:t>
              </a:r>
            </a:p>
            <a:p>
              <a:pPr algn="r"/>
              <a:endParaRPr lang="da-DK" sz="675" b="0">
                <a:solidFill>
                  <a:schemeClr val="bg1">
                    <a:lumMod val="50000"/>
                  </a:schemeClr>
                </a:solidFill>
              </a:endParaRPr>
            </a:p>
            <a:p>
              <a:pPr algn="l"/>
              <a:r>
                <a:rPr lang="da-DK" sz="675" b="0">
                  <a:solidFill>
                    <a:schemeClr val="bg1">
                      <a:lumMod val="50000"/>
                    </a:schemeClr>
                  </a:solidFill>
                </a:rPr>
                <a:t>Klik for at indsætte tekst</a:t>
              </a:r>
            </a:p>
            <a:p>
              <a:pPr marL="80992" indent="-80992" algn="l">
                <a:buFont typeface="Arial" panose="020B0604020202020204" pitchFamily="34" charset="0"/>
                <a:buChar char="•"/>
              </a:pPr>
              <a:r>
                <a:rPr lang="da-DK" sz="675" b="0">
                  <a:solidFill>
                    <a:schemeClr val="bg1">
                      <a:lumMod val="50000"/>
                    </a:schemeClr>
                  </a:solidFill>
                </a:rPr>
                <a:t>Andet niveau</a:t>
              </a:r>
            </a:p>
            <a:p>
              <a:pPr marL="215978" indent="-80992" algn="l">
                <a:buFont typeface="Arial" panose="020B0604020202020204" pitchFamily="34" charset="0"/>
                <a:buChar char="•"/>
              </a:pPr>
              <a:r>
                <a:rPr lang="da-DK" sz="600" b="0">
                  <a:solidFill>
                    <a:schemeClr val="bg1">
                      <a:lumMod val="50000"/>
                    </a:schemeClr>
                  </a:solidFill>
                </a:rPr>
                <a:t>Tredje niveau</a:t>
              </a:r>
            </a:p>
            <a:p>
              <a:pPr marL="350965" indent="-80992" algn="l">
                <a:buFont typeface="Arial" panose="020B0604020202020204" pitchFamily="34" charset="0"/>
                <a:buChar char="•"/>
              </a:pPr>
              <a:r>
                <a:rPr lang="da-DK" sz="450" b="0">
                  <a:solidFill>
                    <a:schemeClr val="bg1">
                      <a:lumMod val="50000"/>
                    </a:schemeClr>
                  </a:solidFill>
                </a:rPr>
                <a:t>Fjerde niveau</a:t>
              </a:r>
            </a:p>
            <a:p>
              <a:pPr marL="458954" indent="-80992" algn="l">
                <a:buFont typeface="Arial" panose="020B0604020202020204" pitchFamily="34" charset="0"/>
                <a:buChar char="•"/>
              </a:pPr>
              <a:r>
                <a:rPr lang="da-DK" sz="450" b="0">
                  <a:solidFill>
                    <a:schemeClr val="bg1">
                      <a:lumMod val="50000"/>
                    </a:schemeClr>
                  </a:solidFill>
                </a:rPr>
                <a:t>Femte niveau</a:t>
              </a:r>
            </a:p>
            <a:p>
              <a:pPr algn="r"/>
              <a:endParaRPr lang="da-DK" sz="675" b="0">
                <a:solidFill>
                  <a:schemeClr val="bg1">
                    <a:lumMod val="50000"/>
                  </a:schemeClr>
                </a:solidFill>
              </a:endParaRPr>
            </a:p>
            <a:p>
              <a:pPr algn="r"/>
              <a:r>
                <a:rPr lang="da-DK" sz="675" b="0">
                  <a:solidFill>
                    <a:schemeClr val="bg1">
                      <a:lumMod val="50000"/>
                    </a:schemeClr>
                  </a:solidFill>
                </a:rPr>
                <a:t>For at gå tilbage i tekst-niveauer,</a:t>
              </a:r>
            </a:p>
            <a:p>
              <a:pPr algn="r"/>
              <a:r>
                <a:rPr lang="da-DK" sz="675" b="0">
                  <a:solidFill>
                    <a:schemeClr val="bg1">
                      <a:lumMod val="50000"/>
                    </a:schemeClr>
                  </a:solidFill>
                </a:rPr>
                <a:t>brug </a:t>
              </a:r>
              <a:r>
                <a:rPr lang="da-DK" sz="675" b="1">
                  <a:solidFill>
                    <a:schemeClr val="bg1">
                      <a:lumMod val="50000"/>
                    </a:schemeClr>
                  </a:solidFill>
                </a:rPr>
                <a:t>SHIFT + TAB</a:t>
              </a:r>
            </a:p>
            <a:p>
              <a:pPr algn="r"/>
              <a:endParaRPr lang="da-DK" sz="675" b="0">
                <a:solidFill>
                  <a:schemeClr val="bg1">
                    <a:lumMod val="50000"/>
                  </a:schemeClr>
                </a:solidFill>
              </a:endParaRPr>
            </a:p>
            <a:p>
              <a:pPr algn="r"/>
              <a:endParaRPr lang="da-DK" sz="675" b="0">
                <a:solidFill>
                  <a:schemeClr val="bg1">
                    <a:lumMod val="50000"/>
                  </a:schemeClr>
                </a:solidFill>
              </a:endParaRPr>
            </a:p>
            <a:p>
              <a:pPr algn="r"/>
              <a:r>
                <a:rPr lang="da-DK" sz="675" b="0">
                  <a:solidFill>
                    <a:schemeClr val="bg1">
                      <a:lumMod val="50000"/>
                    </a:schemeClr>
                  </a:solidFill>
                </a:rPr>
                <a:t>Alternativt kan</a:t>
              </a:r>
            </a:p>
            <a:p>
              <a:pPr algn="r"/>
              <a:r>
                <a:rPr lang="da-DK" sz="675" b="1">
                  <a:solidFill>
                    <a:schemeClr val="bg1">
                      <a:lumMod val="50000"/>
                    </a:schemeClr>
                  </a:solidFill>
                </a:rPr>
                <a:t>Forøg og Formindsk </a:t>
              </a:r>
            </a:p>
            <a:p>
              <a:pPr algn="r"/>
              <a:r>
                <a:rPr lang="da-DK" sz="675" b="0">
                  <a:solidFill>
                    <a:schemeClr val="bg1">
                      <a:lumMod val="50000"/>
                    </a:schemeClr>
                  </a:solidFill>
                </a:rPr>
                <a:t>listeniveau bruges</a:t>
              </a:r>
            </a:p>
          </p:txBody>
        </p:sp>
        <p:grpSp>
          <p:nvGrpSpPr>
            <p:cNvPr id="22" name="Gruppe 21"/>
            <p:cNvGrpSpPr/>
            <p:nvPr userDrawn="1"/>
          </p:nvGrpSpPr>
          <p:grpSpPr>
            <a:xfrm>
              <a:off x="-503503" y="3048030"/>
              <a:ext cx="358775" cy="236537"/>
              <a:chOff x="-503503" y="3171825"/>
              <a:chExt cx="358775" cy="236537"/>
            </a:xfrm>
          </p:grpSpPr>
          <p:pic>
            <p:nvPicPr>
              <p:cNvPr id="23"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3503" y="3171825"/>
                <a:ext cx="358775" cy="2365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4" name="Afrundet rektangel 23"/>
              <p:cNvSpPr/>
              <p:nvPr userDrawn="1"/>
            </p:nvSpPr>
            <p:spPr>
              <a:xfrm>
                <a:off x="-503503" y="3171825"/>
                <a:ext cx="179387" cy="236537"/>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sz="750"/>
              </a:p>
            </p:txBody>
          </p:sp>
        </p:grpSp>
      </p:grpSp>
    </p:spTree>
    <p:extLst>
      <p:ext uri="{BB962C8B-B14F-4D97-AF65-F5344CB8AC3E}">
        <p14:creationId xmlns:p14="http://schemas.microsoft.com/office/powerpoint/2010/main" val="201973108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kst og bille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a-DK"/>
              <a:t>Klik for at indsætte overskrift i en eller to linjer</a:t>
            </a:r>
          </a:p>
        </p:txBody>
      </p:sp>
      <p:sp>
        <p:nvSpPr>
          <p:cNvPr id="8" name="Pladsholder til tekst 2"/>
          <p:cNvSpPr>
            <a:spLocks noGrp="1"/>
          </p:cNvSpPr>
          <p:nvPr>
            <p:ph type="body" sz="quarter" idx="13" hasCustomPrompt="1"/>
          </p:nvPr>
        </p:nvSpPr>
        <p:spPr>
          <a:xfrm>
            <a:off x="318642" y="1015607"/>
            <a:ext cx="4185545" cy="3483769"/>
          </a:xfrm>
        </p:spPr>
        <p:txBody>
          <a:bodyPr rIns="0"/>
          <a:lstStyle>
            <a:lvl1pPr>
              <a:defRPr/>
            </a:lvl1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p:txBody>
      </p:sp>
      <p:sp>
        <p:nvSpPr>
          <p:cNvPr id="11" name="Pladsholder til billede 3"/>
          <p:cNvSpPr>
            <a:spLocks noGrp="1"/>
          </p:cNvSpPr>
          <p:nvPr>
            <p:ph type="pic" sz="quarter" idx="14" hasCustomPrompt="1"/>
          </p:nvPr>
        </p:nvSpPr>
        <p:spPr>
          <a:xfrm>
            <a:off x="4633804" y="1014413"/>
            <a:ext cx="4185545" cy="3483000"/>
          </a:xfrm>
        </p:spPr>
        <p:txBody>
          <a:bodyPr tIns="432000" rIns="0" anchor="ctr" anchorCtr="0"/>
          <a:lstStyle>
            <a:lvl1pPr algn="ctr">
              <a:defRPr sz="1050">
                <a:solidFill>
                  <a:schemeClr val="accent2"/>
                </a:solidFill>
              </a:defRPr>
            </a:lvl1pPr>
          </a:lstStyle>
          <a:p>
            <a:r>
              <a:rPr lang="da-DK"/>
              <a:t>Klik på ikon for at indsætte billede</a:t>
            </a:r>
          </a:p>
        </p:txBody>
      </p:sp>
      <p:sp>
        <p:nvSpPr>
          <p:cNvPr id="3" name="Pladsholder til dato 2"/>
          <p:cNvSpPr>
            <a:spLocks noGrp="1"/>
          </p:cNvSpPr>
          <p:nvPr>
            <p:ph type="dt" sz="half" idx="10"/>
          </p:nvPr>
        </p:nvSpPr>
        <p:spPr/>
        <p:txBody>
          <a:bodyPr/>
          <a:lstStyle/>
          <a:p>
            <a:r>
              <a:rPr lang="sv-SE"/>
              <a:t>26/03/2026</a:t>
            </a:r>
            <a:endParaRPr lang="da-DK"/>
          </a:p>
        </p:txBody>
      </p:sp>
      <p:sp>
        <p:nvSpPr>
          <p:cNvPr id="4" name="Pladsholder til sidefod 3" hidden="1"/>
          <p:cNvSpPr>
            <a:spLocks noGrp="1"/>
          </p:cNvSpPr>
          <p:nvPr>
            <p:ph type="ftr" sz="quarter" idx="11"/>
          </p:nvPr>
        </p:nvSpPr>
        <p:spPr/>
        <p:txBody>
          <a:bodyPr/>
          <a:lstStyle/>
          <a:p>
            <a:r>
              <a:rPr lang="en-US"/>
              <a:t>Stakeholder Forum Agenda - Classification: External</a:t>
            </a:r>
            <a:endParaRPr lang="da-DK"/>
          </a:p>
        </p:txBody>
      </p:sp>
      <p:sp>
        <p:nvSpPr>
          <p:cNvPr id="5" name="Pladsholder til diasnummer 4"/>
          <p:cNvSpPr>
            <a:spLocks noGrp="1"/>
          </p:cNvSpPr>
          <p:nvPr>
            <p:ph type="sldNum" sz="quarter" idx="12"/>
          </p:nvPr>
        </p:nvSpPr>
        <p:spPr/>
        <p:txBody>
          <a:bodyPr/>
          <a:lstStyle/>
          <a:p>
            <a:fld id="{667EC89C-17A0-4E64-A6D2-B825673CEEDF}" type="slidenum">
              <a:rPr lang="da-DK" smtClean="0"/>
              <a:pPr/>
              <a:t>‹#›</a:t>
            </a:fld>
            <a:endParaRPr lang="da-DK"/>
          </a:p>
        </p:txBody>
      </p:sp>
      <p:sp>
        <p:nvSpPr>
          <p:cNvPr id="15" name="Tekstboks 14"/>
          <p:cNvSpPr txBox="1"/>
          <p:nvPr userDrawn="1"/>
        </p:nvSpPr>
        <p:spPr>
          <a:xfrm>
            <a:off x="9252522" y="0"/>
            <a:ext cx="1476965" cy="897564"/>
          </a:xfrm>
          <a:prstGeom prst="rect">
            <a:avLst/>
          </a:prstGeom>
          <a:noFill/>
        </p:spPr>
        <p:txBody>
          <a:bodyPr wrap="square" lIns="0" tIns="0" rIns="0" bIns="0" rtlCol="0">
            <a:noAutofit/>
          </a:bodyPr>
          <a:lstStyle/>
          <a:p>
            <a:pPr algn="l"/>
            <a:r>
              <a:rPr lang="da-DK" sz="675" b="1">
                <a:solidFill>
                  <a:schemeClr val="bg1">
                    <a:lumMod val="50000"/>
                  </a:schemeClr>
                </a:solidFill>
              </a:rPr>
              <a:t>Udskifte billeder:</a:t>
            </a:r>
          </a:p>
          <a:p>
            <a:pPr algn="l"/>
            <a:r>
              <a:rPr lang="da-DK" sz="675" b="0">
                <a:solidFill>
                  <a:schemeClr val="bg1">
                    <a:lumMod val="50000"/>
                  </a:schemeClr>
                </a:solidFill>
              </a:rPr>
              <a:t>Der er frit valg mellem 16 billeder. Se slides med flere billeder.</a:t>
            </a:r>
          </a:p>
          <a:p>
            <a:pPr algn="l"/>
            <a:endParaRPr lang="da-DK" sz="675" b="0">
              <a:solidFill>
                <a:schemeClr val="bg1">
                  <a:lumMod val="50000"/>
                </a:schemeClr>
              </a:solidFill>
            </a:endParaRPr>
          </a:p>
          <a:p>
            <a:pPr algn="l"/>
            <a:r>
              <a:rPr lang="da-DK" sz="675" b="1">
                <a:solidFill>
                  <a:schemeClr val="bg1">
                    <a:lumMod val="50000"/>
                  </a:schemeClr>
                </a:solidFill>
              </a:rPr>
              <a:t>Valg af layout:</a:t>
            </a:r>
          </a:p>
          <a:p>
            <a:pPr algn="l"/>
            <a:r>
              <a:rPr lang="da-DK" sz="675" b="0">
                <a:solidFill>
                  <a:schemeClr val="bg1">
                    <a:lumMod val="50000"/>
                  </a:schemeClr>
                </a:solidFill>
              </a:rPr>
              <a:t>Billeder kan stå til højre og venstre. Der kan også være 2 billeder ved siden af hinanden.</a:t>
            </a:r>
          </a:p>
          <a:p>
            <a:pPr algn="l"/>
            <a:endParaRPr lang="da-DK" sz="675" b="0">
              <a:solidFill>
                <a:schemeClr val="bg1">
                  <a:lumMod val="50000"/>
                </a:schemeClr>
              </a:solidFill>
            </a:endParaRPr>
          </a:p>
        </p:txBody>
      </p:sp>
      <p:grpSp>
        <p:nvGrpSpPr>
          <p:cNvPr id="31" name="Gruppe 30"/>
          <p:cNvGrpSpPr/>
          <p:nvPr userDrawn="1"/>
        </p:nvGrpSpPr>
        <p:grpSpPr>
          <a:xfrm>
            <a:off x="-1215674" y="1015605"/>
            <a:ext cx="1107114" cy="1826177"/>
            <a:chOff x="-1620688" y="1354138"/>
            <a:chExt cx="1475960" cy="2434902"/>
          </a:xfrm>
        </p:grpSpPr>
        <p:sp>
          <p:nvSpPr>
            <p:cNvPr id="32" name="Tekstboks 31"/>
            <p:cNvSpPr txBox="1"/>
            <p:nvPr userDrawn="1"/>
          </p:nvSpPr>
          <p:spPr>
            <a:xfrm>
              <a:off x="-1620688" y="1354138"/>
              <a:ext cx="1475960" cy="2434902"/>
            </a:xfrm>
            <a:prstGeom prst="rect">
              <a:avLst/>
            </a:prstGeom>
            <a:noFill/>
          </p:spPr>
          <p:txBody>
            <a:bodyPr wrap="square" lIns="0" tIns="0" rIns="0" bIns="0" rtlCol="0">
              <a:noAutofit/>
            </a:bodyPr>
            <a:lstStyle/>
            <a:p>
              <a:pPr algn="r"/>
              <a:r>
                <a:rPr lang="da-DK" sz="675" b="1">
                  <a:solidFill>
                    <a:schemeClr val="bg1">
                      <a:lumMod val="50000"/>
                    </a:schemeClr>
                  </a:solidFill>
                </a:rPr>
                <a:t>Tekst-typografier</a:t>
              </a:r>
            </a:p>
            <a:p>
              <a:pPr algn="r"/>
              <a:r>
                <a:rPr lang="da-DK" sz="675" b="0">
                  <a:solidFill>
                    <a:schemeClr val="bg1">
                      <a:lumMod val="50000"/>
                    </a:schemeClr>
                  </a:solidFill>
                </a:rPr>
                <a:t>Brug </a:t>
              </a:r>
              <a:r>
                <a:rPr lang="da-DK" sz="675" b="1">
                  <a:solidFill>
                    <a:schemeClr val="bg1">
                      <a:lumMod val="50000"/>
                    </a:schemeClr>
                  </a:solidFill>
                </a:rPr>
                <a:t>TAB</a:t>
              </a:r>
              <a:r>
                <a:rPr lang="da-DK" sz="675" b="0">
                  <a:solidFill>
                    <a:schemeClr val="bg1">
                      <a:lumMod val="50000"/>
                    </a:schemeClr>
                  </a:solidFill>
                </a:rPr>
                <a:t> for at gå frem</a:t>
              </a:r>
            </a:p>
            <a:p>
              <a:pPr algn="r"/>
              <a:r>
                <a:rPr lang="da-DK" sz="675" b="0">
                  <a:solidFill>
                    <a:schemeClr val="bg1">
                      <a:lumMod val="50000"/>
                    </a:schemeClr>
                  </a:solidFill>
                </a:rPr>
                <a:t>i tekst-niveauer</a:t>
              </a:r>
            </a:p>
            <a:p>
              <a:pPr algn="r"/>
              <a:endParaRPr lang="da-DK" sz="675" b="0">
                <a:solidFill>
                  <a:schemeClr val="bg1">
                    <a:lumMod val="50000"/>
                  </a:schemeClr>
                </a:solidFill>
              </a:endParaRPr>
            </a:p>
            <a:p>
              <a:pPr algn="l"/>
              <a:r>
                <a:rPr lang="da-DK" sz="675" b="0">
                  <a:solidFill>
                    <a:schemeClr val="bg1">
                      <a:lumMod val="50000"/>
                    </a:schemeClr>
                  </a:solidFill>
                </a:rPr>
                <a:t>Klik for at indsætte tekst</a:t>
              </a:r>
            </a:p>
            <a:p>
              <a:pPr marL="80992" indent="-80992" algn="l">
                <a:buFont typeface="Arial" panose="020B0604020202020204" pitchFamily="34" charset="0"/>
                <a:buChar char="•"/>
              </a:pPr>
              <a:r>
                <a:rPr lang="da-DK" sz="675" b="0">
                  <a:solidFill>
                    <a:schemeClr val="bg1">
                      <a:lumMod val="50000"/>
                    </a:schemeClr>
                  </a:solidFill>
                </a:rPr>
                <a:t>Andet niveau</a:t>
              </a:r>
            </a:p>
            <a:p>
              <a:pPr marL="215978" indent="-80992" algn="l">
                <a:buFont typeface="Arial" panose="020B0604020202020204" pitchFamily="34" charset="0"/>
                <a:buChar char="•"/>
              </a:pPr>
              <a:r>
                <a:rPr lang="da-DK" sz="600" b="0">
                  <a:solidFill>
                    <a:schemeClr val="bg1">
                      <a:lumMod val="50000"/>
                    </a:schemeClr>
                  </a:solidFill>
                </a:rPr>
                <a:t>Tredje niveau</a:t>
              </a:r>
            </a:p>
            <a:p>
              <a:pPr marL="350965" indent="-80992" algn="l">
                <a:buFont typeface="Arial" panose="020B0604020202020204" pitchFamily="34" charset="0"/>
                <a:buChar char="•"/>
              </a:pPr>
              <a:r>
                <a:rPr lang="da-DK" sz="450" b="0">
                  <a:solidFill>
                    <a:schemeClr val="bg1">
                      <a:lumMod val="50000"/>
                    </a:schemeClr>
                  </a:solidFill>
                </a:rPr>
                <a:t>Fjerde niveau</a:t>
              </a:r>
            </a:p>
            <a:p>
              <a:pPr marL="458954" indent="-80992" algn="l">
                <a:buFont typeface="Arial" panose="020B0604020202020204" pitchFamily="34" charset="0"/>
                <a:buChar char="•"/>
              </a:pPr>
              <a:r>
                <a:rPr lang="da-DK" sz="450" b="0">
                  <a:solidFill>
                    <a:schemeClr val="bg1">
                      <a:lumMod val="50000"/>
                    </a:schemeClr>
                  </a:solidFill>
                </a:rPr>
                <a:t>Femte niveau</a:t>
              </a:r>
            </a:p>
            <a:p>
              <a:pPr algn="r"/>
              <a:endParaRPr lang="da-DK" sz="675" b="0">
                <a:solidFill>
                  <a:schemeClr val="bg1">
                    <a:lumMod val="50000"/>
                  </a:schemeClr>
                </a:solidFill>
              </a:endParaRPr>
            </a:p>
            <a:p>
              <a:pPr algn="r"/>
              <a:r>
                <a:rPr lang="da-DK" sz="675" b="0">
                  <a:solidFill>
                    <a:schemeClr val="bg1">
                      <a:lumMod val="50000"/>
                    </a:schemeClr>
                  </a:solidFill>
                </a:rPr>
                <a:t>For at gå tilbage i tekst-niveauer,</a:t>
              </a:r>
            </a:p>
            <a:p>
              <a:pPr algn="r"/>
              <a:r>
                <a:rPr lang="da-DK" sz="675" b="0">
                  <a:solidFill>
                    <a:schemeClr val="bg1">
                      <a:lumMod val="50000"/>
                    </a:schemeClr>
                  </a:solidFill>
                </a:rPr>
                <a:t>brug </a:t>
              </a:r>
              <a:r>
                <a:rPr lang="da-DK" sz="675" b="1">
                  <a:solidFill>
                    <a:schemeClr val="bg1">
                      <a:lumMod val="50000"/>
                    </a:schemeClr>
                  </a:solidFill>
                </a:rPr>
                <a:t>SHIFT + TAB</a:t>
              </a:r>
            </a:p>
            <a:p>
              <a:pPr algn="r"/>
              <a:endParaRPr lang="da-DK" sz="675" b="0">
                <a:solidFill>
                  <a:schemeClr val="bg1">
                    <a:lumMod val="50000"/>
                  </a:schemeClr>
                </a:solidFill>
              </a:endParaRPr>
            </a:p>
            <a:p>
              <a:pPr algn="r"/>
              <a:endParaRPr lang="da-DK" sz="675" b="0">
                <a:solidFill>
                  <a:schemeClr val="bg1">
                    <a:lumMod val="50000"/>
                  </a:schemeClr>
                </a:solidFill>
              </a:endParaRPr>
            </a:p>
            <a:p>
              <a:pPr algn="r"/>
              <a:r>
                <a:rPr lang="da-DK" sz="675" b="0">
                  <a:solidFill>
                    <a:schemeClr val="bg1">
                      <a:lumMod val="50000"/>
                    </a:schemeClr>
                  </a:solidFill>
                </a:rPr>
                <a:t>Alternativt kan</a:t>
              </a:r>
            </a:p>
            <a:p>
              <a:pPr algn="r"/>
              <a:r>
                <a:rPr lang="da-DK" sz="675" b="1">
                  <a:solidFill>
                    <a:schemeClr val="bg1">
                      <a:lumMod val="50000"/>
                    </a:schemeClr>
                  </a:solidFill>
                </a:rPr>
                <a:t>Forøg og Formindsk </a:t>
              </a:r>
            </a:p>
            <a:p>
              <a:pPr algn="r"/>
              <a:r>
                <a:rPr lang="da-DK" sz="675" b="0">
                  <a:solidFill>
                    <a:schemeClr val="bg1">
                      <a:lumMod val="50000"/>
                    </a:schemeClr>
                  </a:solidFill>
                </a:rPr>
                <a:t>listeniveau bruges</a:t>
              </a:r>
            </a:p>
          </p:txBody>
        </p:sp>
        <p:grpSp>
          <p:nvGrpSpPr>
            <p:cNvPr id="33" name="Gruppe 32"/>
            <p:cNvGrpSpPr/>
            <p:nvPr userDrawn="1"/>
          </p:nvGrpSpPr>
          <p:grpSpPr>
            <a:xfrm>
              <a:off x="-503503" y="3048030"/>
              <a:ext cx="358775" cy="236537"/>
              <a:chOff x="-503503" y="3171825"/>
              <a:chExt cx="358775" cy="236537"/>
            </a:xfrm>
          </p:grpSpPr>
          <p:pic>
            <p:nvPicPr>
              <p:cNvPr id="3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3503" y="3171825"/>
                <a:ext cx="358775" cy="2365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5" name="Afrundet rektangel 34"/>
              <p:cNvSpPr/>
              <p:nvPr userDrawn="1"/>
            </p:nvSpPr>
            <p:spPr>
              <a:xfrm>
                <a:off x="-503503" y="3171825"/>
                <a:ext cx="179387" cy="236537"/>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sz="750"/>
              </a:p>
            </p:txBody>
          </p:sp>
        </p:grpSp>
      </p:grpSp>
      <p:grpSp>
        <p:nvGrpSpPr>
          <p:cNvPr id="37" name="Gruppe 36"/>
          <p:cNvGrpSpPr/>
          <p:nvPr userDrawn="1"/>
        </p:nvGrpSpPr>
        <p:grpSpPr>
          <a:xfrm>
            <a:off x="9249355" y="1927800"/>
            <a:ext cx="1377179" cy="1616058"/>
            <a:chOff x="9252520" y="2570400"/>
            <a:chExt cx="1836000" cy="2154744"/>
          </a:xfrm>
        </p:grpSpPr>
        <p:sp>
          <p:nvSpPr>
            <p:cNvPr id="38" name="Tekstboks 37"/>
            <p:cNvSpPr txBox="1"/>
            <p:nvPr userDrawn="1"/>
          </p:nvSpPr>
          <p:spPr>
            <a:xfrm>
              <a:off x="9252520" y="2570400"/>
              <a:ext cx="1836000" cy="1866712"/>
            </a:xfrm>
            <a:prstGeom prst="rect">
              <a:avLst/>
            </a:prstGeom>
            <a:noFill/>
          </p:spPr>
          <p:txBody>
            <a:bodyPr wrap="square" lIns="0" tIns="0" rIns="0" bIns="0" rtlCol="0">
              <a:noAutofit/>
            </a:bodyPr>
            <a:lstStyle/>
            <a:p>
              <a:pPr algn="l"/>
              <a:r>
                <a:rPr lang="da-DK" sz="675" b="1" i="0" u="none" strike="noStrike" kern="1200" baseline="0" noProof="1">
                  <a:solidFill>
                    <a:schemeClr val="bg1">
                      <a:lumMod val="50000"/>
                    </a:schemeClr>
                  </a:solidFill>
                  <a:latin typeface="+mn-lt"/>
                  <a:ea typeface="+mn-ea"/>
                  <a:cs typeface="+mn-cs"/>
                </a:rPr>
                <a:t>Indsæt billede</a:t>
              </a:r>
            </a:p>
            <a:p>
              <a:pPr algn="l"/>
              <a:r>
                <a:rPr lang="da-DK" sz="675" b="1" i="0" u="none" strike="noStrike" kern="1200" baseline="0" noProof="1">
                  <a:solidFill>
                    <a:schemeClr val="bg1">
                      <a:lumMod val="50000"/>
                    </a:schemeClr>
                  </a:solidFill>
                  <a:latin typeface="+mn-lt"/>
                  <a:ea typeface="+mn-ea"/>
                  <a:cs typeface="+mn-cs"/>
                </a:rPr>
                <a:t>1. </a:t>
              </a:r>
              <a:r>
                <a:rPr lang="da-DK" sz="675" b="0" i="0" u="none" strike="noStrike" kern="1200" baseline="0" noProof="1">
                  <a:solidFill>
                    <a:schemeClr val="bg1">
                      <a:lumMod val="50000"/>
                    </a:schemeClr>
                  </a:solidFill>
                  <a:latin typeface="+mn-lt"/>
                  <a:ea typeface="+mn-ea"/>
                  <a:cs typeface="+mn-cs"/>
                </a:rPr>
                <a:t>Klik på det lille billede-indsættelsesikon i midten</a:t>
              </a:r>
            </a:p>
            <a:p>
              <a:pPr algn="l"/>
              <a:r>
                <a:rPr lang="da-DK" sz="675" b="0" i="0" u="none" strike="noStrike" kern="1200" baseline="0" noProof="1">
                  <a:solidFill>
                    <a:schemeClr val="bg1">
                      <a:lumMod val="50000"/>
                    </a:schemeClr>
                  </a:solidFill>
                  <a:latin typeface="+mn-lt"/>
                  <a:ea typeface="+mn-ea"/>
                  <a:cs typeface="+mn-cs"/>
                </a:rPr>
                <a:t>af pladsholderen</a:t>
              </a:r>
            </a:p>
            <a:p>
              <a:pPr algn="l"/>
              <a:r>
                <a:rPr lang="da-DK" sz="675" b="1" i="0" u="none" strike="noStrike" kern="1200" baseline="0" noProof="1">
                  <a:solidFill>
                    <a:schemeClr val="bg1">
                      <a:lumMod val="50000"/>
                    </a:schemeClr>
                  </a:solidFill>
                  <a:latin typeface="+mn-lt"/>
                  <a:ea typeface="+mn-ea"/>
                  <a:cs typeface="+mn-cs"/>
                </a:rPr>
                <a:t>2. </a:t>
              </a:r>
              <a:r>
                <a:rPr lang="da-DK" sz="675" b="0" i="0" u="none" strike="noStrike" kern="1200" baseline="0" noProof="1">
                  <a:solidFill>
                    <a:schemeClr val="bg1">
                      <a:lumMod val="50000"/>
                    </a:schemeClr>
                  </a:solidFill>
                  <a:latin typeface="+mn-lt"/>
                  <a:ea typeface="+mn-ea"/>
                  <a:cs typeface="+mn-cs"/>
                </a:rPr>
                <a:t>Indsæt det ønskede billede</a:t>
              </a:r>
            </a:p>
            <a:p>
              <a:pPr algn="l"/>
              <a:r>
                <a:rPr lang="da-DK" sz="675" b="1" i="0" u="none" strike="noStrike" kern="1200" baseline="0" noProof="1">
                  <a:solidFill>
                    <a:schemeClr val="bg1">
                      <a:lumMod val="50000"/>
                    </a:schemeClr>
                  </a:solidFill>
                  <a:latin typeface="+mn-lt"/>
                  <a:ea typeface="+mn-ea"/>
                  <a:cs typeface="+mn-cs"/>
                </a:rPr>
                <a:t>3. </a:t>
              </a:r>
              <a:r>
                <a:rPr lang="da-DK" sz="675" b="0" i="0" u="none" strike="noStrike" kern="1200" baseline="0" noProof="1">
                  <a:solidFill>
                    <a:schemeClr val="bg1">
                      <a:lumMod val="50000"/>
                    </a:schemeClr>
                  </a:solidFill>
                  <a:latin typeface="+mn-lt"/>
                  <a:ea typeface="+mn-ea"/>
                  <a:cs typeface="+mn-cs"/>
                </a:rPr>
                <a:t>Klik</a:t>
              </a:r>
              <a:r>
                <a:rPr lang="da-DK" sz="675" b="1" i="0" u="none" strike="noStrike" kern="1200" baseline="0" noProof="1">
                  <a:solidFill>
                    <a:schemeClr val="bg1">
                      <a:lumMod val="50000"/>
                    </a:schemeClr>
                  </a:solidFill>
                  <a:latin typeface="+mn-lt"/>
                  <a:ea typeface="+mn-ea"/>
                  <a:cs typeface="+mn-cs"/>
                </a:rPr>
                <a:t> Beskær </a:t>
              </a:r>
              <a:r>
                <a:rPr lang="da-DK" sz="675" b="0" i="0" u="none" strike="noStrike" kern="1200" baseline="0" noProof="1">
                  <a:solidFill>
                    <a:schemeClr val="bg1">
                      <a:lumMod val="50000"/>
                    </a:schemeClr>
                  </a:solidFill>
                  <a:latin typeface="+mn-lt"/>
                  <a:ea typeface="+mn-ea"/>
                  <a:cs typeface="+mn-cs"/>
                </a:rPr>
                <a:t>for at ændre</a:t>
              </a:r>
            </a:p>
            <a:p>
              <a:pPr algn="l"/>
              <a:r>
                <a:rPr lang="da-DK" sz="675" b="0" i="0" u="none" strike="noStrike" kern="1200" baseline="0" noProof="1">
                  <a:solidFill>
                    <a:schemeClr val="bg1">
                      <a:lumMod val="50000"/>
                    </a:schemeClr>
                  </a:solidFill>
                  <a:latin typeface="+mn-lt"/>
                  <a:ea typeface="+mn-ea"/>
                  <a:cs typeface="+mn-cs"/>
                </a:rPr>
                <a:t>billedets fokus/størrelse</a:t>
              </a:r>
            </a:p>
            <a:p>
              <a:pPr algn="l"/>
              <a:endParaRPr lang="da-DK" sz="675" b="1" i="0" u="none" strike="noStrike" kern="1200" baseline="0" noProof="1">
                <a:solidFill>
                  <a:schemeClr val="bg1">
                    <a:lumMod val="50000"/>
                  </a:schemeClr>
                </a:solidFill>
                <a:latin typeface="+mn-lt"/>
                <a:ea typeface="+mn-ea"/>
                <a:cs typeface="+mn-cs"/>
              </a:endParaRPr>
            </a:p>
            <a:p>
              <a:pPr algn="l"/>
              <a:endParaRPr lang="da-DK" sz="675" b="1" i="0" u="none" strike="noStrike" kern="1200" baseline="0" noProof="1">
                <a:solidFill>
                  <a:schemeClr val="bg1">
                    <a:lumMod val="50000"/>
                  </a:schemeClr>
                </a:solidFill>
                <a:latin typeface="+mn-lt"/>
                <a:ea typeface="+mn-ea"/>
                <a:cs typeface="+mn-cs"/>
              </a:endParaRPr>
            </a:p>
            <a:p>
              <a:pPr algn="l"/>
              <a:r>
                <a:rPr lang="da-DK" sz="675" b="1" i="0" u="none" strike="noStrike" kern="1200" baseline="0" noProof="1">
                  <a:solidFill>
                    <a:schemeClr val="bg1">
                      <a:lumMod val="50000"/>
                    </a:schemeClr>
                  </a:solidFill>
                  <a:latin typeface="+mn-lt"/>
                  <a:ea typeface="+mn-ea"/>
                  <a:cs typeface="+mn-cs"/>
                </a:rPr>
                <a:t>4. </a:t>
              </a:r>
              <a:r>
                <a:rPr lang="da-DK" sz="675" b="0" i="0" u="none" strike="noStrike" kern="1200" baseline="0" noProof="1">
                  <a:solidFill>
                    <a:schemeClr val="bg1">
                      <a:lumMod val="50000"/>
                    </a:schemeClr>
                  </a:solidFill>
                  <a:latin typeface="+mn-lt"/>
                  <a:ea typeface="+mn-ea"/>
                  <a:cs typeface="+mn-cs"/>
                </a:rPr>
                <a:t>Ønsker du at skalere billedet, så hold </a:t>
              </a:r>
              <a:r>
                <a:rPr lang="da-DK" sz="675" b="1" i="0" u="none" strike="noStrike" kern="1200" baseline="0" noProof="1">
                  <a:solidFill>
                    <a:schemeClr val="bg1">
                      <a:lumMod val="50000"/>
                    </a:schemeClr>
                  </a:solidFill>
                  <a:latin typeface="+mn-lt"/>
                  <a:ea typeface="+mn-ea"/>
                  <a:cs typeface="+mn-cs"/>
                </a:rPr>
                <a:t>SHIFT</a:t>
              </a:r>
              <a:r>
                <a:rPr lang="da-DK" sz="675" b="0" i="0" u="none" strike="noStrike" kern="1200" baseline="0" noProof="1">
                  <a:solidFill>
                    <a:schemeClr val="bg1">
                      <a:lumMod val="50000"/>
                    </a:schemeClr>
                  </a:solidFill>
                  <a:latin typeface="+mn-lt"/>
                  <a:ea typeface="+mn-ea"/>
                  <a:cs typeface="+mn-cs"/>
                </a:rPr>
                <a:t>-knappen nede, mens der trækkes i billedets hjørner</a:t>
              </a:r>
            </a:p>
            <a:p>
              <a:pPr algn="l"/>
              <a:endParaRPr lang="da-DK" sz="675" b="1" i="0" u="none" strike="noStrike" kern="1200" baseline="0" noProof="1">
                <a:solidFill>
                  <a:schemeClr val="bg1">
                    <a:lumMod val="50000"/>
                  </a:schemeClr>
                </a:solidFill>
                <a:latin typeface="+mn-lt"/>
                <a:ea typeface="+mn-ea"/>
                <a:cs typeface="+mn-cs"/>
              </a:endParaRPr>
            </a:p>
            <a:p>
              <a:pPr algn="l"/>
              <a:endParaRPr lang="da-DK" sz="675" b="1" i="0" u="none" strike="noStrike" kern="1200" baseline="0" noProof="1">
                <a:solidFill>
                  <a:schemeClr val="bg1">
                    <a:lumMod val="50000"/>
                  </a:schemeClr>
                </a:solidFill>
                <a:latin typeface="+mn-lt"/>
                <a:ea typeface="+mn-ea"/>
                <a:cs typeface="+mn-cs"/>
              </a:endParaRPr>
            </a:p>
          </p:txBody>
        </p:sp>
        <p:pic>
          <p:nvPicPr>
            <p:cNvPr id="39"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265574" y="3552224"/>
              <a:ext cx="251185" cy="2300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40" name="Gruppe 39"/>
            <p:cNvGrpSpPr/>
            <p:nvPr userDrawn="1"/>
          </p:nvGrpSpPr>
          <p:grpSpPr>
            <a:xfrm>
              <a:off x="9258729" y="4402493"/>
              <a:ext cx="291716" cy="322651"/>
              <a:chOff x="9218790" y="4378700"/>
              <a:chExt cx="343634" cy="380074"/>
            </a:xfrm>
          </p:grpSpPr>
          <p:pic>
            <p:nvPicPr>
              <p:cNvPr id="41"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244924" y="4417462"/>
                <a:ext cx="317500" cy="3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2" name="Afrundet rektangel 41"/>
              <p:cNvSpPr/>
              <p:nvPr userDrawn="1"/>
            </p:nvSpPr>
            <p:spPr>
              <a:xfrm>
                <a:off x="9218790" y="4378700"/>
                <a:ext cx="227291" cy="182221"/>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sz="750"/>
              </a:p>
            </p:txBody>
          </p:sp>
        </p:grpSp>
      </p:grpSp>
    </p:spTree>
    <p:extLst>
      <p:ext uri="{BB962C8B-B14F-4D97-AF65-F5344CB8AC3E}">
        <p14:creationId xmlns:p14="http://schemas.microsoft.com/office/powerpoint/2010/main" val="18156122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1 Blue">
    <p:spTree>
      <p:nvGrpSpPr>
        <p:cNvPr id="1" name=""/>
        <p:cNvGrpSpPr/>
        <p:nvPr/>
      </p:nvGrpSpPr>
      <p:grpSpPr>
        <a:xfrm>
          <a:off x="0" y="0"/>
          <a:ext cx="0" cy="0"/>
          <a:chOff x="0" y="0"/>
          <a:chExt cx="0" cy="0"/>
        </a:xfrm>
      </p:grpSpPr>
      <p:sp>
        <p:nvSpPr>
          <p:cNvPr id="20" name="Rektangel 19"/>
          <p:cNvSpPr/>
          <p:nvPr userDrawn="1"/>
        </p:nvSpPr>
        <p:spPr>
          <a:xfrm>
            <a:off x="4572000" y="0"/>
            <a:ext cx="4572000" cy="5143500"/>
          </a:xfrm>
          <a:prstGeom prst="rect">
            <a:avLst/>
          </a:prstGeom>
          <a:solidFill>
            <a:schemeClr val="tx2"/>
          </a:solidFill>
          <a:ln>
            <a:noFill/>
          </a:ln>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sv-SE"/>
          </a:p>
        </p:txBody>
      </p:sp>
      <p:grpSp>
        <p:nvGrpSpPr>
          <p:cNvPr id="22" name="Grupp 21">
            <a:extLst>
              <a:ext uri="{FF2B5EF4-FFF2-40B4-BE49-F238E27FC236}">
                <a16:creationId xmlns:a16="http://schemas.microsoft.com/office/drawing/2014/main" id="{58A4F037-5372-4F50-AB2C-80E4F015FDE0}"/>
              </a:ext>
            </a:extLst>
          </p:cNvPr>
          <p:cNvGrpSpPr/>
          <p:nvPr userDrawn="1"/>
        </p:nvGrpSpPr>
        <p:grpSpPr>
          <a:xfrm>
            <a:off x="4099911" y="-1785593"/>
            <a:ext cx="8908892" cy="8714685"/>
            <a:chOff x="3589405" y="387640"/>
            <a:chExt cx="5873827" cy="5872463"/>
          </a:xfrm>
          <a:solidFill>
            <a:schemeClr val="bg1">
              <a:alpha val="10000"/>
            </a:schemeClr>
          </a:solidFill>
        </p:grpSpPr>
        <p:sp>
          <p:nvSpPr>
            <p:cNvPr id="23" name="Freeform 5">
              <a:extLst>
                <a:ext uri="{FF2B5EF4-FFF2-40B4-BE49-F238E27FC236}">
                  <a16:creationId xmlns:a16="http://schemas.microsoft.com/office/drawing/2014/main" id="{7C1D4E85-F2CE-4336-8CC8-25E235311297}"/>
                </a:ext>
              </a:extLst>
            </p:cNvPr>
            <p:cNvSpPr>
              <a:spLocks/>
            </p:cNvSpPr>
            <p:nvPr/>
          </p:nvSpPr>
          <p:spPr bwMode="auto">
            <a:xfrm>
              <a:off x="3871774" y="678194"/>
              <a:ext cx="1392749" cy="1400934"/>
            </a:xfrm>
            <a:custGeom>
              <a:avLst/>
              <a:gdLst>
                <a:gd name="T0" fmla="*/ 2096 w 2096"/>
                <a:gd name="T1" fmla="*/ 0 h 2108"/>
                <a:gd name="T2" fmla="*/ 877 w 2096"/>
                <a:gd name="T3" fmla="*/ 863 h 2108"/>
                <a:gd name="T4" fmla="*/ 0 w 2096"/>
                <a:gd name="T5" fmla="*/ 2108 h 2108"/>
                <a:gd name="T6" fmla="*/ 981 w 2096"/>
                <a:gd name="T7" fmla="*/ 948 h 2108"/>
                <a:gd name="T8" fmla="*/ 2096 w 2096"/>
                <a:gd name="T9" fmla="*/ 0 h 2108"/>
              </a:gdLst>
              <a:ahLst/>
              <a:cxnLst>
                <a:cxn ang="0">
                  <a:pos x="T0" y="T1"/>
                </a:cxn>
                <a:cxn ang="0">
                  <a:pos x="T2" y="T3"/>
                </a:cxn>
                <a:cxn ang="0">
                  <a:pos x="T4" y="T5"/>
                </a:cxn>
                <a:cxn ang="0">
                  <a:pos x="T6" y="T7"/>
                </a:cxn>
                <a:cxn ang="0">
                  <a:pos x="T8" y="T9"/>
                </a:cxn>
              </a:cxnLst>
              <a:rect l="0" t="0" r="r" b="b"/>
              <a:pathLst>
                <a:path w="2096" h="2108">
                  <a:moveTo>
                    <a:pt x="2096" y="0"/>
                  </a:moveTo>
                  <a:cubicBezTo>
                    <a:pt x="1655" y="211"/>
                    <a:pt x="1242" y="498"/>
                    <a:pt x="877" y="863"/>
                  </a:cubicBezTo>
                  <a:cubicBezTo>
                    <a:pt x="504" y="1235"/>
                    <a:pt x="213" y="1658"/>
                    <a:pt x="0" y="2108"/>
                  </a:cubicBezTo>
                  <a:cubicBezTo>
                    <a:pt x="254" y="1741"/>
                    <a:pt x="588" y="1343"/>
                    <a:pt x="981" y="948"/>
                  </a:cubicBezTo>
                  <a:cubicBezTo>
                    <a:pt x="1360" y="571"/>
                    <a:pt x="1741" y="249"/>
                    <a:pt x="209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4" name="Freeform 6">
              <a:extLst>
                <a:ext uri="{FF2B5EF4-FFF2-40B4-BE49-F238E27FC236}">
                  <a16:creationId xmlns:a16="http://schemas.microsoft.com/office/drawing/2014/main" id="{AAC8634F-3E34-4168-8D60-19B3A00C0D81}"/>
                </a:ext>
              </a:extLst>
            </p:cNvPr>
            <p:cNvSpPr>
              <a:spLocks/>
            </p:cNvSpPr>
            <p:nvPr/>
          </p:nvSpPr>
          <p:spPr bwMode="auto">
            <a:xfrm>
              <a:off x="3635784" y="435383"/>
              <a:ext cx="2381724" cy="2399457"/>
            </a:xfrm>
            <a:custGeom>
              <a:avLst/>
              <a:gdLst>
                <a:gd name="T0" fmla="*/ 446 w 3585"/>
                <a:gd name="T1" fmla="*/ 2866 h 3609"/>
                <a:gd name="T2" fmla="*/ 484 w 3585"/>
                <a:gd name="T3" fmla="*/ 2811 h 3609"/>
                <a:gd name="T4" fmla="*/ 1565 w 3585"/>
                <a:gd name="T5" fmla="*/ 1541 h 3609"/>
                <a:gd name="T6" fmla="*/ 2835 w 3585"/>
                <a:gd name="T7" fmla="*/ 460 h 3609"/>
                <a:gd name="T8" fmla="*/ 2891 w 3585"/>
                <a:gd name="T9" fmla="*/ 422 h 3609"/>
                <a:gd name="T10" fmla="*/ 2945 w 3585"/>
                <a:gd name="T11" fmla="*/ 385 h 3609"/>
                <a:gd name="T12" fmla="*/ 3585 w 3585"/>
                <a:gd name="T13" fmla="*/ 0 h 3609"/>
                <a:gd name="T14" fmla="*/ 3071 w 3585"/>
                <a:gd name="T15" fmla="*/ 123 h 3609"/>
                <a:gd name="T16" fmla="*/ 2863 w 3585"/>
                <a:gd name="T17" fmla="*/ 239 h 3609"/>
                <a:gd name="T18" fmla="*/ 2809 w 3585"/>
                <a:gd name="T19" fmla="*/ 272 h 3609"/>
                <a:gd name="T20" fmla="*/ 2752 w 3585"/>
                <a:gd name="T21" fmla="*/ 307 h 3609"/>
                <a:gd name="T22" fmla="*/ 1420 w 3585"/>
                <a:gd name="T23" fmla="*/ 1396 h 3609"/>
                <a:gd name="T24" fmla="*/ 331 w 3585"/>
                <a:gd name="T25" fmla="*/ 2728 h 3609"/>
                <a:gd name="T26" fmla="*/ 296 w 3585"/>
                <a:gd name="T27" fmla="*/ 2785 h 3609"/>
                <a:gd name="T28" fmla="*/ 263 w 3585"/>
                <a:gd name="T29" fmla="*/ 2839 h 3609"/>
                <a:gd name="T30" fmla="*/ 113 w 3585"/>
                <a:gd name="T31" fmla="*/ 3114 h 3609"/>
                <a:gd name="T32" fmla="*/ 0 w 3585"/>
                <a:gd name="T33" fmla="*/ 3609 h 3609"/>
                <a:gd name="T34" fmla="*/ 408 w 3585"/>
                <a:gd name="T35" fmla="*/ 2921 h 3609"/>
                <a:gd name="T36" fmla="*/ 446 w 3585"/>
                <a:gd name="T37" fmla="*/ 2866 h 3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85" h="3609">
                  <a:moveTo>
                    <a:pt x="446" y="2866"/>
                  </a:moveTo>
                  <a:cubicBezTo>
                    <a:pt x="459" y="2848"/>
                    <a:pt x="471" y="2830"/>
                    <a:pt x="484" y="2811"/>
                  </a:cubicBezTo>
                  <a:cubicBezTo>
                    <a:pt x="775" y="2399"/>
                    <a:pt x="1141" y="1966"/>
                    <a:pt x="1565" y="1541"/>
                  </a:cubicBezTo>
                  <a:cubicBezTo>
                    <a:pt x="1990" y="1117"/>
                    <a:pt x="2423" y="751"/>
                    <a:pt x="2835" y="460"/>
                  </a:cubicBezTo>
                  <a:cubicBezTo>
                    <a:pt x="2854" y="447"/>
                    <a:pt x="2872" y="435"/>
                    <a:pt x="2891" y="422"/>
                  </a:cubicBezTo>
                  <a:cubicBezTo>
                    <a:pt x="2909" y="409"/>
                    <a:pt x="2927" y="397"/>
                    <a:pt x="2945" y="385"/>
                  </a:cubicBezTo>
                  <a:cubicBezTo>
                    <a:pt x="3167" y="233"/>
                    <a:pt x="3382" y="104"/>
                    <a:pt x="3585" y="0"/>
                  </a:cubicBezTo>
                  <a:cubicBezTo>
                    <a:pt x="3412" y="31"/>
                    <a:pt x="3240" y="72"/>
                    <a:pt x="3071" y="123"/>
                  </a:cubicBezTo>
                  <a:cubicBezTo>
                    <a:pt x="3004" y="158"/>
                    <a:pt x="2935" y="196"/>
                    <a:pt x="2863" y="239"/>
                  </a:cubicBezTo>
                  <a:cubicBezTo>
                    <a:pt x="2845" y="249"/>
                    <a:pt x="2827" y="261"/>
                    <a:pt x="2809" y="272"/>
                  </a:cubicBezTo>
                  <a:cubicBezTo>
                    <a:pt x="2790" y="284"/>
                    <a:pt x="2771" y="294"/>
                    <a:pt x="2752" y="307"/>
                  </a:cubicBezTo>
                  <a:cubicBezTo>
                    <a:pt x="2343" y="565"/>
                    <a:pt x="1875" y="939"/>
                    <a:pt x="1420" y="1396"/>
                  </a:cubicBezTo>
                  <a:cubicBezTo>
                    <a:pt x="963" y="1851"/>
                    <a:pt x="589" y="2319"/>
                    <a:pt x="331" y="2728"/>
                  </a:cubicBezTo>
                  <a:cubicBezTo>
                    <a:pt x="318" y="2747"/>
                    <a:pt x="308" y="2766"/>
                    <a:pt x="296" y="2785"/>
                  </a:cubicBezTo>
                  <a:cubicBezTo>
                    <a:pt x="285" y="2803"/>
                    <a:pt x="273" y="2821"/>
                    <a:pt x="263" y="2839"/>
                  </a:cubicBezTo>
                  <a:cubicBezTo>
                    <a:pt x="205" y="2935"/>
                    <a:pt x="156" y="3027"/>
                    <a:pt x="113" y="3114"/>
                  </a:cubicBezTo>
                  <a:cubicBezTo>
                    <a:pt x="65" y="3277"/>
                    <a:pt x="28" y="3443"/>
                    <a:pt x="0" y="3609"/>
                  </a:cubicBezTo>
                  <a:cubicBezTo>
                    <a:pt x="107" y="3392"/>
                    <a:pt x="245" y="3161"/>
                    <a:pt x="408" y="2921"/>
                  </a:cubicBezTo>
                  <a:cubicBezTo>
                    <a:pt x="421" y="2903"/>
                    <a:pt x="433" y="2885"/>
                    <a:pt x="446" y="28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5" name="Freeform 7">
              <a:extLst>
                <a:ext uri="{FF2B5EF4-FFF2-40B4-BE49-F238E27FC236}">
                  <a16:creationId xmlns:a16="http://schemas.microsoft.com/office/drawing/2014/main" id="{1044E1AF-5D57-4C57-A718-661729CA160C}"/>
                </a:ext>
              </a:extLst>
            </p:cNvPr>
            <p:cNvSpPr>
              <a:spLocks/>
            </p:cNvSpPr>
            <p:nvPr/>
          </p:nvSpPr>
          <p:spPr bwMode="auto">
            <a:xfrm>
              <a:off x="3589405" y="387640"/>
              <a:ext cx="3051498" cy="3077416"/>
            </a:xfrm>
            <a:custGeom>
              <a:avLst/>
              <a:gdLst>
                <a:gd name="T0" fmla="*/ 267 w 4592"/>
                <a:gd name="T1" fmla="*/ 4024 h 4629"/>
                <a:gd name="T2" fmla="*/ 1026 w 4592"/>
                <a:gd name="T3" fmla="*/ 2858 h 4629"/>
                <a:gd name="T4" fmla="*/ 1121 w 4592"/>
                <a:gd name="T5" fmla="*/ 2738 h 4629"/>
                <a:gd name="T6" fmla="*/ 1236 w 4592"/>
                <a:gd name="T7" fmla="*/ 2597 h 4629"/>
                <a:gd name="T8" fmla="*/ 1896 w 4592"/>
                <a:gd name="T9" fmla="*/ 1875 h 4629"/>
                <a:gd name="T10" fmla="*/ 2618 w 4592"/>
                <a:gd name="T11" fmla="*/ 1215 h 4629"/>
                <a:gd name="T12" fmla="*/ 2759 w 4592"/>
                <a:gd name="T13" fmla="*/ 1101 h 4629"/>
                <a:gd name="T14" fmla="*/ 2878 w 4592"/>
                <a:gd name="T15" fmla="*/ 1006 h 4629"/>
                <a:gd name="T16" fmla="*/ 4045 w 4592"/>
                <a:gd name="T17" fmla="*/ 246 h 4629"/>
                <a:gd name="T18" fmla="*/ 4104 w 4592"/>
                <a:gd name="T19" fmla="*/ 217 h 4629"/>
                <a:gd name="T20" fmla="*/ 4159 w 4592"/>
                <a:gd name="T21" fmla="*/ 189 h 4629"/>
                <a:gd name="T22" fmla="*/ 4592 w 4592"/>
                <a:gd name="T23" fmla="*/ 6 h 4629"/>
                <a:gd name="T24" fmla="*/ 4098 w 4592"/>
                <a:gd name="T25" fmla="*/ 16 h 4629"/>
                <a:gd name="T26" fmla="*/ 4059 w 4592"/>
                <a:gd name="T27" fmla="*/ 19 h 4629"/>
                <a:gd name="T28" fmla="*/ 4034 w 4592"/>
                <a:gd name="T29" fmla="*/ 29 h 4629"/>
                <a:gd name="T30" fmla="*/ 3987 w 4592"/>
                <a:gd name="T31" fmla="*/ 49 h 4629"/>
                <a:gd name="T32" fmla="*/ 3976 w 4592"/>
                <a:gd name="T33" fmla="*/ 53 h 4629"/>
                <a:gd name="T34" fmla="*/ 3018 w 4592"/>
                <a:gd name="T35" fmla="*/ 598 h 4629"/>
                <a:gd name="T36" fmla="*/ 2950 w 4592"/>
                <a:gd name="T37" fmla="*/ 644 h 4629"/>
                <a:gd name="T38" fmla="*/ 2877 w 4592"/>
                <a:gd name="T39" fmla="*/ 698 h 4629"/>
                <a:gd name="T40" fmla="*/ 1717 w 4592"/>
                <a:gd name="T41" fmla="*/ 1696 h 4629"/>
                <a:gd name="T42" fmla="*/ 718 w 4592"/>
                <a:gd name="T43" fmla="*/ 2856 h 4629"/>
                <a:gd name="T44" fmla="*/ 665 w 4592"/>
                <a:gd name="T45" fmla="*/ 2929 h 4629"/>
                <a:gd name="T46" fmla="*/ 618 w 4592"/>
                <a:gd name="T47" fmla="*/ 2997 h 4629"/>
                <a:gd name="T48" fmla="*/ 74 w 4592"/>
                <a:gd name="T49" fmla="*/ 3955 h 4629"/>
                <a:gd name="T50" fmla="*/ 50 w 4592"/>
                <a:gd name="T51" fmla="*/ 4013 h 4629"/>
                <a:gd name="T52" fmla="*/ 28 w 4592"/>
                <a:gd name="T53" fmla="*/ 4070 h 4629"/>
                <a:gd name="T54" fmla="*/ 17 w 4592"/>
                <a:gd name="T55" fmla="*/ 4101 h 4629"/>
                <a:gd name="T56" fmla="*/ 8 w 4592"/>
                <a:gd name="T57" fmla="*/ 4629 h 4629"/>
                <a:gd name="T58" fmla="*/ 210 w 4592"/>
                <a:gd name="T59" fmla="*/ 4138 h 4629"/>
                <a:gd name="T60" fmla="*/ 238 w 4592"/>
                <a:gd name="T61" fmla="*/ 4083 h 4629"/>
                <a:gd name="T62" fmla="*/ 267 w 4592"/>
                <a:gd name="T63" fmla="*/ 4024 h 4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92" h="4629">
                  <a:moveTo>
                    <a:pt x="267" y="4024"/>
                  </a:moveTo>
                  <a:cubicBezTo>
                    <a:pt x="457" y="3655"/>
                    <a:pt x="713" y="3259"/>
                    <a:pt x="1026" y="2858"/>
                  </a:cubicBezTo>
                  <a:cubicBezTo>
                    <a:pt x="1057" y="2818"/>
                    <a:pt x="1089" y="2778"/>
                    <a:pt x="1121" y="2738"/>
                  </a:cubicBezTo>
                  <a:cubicBezTo>
                    <a:pt x="1159" y="2691"/>
                    <a:pt x="1197" y="2644"/>
                    <a:pt x="1236" y="2597"/>
                  </a:cubicBezTo>
                  <a:cubicBezTo>
                    <a:pt x="1437" y="2356"/>
                    <a:pt x="1658" y="2114"/>
                    <a:pt x="1896" y="1875"/>
                  </a:cubicBezTo>
                  <a:cubicBezTo>
                    <a:pt x="2134" y="1637"/>
                    <a:pt x="2376" y="1417"/>
                    <a:pt x="2618" y="1215"/>
                  </a:cubicBezTo>
                  <a:cubicBezTo>
                    <a:pt x="2665" y="1176"/>
                    <a:pt x="2712" y="1138"/>
                    <a:pt x="2759" y="1101"/>
                  </a:cubicBezTo>
                  <a:cubicBezTo>
                    <a:pt x="2799" y="1068"/>
                    <a:pt x="2839" y="1037"/>
                    <a:pt x="2878" y="1006"/>
                  </a:cubicBezTo>
                  <a:cubicBezTo>
                    <a:pt x="3280" y="693"/>
                    <a:pt x="3675" y="437"/>
                    <a:pt x="4045" y="246"/>
                  </a:cubicBezTo>
                  <a:cubicBezTo>
                    <a:pt x="4065" y="236"/>
                    <a:pt x="4084" y="226"/>
                    <a:pt x="4104" y="217"/>
                  </a:cubicBezTo>
                  <a:cubicBezTo>
                    <a:pt x="4122" y="208"/>
                    <a:pt x="4141" y="198"/>
                    <a:pt x="4159" y="189"/>
                  </a:cubicBezTo>
                  <a:cubicBezTo>
                    <a:pt x="4309" y="116"/>
                    <a:pt x="4453" y="55"/>
                    <a:pt x="4592" y="6"/>
                  </a:cubicBezTo>
                  <a:cubicBezTo>
                    <a:pt x="4427" y="0"/>
                    <a:pt x="4262" y="3"/>
                    <a:pt x="4098" y="16"/>
                  </a:cubicBezTo>
                  <a:cubicBezTo>
                    <a:pt x="4085" y="17"/>
                    <a:pt x="4072" y="18"/>
                    <a:pt x="4059" y="19"/>
                  </a:cubicBezTo>
                  <a:cubicBezTo>
                    <a:pt x="4051" y="22"/>
                    <a:pt x="4043" y="26"/>
                    <a:pt x="4034" y="29"/>
                  </a:cubicBezTo>
                  <a:cubicBezTo>
                    <a:pt x="4019" y="35"/>
                    <a:pt x="4003" y="42"/>
                    <a:pt x="3987" y="49"/>
                  </a:cubicBezTo>
                  <a:cubicBezTo>
                    <a:pt x="3983" y="50"/>
                    <a:pt x="3980" y="51"/>
                    <a:pt x="3976" y="53"/>
                  </a:cubicBezTo>
                  <a:cubicBezTo>
                    <a:pt x="3689" y="174"/>
                    <a:pt x="3362" y="358"/>
                    <a:pt x="3018" y="598"/>
                  </a:cubicBezTo>
                  <a:cubicBezTo>
                    <a:pt x="2995" y="613"/>
                    <a:pt x="2973" y="628"/>
                    <a:pt x="2950" y="644"/>
                  </a:cubicBezTo>
                  <a:cubicBezTo>
                    <a:pt x="2926" y="661"/>
                    <a:pt x="2902" y="680"/>
                    <a:pt x="2877" y="698"/>
                  </a:cubicBezTo>
                  <a:cubicBezTo>
                    <a:pt x="2499" y="973"/>
                    <a:pt x="2103" y="1309"/>
                    <a:pt x="1717" y="1696"/>
                  </a:cubicBezTo>
                  <a:cubicBezTo>
                    <a:pt x="1330" y="2082"/>
                    <a:pt x="994" y="2478"/>
                    <a:pt x="718" y="2856"/>
                  </a:cubicBezTo>
                  <a:cubicBezTo>
                    <a:pt x="701" y="2881"/>
                    <a:pt x="682" y="2905"/>
                    <a:pt x="665" y="2929"/>
                  </a:cubicBezTo>
                  <a:cubicBezTo>
                    <a:pt x="649" y="2952"/>
                    <a:pt x="634" y="2974"/>
                    <a:pt x="618" y="2997"/>
                  </a:cubicBezTo>
                  <a:cubicBezTo>
                    <a:pt x="379" y="3341"/>
                    <a:pt x="195" y="3668"/>
                    <a:pt x="74" y="3955"/>
                  </a:cubicBezTo>
                  <a:cubicBezTo>
                    <a:pt x="66" y="3975"/>
                    <a:pt x="57" y="3994"/>
                    <a:pt x="50" y="4013"/>
                  </a:cubicBezTo>
                  <a:cubicBezTo>
                    <a:pt x="42" y="4032"/>
                    <a:pt x="35" y="4051"/>
                    <a:pt x="28" y="4070"/>
                  </a:cubicBezTo>
                  <a:cubicBezTo>
                    <a:pt x="24" y="4080"/>
                    <a:pt x="21" y="4090"/>
                    <a:pt x="17" y="4101"/>
                  </a:cubicBezTo>
                  <a:cubicBezTo>
                    <a:pt x="4" y="4276"/>
                    <a:pt x="0" y="4452"/>
                    <a:pt x="8" y="4629"/>
                  </a:cubicBezTo>
                  <a:cubicBezTo>
                    <a:pt x="60" y="4472"/>
                    <a:pt x="127" y="4309"/>
                    <a:pt x="210" y="4138"/>
                  </a:cubicBezTo>
                  <a:cubicBezTo>
                    <a:pt x="219" y="4120"/>
                    <a:pt x="228" y="4101"/>
                    <a:pt x="238" y="4083"/>
                  </a:cubicBezTo>
                  <a:cubicBezTo>
                    <a:pt x="247" y="4063"/>
                    <a:pt x="257" y="4044"/>
                    <a:pt x="267" y="40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6" name="Freeform 8">
              <a:extLst>
                <a:ext uri="{FF2B5EF4-FFF2-40B4-BE49-F238E27FC236}">
                  <a16:creationId xmlns:a16="http://schemas.microsoft.com/office/drawing/2014/main" id="{3377C1A4-0564-4448-BF92-C18ABDBCE824}"/>
                </a:ext>
              </a:extLst>
            </p:cNvPr>
            <p:cNvSpPr>
              <a:spLocks/>
            </p:cNvSpPr>
            <p:nvPr/>
          </p:nvSpPr>
          <p:spPr bwMode="auto">
            <a:xfrm>
              <a:off x="3736728" y="524050"/>
              <a:ext cx="4067755" cy="4096401"/>
            </a:xfrm>
            <a:custGeom>
              <a:avLst/>
              <a:gdLst>
                <a:gd name="T0" fmla="*/ 711 w 6120"/>
                <a:gd name="T1" fmla="*/ 4802 h 6162"/>
                <a:gd name="T2" fmla="*/ 755 w 6120"/>
                <a:gd name="T3" fmla="*/ 4721 h 6162"/>
                <a:gd name="T4" fmla="*/ 2492 w 6120"/>
                <a:gd name="T5" fmla="*/ 2487 h 6162"/>
                <a:gd name="T6" fmla="*/ 4726 w 6120"/>
                <a:gd name="T7" fmla="*/ 750 h 6162"/>
                <a:gd name="T8" fmla="*/ 4807 w 6120"/>
                <a:gd name="T9" fmla="*/ 706 h 6162"/>
                <a:gd name="T10" fmla="*/ 4883 w 6120"/>
                <a:gd name="T11" fmla="*/ 666 h 6162"/>
                <a:gd name="T12" fmla="*/ 5747 w 6120"/>
                <a:gd name="T13" fmla="*/ 308 h 6162"/>
                <a:gd name="T14" fmla="*/ 5804 w 6120"/>
                <a:gd name="T15" fmla="*/ 292 h 6162"/>
                <a:gd name="T16" fmla="*/ 5862 w 6120"/>
                <a:gd name="T17" fmla="*/ 276 h 6162"/>
                <a:gd name="T18" fmla="*/ 6120 w 6120"/>
                <a:gd name="T19" fmla="*/ 226 h 6162"/>
                <a:gd name="T20" fmla="*/ 5817 w 6120"/>
                <a:gd name="T21" fmla="*/ 96 h 6162"/>
                <a:gd name="T22" fmla="*/ 5740 w 6120"/>
                <a:gd name="T23" fmla="*/ 67 h 6162"/>
                <a:gd name="T24" fmla="*/ 5659 w 6120"/>
                <a:gd name="T25" fmla="*/ 37 h 6162"/>
                <a:gd name="T26" fmla="*/ 5541 w 6120"/>
                <a:gd name="T27" fmla="*/ 0 h 6162"/>
                <a:gd name="T28" fmla="*/ 4988 w 6120"/>
                <a:gd name="T29" fmla="*/ 131 h 6162"/>
                <a:gd name="T30" fmla="*/ 4928 w 6120"/>
                <a:gd name="T31" fmla="*/ 153 h 6162"/>
                <a:gd name="T32" fmla="*/ 4868 w 6120"/>
                <a:gd name="T33" fmla="*/ 175 h 6162"/>
                <a:gd name="T34" fmla="*/ 3700 w 6120"/>
                <a:gd name="T35" fmla="*/ 791 h 6162"/>
                <a:gd name="T36" fmla="*/ 3593 w 6120"/>
                <a:gd name="T37" fmla="*/ 862 h 6162"/>
                <a:gd name="T38" fmla="*/ 3473 w 6120"/>
                <a:gd name="T39" fmla="*/ 946 h 6162"/>
                <a:gd name="T40" fmla="*/ 2108 w 6120"/>
                <a:gd name="T41" fmla="*/ 2103 h 6162"/>
                <a:gd name="T42" fmla="*/ 951 w 6120"/>
                <a:gd name="T43" fmla="*/ 3469 h 6162"/>
                <a:gd name="T44" fmla="*/ 866 w 6120"/>
                <a:gd name="T45" fmla="*/ 3588 h 6162"/>
                <a:gd name="T46" fmla="*/ 796 w 6120"/>
                <a:gd name="T47" fmla="*/ 3695 h 6162"/>
                <a:gd name="T48" fmla="*/ 180 w 6120"/>
                <a:gd name="T49" fmla="*/ 4863 h 6162"/>
                <a:gd name="T50" fmla="*/ 157 w 6120"/>
                <a:gd name="T51" fmla="*/ 4924 h 6162"/>
                <a:gd name="T52" fmla="*/ 136 w 6120"/>
                <a:gd name="T53" fmla="*/ 4983 h 6162"/>
                <a:gd name="T54" fmla="*/ 0 w 6120"/>
                <a:gd name="T55" fmla="*/ 5601 h 6162"/>
                <a:gd name="T56" fmla="*/ 9 w 6120"/>
                <a:gd name="T57" fmla="*/ 5631 h 6162"/>
                <a:gd name="T58" fmla="*/ 39 w 6120"/>
                <a:gd name="T59" fmla="*/ 5719 h 6162"/>
                <a:gd name="T60" fmla="*/ 69 w 6120"/>
                <a:gd name="T61" fmla="*/ 5799 h 6162"/>
                <a:gd name="T62" fmla="*/ 225 w 6120"/>
                <a:gd name="T63" fmla="*/ 6162 h 6162"/>
                <a:gd name="T64" fmla="*/ 282 w 6120"/>
                <a:gd name="T65" fmla="*/ 5857 h 6162"/>
                <a:gd name="T66" fmla="*/ 297 w 6120"/>
                <a:gd name="T67" fmla="*/ 5799 h 6162"/>
                <a:gd name="T68" fmla="*/ 313 w 6120"/>
                <a:gd name="T69" fmla="*/ 5742 h 6162"/>
                <a:gd name="T70" fmla="*/ 671 w 6120"/>
                <a:gd name="T71" fmla="*/ 4877 h 6162"/>
                <a:gd name="T72" fmla="*/ 711 w 6120"/>
                <a:gd name="T73" fmla="*/ 4802 h 6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20" h="6162">
                  <a:moveTo>
                    <a:pt x="711" y="4802"/>
                  </a:moveTo>
                  <a:cubicBezTo>
                    <a:pt x="726" y="4775"/>
                    <a:pt x="740" y="4748"/>
                    <a:pt x="755" y="4721"/>
                  </a:cubicBezTo>
                  <a:cubicBezTo>
                    <a:pt x="1151" y="4012"/>
                    <a:pt x="1746" y="3234"/>
                    <a:pt x="2492" y="2487"/>
                  </a:cubicBezTo>
                  <a:cubicBezTo>
                    <a:pt x="3239" y="1741"/>
                    <a:pt x="4017" y="1146"/>
                    <a:pt x="4726" y="750"/>
                  </a:cubicBezTo>
                  <a:cubicBezTo>
                    <a:pt x="4753" y="735"/>
                    <a:pt x="4780" y="721"/>
                    <a:pt x="4807" y="706"/>
                  </a:cubicBezTo>
                  <a:cubicBezTo>
                    <a:pt x="4832" y="693"/>
                    <a:pt x="4857" y="679"/>
                    <a:pt x="4883" y="666"/>
                  </a:cubicBezTo>
                  <a:cubicBezTo>
                    <a:pt x="5189" y="506"/>
                    <a:pt x="5480" y="385"/>
                    <a:pt x="5747" y="308"/>
                  </a:cubicBezTo>
                  <a:cubicBezTo>
                    <a:pt x="5766" y="302"/>
                    <a:pt x="5785" y="297"/>
                    <a:pt x="5804" y="292"/>
                  </a:cubicBezTo>
                  <a:cubicBezTo>
                    <a:pt x="5824" y="286"/>
                    <a:pt x="5843" y="281"/>
                    <a:pt x="5862" y="276"/>
                  </a:cubicBezTo>
                  <a:cubicBezTo>
                    <a:pt x="5951" y="254"/>
                    <a:pt x="6037" y="238"/>
                    <a:pt x="6120" y="226"/>
                  </a:cubicBezTo>
                  <a:cubicBezTo>
                    <a:pt x="6020" y="179"/>
                    <a:pt x="5919" y="136"/>
                    <a:pt x="5817" y="96"/>
                  </a:cubicBezTo>
                  <a:cubicBezTo>
                    <a:pt x="5791" y="86"/>
                    <a:pt x="5766" y="76"/>
                    <a:pt x="5740" y="67"/>
                  </a:cubicBezTo>
                  <a:cubicBezTo>
                    <a:pt x="5713" y="57"/>
                    <a:pt x="5686" y="47"/>
                    <a:pt x="5659" y="37"/>
                  </a:cubicBezTo>
                  <a:cubicBezTo>
                    <a:pt x="5620" y="24"/>
                    <a:pt x="5580" y="12"/>
                    <a:pt x="5541" y="0"/>
                  </a:cubicBezTo>
                  <a:cubicBezTo>
                    <a:pt x="5373" y="19"/>
                    <a:pt x="5187" y="62"/>
                    <a:pt x="4988" y="131"/>
                  </a:cubicBezTo>
                  <a:cubicBezTo>
                    <a:pt x="4969" y="137"/>
                    <a:pt x="4948" y="145"/>
                    <a:pt x="4928" y="153"/>
                  </a:cubicBezTo>
                  <a:cubicBezTo>
                    <a:pt x="4909" y="160"/>
                    <a:pt x="4888" y="168"/>
                    <a:pt x="4868" y="175"/>
                  </a:cubicBezTo>
                  <a:cubicBezTo>
                    <a:pt x="4509" y="311"/>
                    <a:pt x="4113" y="520"/>
                    <a:pt x="3700" y="791"/>
                  </a:cubicBezTo>
                  <a:cubicBezTo>
                    <a:pt x="3665" y="815"/>
                    <a:pt x="3629" y="837"/>
                    <a:pt x="3593" y="862"/>
                  </a:cubicBezTo>
                  <a:cubicBezTo>
                    <a:pt x="3554" y="889"/>
                    <a:pt x="3513" y="918"/>
                    <a:pt x="3473" y="946"/>
                  </a:cubicBezTo>
                  <a:cubicBezTo>
                    <a:pt x="3022" y="1264"/>
                    <a:pt x="2557" y="1653"/>
                    <a:pt x="2108" y="2103"/>
                  </a:cubicBezTo>
                  <a:cubicBezTo>
                    <a:pt x="1657" y="2553"/>
                    <a:pt x="1269" y="3017"/>
                    <a:pt x="951" y="3469"/>
                  </a:cubicBezTo>
                  <a:cubicBezTo>
                    <a:pt x="922" y="3509"/>
                    <a:pt x="893" y="3549"/>
                    <a:pt x="866" y="3588"/>
                  </a:cubicBezTo>
                  <a:cubicBezTo>
                    <a:pt x="842" y="3624"/>
                    <a:pt x="819" y="3660"/>
                    <a:pt x="796" y="3695"/>
                  </a:cubicBezTo>
                  <a:cubicBezTo>
                    <a:pt x="525" y="4108"/>
                    <a:pt x="316" y="4504"/>
                    <a:pt x="180" y="4863"/>
                  </a:cubicBezTo>
                  <a:cubicBezTo>
                    <a:pt x="173" y="4883"/>
                    <a:pt x="165" y="4904"/>
                    <a:pt x="157" y="4924"/>
                  </a:cubicBezTo>
                  <a:cubicBezTo>
                    <a:pt x="150" y="4943"/>
                    <a:pt x="142" y="4964"/>
                    <a:pt x="136" y="4983"/>
                  </a:cubicBezTo>
                  <a:cubicBezTo>
                    <a:pt x="58" y="5209"/>
                    <a:pt x="13" y="5416"/>
                    <a:pt x="0" y="5601"/>
                  </a:cubicBezTo>
                  <a:cubicBezTo>
                    <a:pt x="3" y="5611"/>
                    <a:pt x="6" y="5621"/>
                    <a:pt x="9" y="5631"/>
                  </a:cubicBezTo>
                  <a:cubicBezTo>
                    <a:pt x="19" y="5660"/>
                    <a:pt x="29" y="5690"/>
                    <a:pt x="39" y="5719"/>
                  </a:cubicBezTo>
                  <a:cubicBezTo>
                    <a:pt x="49" y="5746"/>
                    <a:pt x="59" y="5772"/>
                    <a:pt x="69" y="5799"/>
                  </a:cubicBezTo>
                  <a:cubicBezTo>
                    <a:pt x="116" y="5922"/>
                    <a:pt x="168" y="6043"/>
                    <a:pt x="225" y="6162"/>
                  </a:cubicBezTo>
                  <a:cubicBezTo>
                    <a:pt x="236" y="6065"/>
                    <a:pt x="255" y="5963"/>
                    <a:pt x="282" y="5857"/>
                  </a:cubicBezTo>
                  <a:cubicBezTo>
                    <a:pt x="286" y="5838"/>
                    <a:pt x="291" y="5819"/>
                    <a:pt x="297" y="5799"/>
                  </a:cubicBezTo>
                  <a:cubicBezTo>
                    <a:pt x="302" y="5780"/>
                    <a:pt x="307" y="5761"/>
                    <a:pt x="313" y="5742"/>
                  </a:cubicBezTo>
                  <a:cubicBezTo>
                    <a:pt x="390" y="5475"/>
                    <a:pt x="511" y="5184"/>
                    <a:pt x="671" y="4877"/>
                  </a:cubicBezTo>
                  <a:cubicBezTo>
                    <a:pt x="684" y="4852"/>
                    <a:pt x="698" y="4827"/>
                    <a:pt x="711" y="48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7" name="Freeform 9">
              <a:extLst>
                <a:ext uri="{FF2B5EF4-FFF2-40B4-BE49-F238E27FC236}">
                  <a16:creationId xmlns:a16="http://schemas.microsoft.com/office/drawing/2014/main" id="{6EC9FAE3-1492-416A-BCFC-66F77187622F}"/>
                </a:ext>
              </a:extLst>
            </p:cNvPr>
            <p:cNvSpPr>
              <a:spLocks/>
            </p:cNvSpPr>
            <p:nvPr/>
          </p:nvSpPr>
          <p:spPr bwMode="auto">
            <a:xfrm>
              <a:off x="4160964" y="945558"/>
              <a:ext cx="4516544" cy="4545190"/>
            </a:xfrm>
            <a:custGeom>
              <a:avLst/>
              <a:gdLst>
                <a:gd name="T0" fmla="*/ 6710 w 6796"/>
                <a:gd name="T1" fmla="*/ 461 h 6838"/>
                <a:gd name="T2" fmla="*/ 6619 w 6796"/>
                <a:gd name="T3" fmla="*/ 375 h 6838"/>
                <a:gd name="T4" fmla="*/ 6553 w 6796"/>
                <a:gd name="T5" fmla="*/ 312 h 6838"/>
                <a:gd name="T6" fmla="*/ 6484 w 6796"/>
                <a:gd name="T7" fmla="*/ 252 h 6838"/>
                <a:gd name="T8" fmla="*/ 6170 w 6796"/>
                <a:gd name="T9" fmla="*/ 1 h 6838"/>
                <a:gd name="T10" fmla="*/ 6125 w 6796"/>
                <a:gd name="T11" fmla="*/ 0 h 6838"/>
                <a:gd name="T12" fmla="*/ 5991 w 6796"/>
                <a:gd name="T13" fmla="*/ 6 h 6838"/>
                <a:gd name="T14" fmla="*/ 5933 w 6796"/>
                <a:gd name="T15" fmla="*/ 11 h 6838"/>
                <a:gd name="T16" fmla="*/ 5874 w 6796"/>
                <a:gd name="T17" fmla="*/ 18 h 6838"/>
                <a:gd name="T18" fmla="*/ 5184 w 6796"/>
                <a:gd name="T19" fmla="*/ 205 h 6838"/>
                <a:gd name="T20" fmla="*/ 5119 w 6796"/>
                <a:gd name="T21" fmla="*/ 231 h 6838"/>
                <a:gd name="T22" fmla="*/ 5050 w 6796"/>
                <a:gd name="T23" fmla="*/ 259 h 6838"/>
                <a:gd name="T24" fmla="*/ 3758 w 6796"/>
                <a:gd name="T25" fmla="*/ 987 h 6838"/>
                <a:gd name="T26" fmla="*/ 3625 w 6796"/>
                <a:gd name="T27" fmla="*/ 1081 h 6838"/>
                <a:gd name="T28" fmla="*/ 3479 w 6796"/>
                <a:gd name="T29" fmla="*/ 1189 h 6838"/>
                <a:gd name="T30" fmla="*/ 2254 w 6796"/>
                <a:gd name="T31" fmla="*/ 2254 h 6838"/>
                <a:gd name="T32" fmla="*/ 1188 w 6796"/>
                <a:gd name="T33" fmla="*/ 3479 h 6838"/>
                <a:gd name="T34" fmla="*/ 1081 w 6796"/>
                <a:gd name="T35" fmla="*/ 3626 h 6838"/>
                <a:gd name="T36" fmla="*/ 987 w 6796"/>
                <a:gd name="T37" fmla="*/ 3758 h 6838"/>
                <a:gd name="T38" fmla="*/ 259 w 6796"/>
                <a:gd name="T39" fmla="*/ 5050 h 6838"/>
                <a:gd name="T40" fmla="*/ 231 w 6796"/>
                <a:gd name="T41" fmla="*/ 5119 h 6838"/>
                <a:gd name="T42" fmla="*/ 205 w 6796"/>
                <a:gd name="T43" fmla="*/ 5184 h 6838"/>
                <a:gd name="T44" fmla="*/ 18 w 6796"/>
                <a:gd name="T45" fmla="*/ 5874 h 6838"/>
                <a:gd name="T46" fmla="*/ 11 w 6796"/>
                <a:gd name="T47" fmla="*/ 5933 h 6838"/>
                <a:gd name="T48" fmla="*/ 6 w 6796"/>
                <a:gd name="T49" fmla="*/ 5991 h 6838"/>
                <a:gd name="T50" fmla="*/ 0 w 6796"/>
                <a:gd name="T51" fmla="*/ 6125 h 6838"/>
                <a:gd name="T52" fmla="*/ 3 w 6796"/>
                <a:gd name="T53" fmla="*/ 6220 h 6838"/>
                <a:gd name="T54" fmla="*/ 208 w 6796"/>
                <a:gd name="T55" fmla="*/ 6475 h 6838"/>
                <a:gd name="T56" fmla="*/ 270 w 6796"/>
                <a:gd name="T57" fmla="*/ 6547 h 6838"/>
                <a:gd name="T58" fmla="*/ 332 w 6796"/>
                <a:gd name="T59" fmla="*/ 6615 h 6838"/>
                <a:gd name="T60" fmla="*/ 442 w 6796"/>
                <a:gd name="T61" fmla="*/ 6729 h 6838"/>
                <a:gd name="T62" fmla="*/ 556 w 6796"/>
                <a:gd name="T63" fmla="*/ 6838 h 6838"/>
                <a:gd name="T64" fmla="*/ 548 w 6796"/>
                <a:gd name="T65" fmla="*/ 6702 h 6838"/>
                <a:gd name="T66" fmla="*/ 551 w 6796"/>
                <a:gd name="T67" fmla="*/ 6619 h 6838"/>
                <a:gd name="T68" fmla="*/ 556 w 6796"/>
                <a:gd name="T69" fmla="*/ 6560 h 6838"/>
                <a:gd name="T70" fmla="*/ 561 w 6796"/>
                <a:gd name="T71" fmla="*/ 6501 h 6838"/>
                <a:gd name="T72" fmla="*/ 700 w 6796"/>
                <a:gd name="T73" fmla="*/ 5918 h 6838"/>
                <a:gd name="T74" fmla="*/ 724 w 6796"/>
                <a:gd name="T75" fmla="*/ 5852 h 6838"/>
                <a:gd name="T76" fmla="*/ 750 w 6796"/>
                <a:gd name="T77" fmla="*/ 5782 h 6838"/>
                <a:gd name="T78" fmla="*/ 1285 w 6796"/>
                <a:gd name="T79" fmla="*/ 4735 h 6838"/>
                <a:gd name="T80" fmla="*/ 1353 w 6796"/>
                <a:gd name="T81" fmla="*/ 4628 h 6838"/>
                <a:gd name="T82" fmla="*/ 1430 w 6796"/>
                <a:gd name="T83" fmla="*/ 4511 h 6838"/>
                <a:gd name="T84" fmla="*/ 2828 w 6796"/>
                <a:gd name="T85" fmla="*/ 2828 h 6838"/>
                <a:gd name="T86" fmla="*/ 4511 w 6796"/>
                <a:gd name="T87" fmla="*/ 1430 h 6838"/>
                <a:gd name="T88" fmla="*/ 4627 w 6796"/>
                <a:gd name="T89" fmla="*/ 1354 h 6838"/>
                <a:gd name="T90" fmla="*/ 4735 w 6796"/>
                <a:gd name="T91" fmla="*/ 1285 h 6838"/>
                <a:gd name="T92" fmla="*/ 5781 w 6796"/>
                <a:gd name="T93" fmla="*/ 750 h 6838"/>
                <a:gd name="T94" fmla="*/ 5851 w 6796"/>
                <a:gd name="T95" fmla="*/ 724 h 6838"/>
                <a:gd name="T96" fmla="*/ 5918 w 6796"/>
                <a:gd name="T97" fmla="*/ 700 h 6838"/>
                <a:gd name="T98" fmla="*/ 6501 w 6796"/>
                <a:gd name="T99" fmla="*/ 561 h 6838"/>
                <a:gd name="T100" fmla="*/ 6560 w 6796"/>
                <a:gd name="T101" fmla="*/ 556 h 6838"/>
                <a:gd name="T102" fmla="*/ 6620 w 6796"/>
                <a:gd name="T103" fmla="*/ 551 h 6838"/>
                <a:gd name="T104" fmla="*/ 6702 w 6796"/>
                <a:gd name="T105" fmla="*/ 548 h 6838"/>
                <a:gd name="T106" fmla="*/ 6796 w 6796"/>
                <a:gd name="T107" fmla="*/ 552 h 6838"/>
                <a:gd name="T108" fmla="*/ 6710 w 6796"/>
                <a:gd name="T109" fmla="*/ 461 h 6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796" h="6838">
                  <a:moveTo>
                    <a:pt x="6710" y="461"/>
                  </a:moveTo>
                  <a:cubicBezTo>
                    <a:pt x="6680" y="431"/>
                    <a:pt x="6649" y="403"/>
                    <a:pt x="6619" y="375"/>
                  </a:cubicBezTo>
                  <a:cubicBezTo>
                    <a:pt x="6597" y="354"/>
                    <a:pt x="6575" y="332"/>
                    <a:pt x="6553" y="312"/>
                  </a:cubicBezTo>
                  <a:cubicBezTo>
                    <a:pt x="6530" y="291"/>
                    <a:pt x="6507" y="272"/>
                    <a:pt x="6484" y="252"/>
                  </a:cubicBezTo>
                  <a:cubicBezTo>
                    <a:pt x="6382" y="163"/>
                    <a:pt x="6278" y="79"/>
                    <a:pt x="6170" y="1"/>
                  </a:cubicBezTo>
                  <a:cubicBezTo>
                    <a:pt x="6155" y="1"/>
                    <a:pt x="6140" y="0"/>
                    <a:pt x="6125" y="0"/>
                  </a:cubicBezTo>
                  <a:cubicBezTo>
                    <a:pt x="6082" y="0"/>
                    <a:pt x="6037" y="2"/>
                    <a:pt x="5991" y="6"/>
                  </a:cubicBezTo>
                  <a:cubicBezTo>
                    <a:pt x="5972" y="7"/>
                    <a:pt x="5953" y="9"/>
                    <a:pt x="5933" y="11"/>
                  </a:cubicBezTo>
                  <a:cubicBezTo>
                    <a:pt x="5914" y="13"/>
                    <a:pt x="5894" y="15"/>
                    <a:pt x="5874" y="18"/>
                  </a:cubicBezTo>
                  <a:cubicBezTo>
                    <a:pt x="5664" y="47"/>
                    <a:pt x="5432" y="110"/>
                    <a:pt x="5184" y="205"/>
                  </a:cubicBezTo>
                  <a:cubicBezTo>
                    <a:pt x="5162" y="214"/>
                    <a:pt x="5141" y="222"/>
                    <a:pt x="5119" y="231"/>
                  </a:cubicBezTo>
                  <a:cubicBezTo>
                    <a:pt x="5096" y="240"/>
                    <a:pt x="5073" y="249"/>
                    <a:pt x="5050" y="259"/>
                  </a:cubicBezTo>
                  <a:cubicBezTo>
                    <a:pt x="4649" y="427"/>
                    <a:pt x="4210" y="673"/>
                    <a:pt x="3758" y="987"/>
                  </a:cubicBezTo>
                  <a:cubicBezTo>
                    <a:pt x="3714" y="1018"/>
                    <a:pt x="3670" y="1049"/>
                    <a:pt x="3625" y="1081"/>
                  </a:cubicBezTo>
                  <a:cubicBezTo>
                    <a:pt x="3576" y="1116"/>
                    <a:pt x="3528" y="1152"/>
                    <a:pt x="3479" y="1189"/>
                  </a:cubicBezTo>
                  <a:cubicBezTo>
                    <a:pt x="3071" y="1494"/>
                    <a:pt x="2657" y="1851"/>
                    <a:pt x="2254" y="2254"/>
                  </a:cubicBezTo>
                  <a:cubicBezTo>
                    <a:pt x="1851" y="2657"/>
                    <a:pt x="1494" y="3071"/>
                    <a:pt x="1188" y="3479"/>
                  </a:cubicBezTo>
                  <a:cubicBezTo>
                    <a:pt x="1151" y="3528"/>
                    <a:pt x="1116" y="3577"/>
                    <a:pt x="1081" y="3626"/>
                  </a:cubicBezTo>
                  <a:cubicBezTo>
                    <a:pt x="1049" y="3670"/>
                    <a:pt x="1017" y="3714"/>
                    <a:pt x="987" y="3758"/>
                  </a:cubicBezTo>
                  <a:cubicBezTo>
                    <a:pt x="673" y="4210"/>
                    <a:pt x="427" y="4649"/>
                    <a:pt x="259" y="5050"/>
                  </a:cubicBezTo>
                  <a:cubicBezTo>
                    <a:pt x="249" y="5073"/>
                    <a:pt x="240" y="5096"/>
                    <a:pt x="231" y="5119"/>
                  </a:cubicBezTo>
                  <a:cubicBezTo>
                    <a:pt x="222" y="5141"/>
                    <a:pt x="214" y="5162"/>
                    <a:pt x="205" y="5184"/>
                  </a:cubicBezTo>
                  <a:cubicBezTo>
                    <a:pt x="110" y="5432"/>
                    <a:pt x="47" y="5665"/>
                    <a:pt x="18" y="5874"/>
                  </a:cubicBezTo>
                  <a:cubicBezTo>
                    <a:pt x="15" y="5894"/>
                    <a:pt x="13" y="5914"/>
                    <a:pt x="11" y="5933"/>
                  </a:cubicBezTo>
                  <a:cubicBezTo>
                    <a:pt x="8" y="5953"/>
                    <a:pt x="7" y="5972"/>
                    <a:pt x="6" y="5991"/>
                  </a:cubicBezTo>
                  <a:cubicBezTo>
                    <a:pt x="2" y="6037"/>
                    <a:pt x="0" y="6082"/>
                    <a:pt x="0" y="6125"/>
                  </a:cubicBezTo>
                  <a:cubicBezTo>
                    <a:pt x="0" y="6157"/>
                    <a:pt x="1" y="6189"/>
                    <a:pt x="3" y="6220"/>
                  </a:cubicBezTo>
                  <a:cubicBezTo>
                    <a:pt x="67" y="6307"/>
                    <a:pt x="136" y="6392"/>
                    <a:pt x="208" y="6475"/>
                  </a:cubicBezTo>
                  <a:cubicBezTo>
                    <a:pt x="228" y="6499"/>
                    <a:pt x="249" y="6524"/>
                    <a:pt x="270" y="6547"/>
                  </a:cubicBezTo>
                  <a:cubicBezTo>
                    <a:pt x="290" y="6570"/>
                    <a:pt x="312" y="6592"/>
                    <a:pt x="332" y="6615"/>
                  </a:cubicBezTo>
                  <a:cubicBezTo>
                    <a:pt x="368" y="6653"/>
                    <a:pt x="404" y="6692"/>
                    <a:pt x="442" y="6729"/>
                  </a:cubicBezTo>
                  <a:cubicBezTo>
                    <a:pt x="479" y="6767"/>
                    <a:pt x="517" y="6802"/>
                    <a:pt x="556" y="6838"/>
                  </a:cubicBezTo>
                  <a:cubicBezTo>
                    <a:pt x="551" y="6794"/>
                    <a:pt x="548" y="6749"/>
                    <a:pt x="548" y="6702"/>
                  </a:cubicBezTo>
                  <a:cubicBezTo>
                    <a:pt x="548" y="6675"/>
                    <a:pt x="550" y="6647"/>
                    <a:pt x="551" y="6619"/>
                  </a:cubicBezTo>
                  <a:cubicBezTo>
                    <a:pt x="552" y="6600"/>
                    <a:pt x="554" y="6580"/>
                    <a:pt x="556" y="6560"/>
                  </a:cubicBezTo>
                  <a:cubicBezTo>
                    <a:pt x="557" y="6541"/>
                    <a:pt x="559" y="6521"/>
                    <a:pt x="561" y="6501"/>
                  </a:cubicBezTo>
                  <a:cubicBezTo>
                    <a:pt x="582" y="6322"/>
                    <a:pt x="629" y="6126"/>
                    <a:pt x="700" y="5918"/>
                  </a:cubicBezTo>
                  <a:cubicBezTo>
                    <a:pt x="708" y="5896"/>
                    <a:pt x="716" y="5874"/>
                    <a:pt x="724" y="5852"/>
                  </a:cubicBezTo>
                  <a:cubicBezTo>
                    <a:pt x="733" y="5828"/>
                    <a:pt x="741" y="5805"/>
                    <a:pt x="750" y="5782"/>
                  </a:cubicBezTo>
                  <a:cubicBezTo>
                    <a:pt x="875" y="5455"/>
                    <a:pt x="1056" y="5102"/>
                    <a:pt x="1285" y="4735"/>
                  </a:cubicBezTo>
                  <a:cubicBezTo>
                    <a:pt x="1308" y="4699"/>
                    <a:pt x="1330" y="4664"/>
                    <a:pt x="1353" y="4628"/>
                  </a:cubicBezTo>
                  <a:cubicBezTo>
                    <a:pt x="1378" y="4589"/>
                    <a:pt x="1404" y="4550"/>
                    <a:pt x="1430" y="4511"/>
                  </a:cubicBezTo>
                  <a:cubicBezTo>
                    <a:pt x="1799" y="3961"/>
                    <a:pt x="2271" y="3385"/>
                    <a:pt x="2828" y="2828"/>
                  </a:cubicBezTo>
                  <a:cubicBezTo>
                    <a:pt x="3385" y="2271"/>
                    <a:pt x="3960" y="1799"/>
                    <a:pt x="4511" y="1430"/>
                  </a:cubicBezTo>
                  <a:cubicBezTo>
                    <a:pt x="4550" y="1404"/>
                    <a:pt x="4589" y="1379"/>
                    <a:pt x="4627" y="1354"/>
                  </a:cubicBezTo>
                  <a:cubicBezTo>
                    <a:pt x="4663" y="1330"/>
                    <a:pt x="4699" y="1308"/>
                    <a:pt x="4735" y="1285"/>
                  </a:cubicBezTo>
                  <a:cubicBezTo>
                    <a:pt x="5102" y="1056"/>
                    <a:pt x="5455" y="875"/>
                    <a:pt x="5781" y="750"/>
                  </a:cubicBezTo>
                  <a:cubicBezTo>
                    <a:pt x="5805" y="741"/>
                    <a:pt x="5828" y="733"/>
                    <a:pt x="5851" y="724"/>
                  </a:cubicBezTo>
                  <a:cubicBezTo>
                    <a:pt x="5874" y="716"/>
                    <a:pt x="5896" y="708"/>
                    <a:pt x="5918" y="700"/>
                  </a:cubicBezTo>
                  <a:cubicBezTo>
                    <a:pt x="6126" y="629"/>
                    <a:pt x="6322" y="582"/>
                    <a:pt x="6501" y="561"/>
                  </a:cubicBezTo>
                  <a:cubicBezTo>
                    <a:pt x="6521" y="559"/>
                    <a:pt x="6541" y="557"/>
                    <a:pt x="6560" y="556"/>
                  </a:cubicBezTo>
                  <a:cubicBezTo>
                    <a:pt x="6580" y="554"/>
                    <a:pt x="6600" y="552"/>
                    <a:pt x="6620" y="551"/>
                  </a:cubicBezTo>
                  <a:cubicBezTo>
                    <a:pt x="6647" y="550"/>
                    <a:pt x="6675" y="549"/>
                    <a:pt x="6702" y="548"/>
                  </a:cubicBezTo>
                  <a:cubicBezTo>
                    <a:pt x="6734" y="548"/>
                    <a:pt x="6765" y="550"/>
                    <a:pt x="6796" y="552"/>
                  </a:cubicBezTo>
                  <a:cubicBezTo>
                    <a:pt x="6767" y="521"/>
                    <a:pt x="6739" y="491"/>
                    <a:pt x="6710" y="4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8" name="Freeform 10">
              <a:extLst>
                <a:ext uri="{FF2B5EF4-FFF2-40B4-BE49-F238E27FC236}">
                  <a16:creationId xmlns:a16="http://schemas.microsoft.com/office/drawing/2014/main" id="{54CE5925-9480-4C02-A7F9-3B31E37C904C}"/>
                </a:ext>
              </a:extLst>
            </p:cNvPr>
            <p:cNvSpPr>
              <a:spLocks/>
            </p:cNvSpPr>
            <p:nvPr/>
          </p:nvSpPr>
          <p:spPr bwMode="auto">
            <a:xfrm>
              <a:off x="3956348" y="740943"/>
              <a:ext cx="4194616" cy="4225990"/>
            </a:xfrm>
            <a:custGeom>
              <a:avLst/>
              <a:gdLst>
                <a:gd name="T0" fmla="*/ 1126 w 6312"/>
                <a:gd name="T1" fmla="*/ 4101 h 6355"/>
                <a:gd name="T2" fmla="*/ 1212 w 6312"/>
                <a:gd name="T3" fmla="*/ 3976 h 6355"/>
                <a:gd name="T4" fmla="*/ 2479 w 6312"/>
                <a:gd name="T5" fmla="*/ 2477 h 6355"/>
                <a:gd name="T6" fmla="*/ 3978 w 6312"/>
                <a:gd name="T7" fmla="*/ 1210 h 6355"/>
                <a:gd name="T8" fmla="*/ 4103 w 6312"/>
                <a:gd name="T9" fmla="*/ 1124 h 6355"/>
                <a:gd name="T10" fmla="*/ 4216 w 6312"/>
                <a:gd name="T11" fmla="*/ 1049 h 6355"/>
                <a:gd name="T12" fmla="*/ 5392 w 6312"/>
                <a:gd name="T13" fmla="*/ 423 h 6355"/>
                <a:gd name="T14" fmla="*/ 5456 w 6312"/>
                <a:gd name="T15" fmla="*/ 399 h 6355"/>
                <a:gd name="T16" fmla="*/ 5518 w 6312"/>
                <a:gd name="T17" fmla="*/ 376 h 6355"/>
                <a:gd name="T18" fmla="*/ 6164 w 6312"/>
                <a:gd name="T19" fmla="*/ 208 h 6355"/>
                <a:gd name="T20" fmla="*/ 6222 w 6312"/>
                <a:gd name="T21" fmla="*/ 201 h 6355"/>
                <a:gd name="T22" fmla="*/ 6281 w 6312"/>
                <a:gd name="T23" fmla="*/ 195 h 6355"/>
                <a:gd name="T24" fmla="*/ 6312 w 6312"/>
                <a:gd name="T25" fmla="*/ 193 h 6355"/>
                <a:gd name="T26" fmla="*/ 6276 w 6312"/>
                <a:gd name="T27" fmla="*/ 170 h 6355"/>
                <a:gd name="T28" fmla="*/ 6203 w 6312"/>
                <a:gd name="T29" fmla="*/ 124 h 6355"/>
                <a:gd name="T30" fmla="*/ 6122 w 6312"/>
                <a:gd name="T31" fmla="*/ 74 h 6355"/>
                <a:gd name="T32" fmla="*/ 5988 w 6312"/>
                <a:gd name="T33" fmla="*/ 0 h 6355"/>
                <a:gd name="T34" fmla="*/ 5542 w 6312"/>
                <a:gd name="T35" fmla="*/ 68 h 6355"/>
                <a:gd name="T36" fmla="*/ 5484 w 6312"/>
                <a:gd name="T37" fmla="*/ 83 h 6355"/>
                <a:gd name="T38" fmla="*/ 5425 w 6312"/>
                <a:gd name="T39" fmla="*/ 101 h 6355"/>
                <a:gd name="T40" fmla="*/ 4488 w 6312"/>
                <a:gd name="T41" fmla="*/ 508 h 6355"/>
                <a:gd name="T42" fmla="*/ 4405 w 6312"/>
                <a:gd name="T43" fmla="*/ 555 h 6355"/>
                <a:gd name="T44" fmla="*/ 4316 w 6312"/>
                <a:gd name="T45" fmla="*/ 606 h 6355"/>
                <a:gd name="T46" fmla="*/ 2245 w 6312"/>
                <a:gd name="T47" fmla="*/ 2243 h 6355"/>
                <a:gd name="T48" fmla="*/ 608 w 6312"/>
                <a:gd name="T49" fmla="*/ 4314 h 6355"/>
                <a:gd name="T50" fmla="*/ 557 w 6312"/>
                <a:gd name="T51" fmla="*/ 4404 h 6355"/>
                <a:gd name="T52" fmla="*/ 510 w 6312"/>
                <a:gd name="T53" fmla="*/ 4486 h 6355"/>
                <a:gd name="T54" fmla="*/ 103 w 6312"/>
                <a:gd name="T55" fmla="*/ 5423 h 6355"/>
                <a:gd name="T56" fmla="*/ 85 w 6312"/>
                <a:gd name="T57" fmla="*/ 5482 h 6355"/>
                <a:gd name="T58" fmla="*/ 70 w 6312"/>
                <a:gd name="T59" fmla="*/ 5540 h 6355"/>
                <a:gd name="T60" fmla="*/ 1 w 6312"/>
                <a:gd name="T61" fmla="*/ 6034 h 6355"/>
                <a:gd name="T62" fmla="*/ 1 w 6312"/>
                <a:gd name="T63" fmla="*/ 6039 h 6355"/>
                <a:gd name="T64" fmla="*/ 36 w 6312"/>
                <a:gd name="T65" fmla="*/ 6102 h 6355"/>
                <a:gd name="T66" fmla="*/ 85 w 6312"/>
                <a:gd name="T67" fmla="*/ 6186 h 6355"/>
                <a:gd name="T68" fmla="*/ 134 w 6312"/>
                <a:gd name="T69" fmla="*/ 6264 h 6355"/>
                <a:gd name="T70" fmla="*/ 192 w 6312"/>
                <a:gd name="T71" fmla="*/ 6355 h 6355"/>
                <a:gd name="T72" fmla="*/ 197 w 6312"/>
                <a:gd name="T73" fmla="*/ 6279 h 6355"/>
                <a:gd name="T74" fmla="*/ 203 w 6312"/>
                <a:gd name="T75" fmla="*/ 6220 h 6355"/>
                <a:gd name="T76" fmla="*/ 210 w 6312"/>
                <a:gd name="T77" fmla="*/ 6162 h 6355"/>
                <a:gd name="T78" fmla="*/ 378 w 6312"/>
                <a:gd name="T79" fmla="*/ 5516 h 6355"/>
                <a:gd name="T80" fmla="*/ 400 w 6312"/>
                <a:gd name="T81" fmla="*/ 5454 h 6355"/>
                <a:gd name="T82" fmla="*/ 425 w 6312"/>
                <a:gd name="T83" fmla="*/ 5390 h 6355"/>
                <a:gd name="T84" fmla="*/ 1050 w 6312"/>
                <a:gd name="T85" fmla="*/ 4214 h 6355"/>
                <a:gd name="T86" fmla="*/ 1126 w 6312"/>
                <a:gd name="T87" fmla="*/ 4101 h 6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2" h="6355">
                  <a:moveTo>
                    <a:pt x="1126" y="4101"/>
                  </a:moveTo>
                  <a:cubicBezTo>
                    <a:pt x="1154" y="4060"/>
                    <a:pt x="1183" y="4018"/>
                    <a:pt x="1212" y="3976"/>
                  </a:cubicBezTo>
                  <a:cubicBezTo>
                    <a:pt x="1559" y="3480"/>
                    <a:pt x="1986" y="2971"/>
                    <a:pt x="2479" y="2477"/>
                  </a:cubicBezTo>
                  <a:cubicBezTo>
                    <a:pt x="2973" y="1984"/>
                    <a:pt x="3482" y="1557"/>
                    <a:pt x="3978" y="1210"/>
                  </a:cubicBezTo>
                  <a:cubicBezTo>
                    <a:pt x="4020" y="1181"/>
                    <a:pt x="4061" y="1152"/>
                    <a:pt x="4103" y="1124"/>
                  </a:cubicBezTo>
                  <a:cubicBezTo>
                    <a:pt x="4141" y="1098"/>
                    <a:pt x="4179" y="1073"/>
                    <a:pt x="4216" y="1049"/>
                  </a:cubicBezTo>
                  <a:cubicBezTo>
                    <a:pt x="4626" y="780"/>
                    <a:pt x="5024" y="569"/>
                    <a:pt x="5392" y="423"/>
                  </a:cubicBezTo>
                  <a:cubicBezTo>
                    <a:pt x="5414" y="415"/>
                    <a:pt x="5435" y="407"/>
                    <a:pt x="5456" y="399"/>
                  </a:cubicBezTo>
                  <a:cubicBezTo>
                    <a:pt x="5477" y="391"/>
                    <a:pt x="5498" y="383"/>
                    <a:pt x="5518" y="376"/>
                  </a:cubicBezTo>
                  <a:cubicBezTo>
                    <a:pt x="5747" y="293"/>
                    <a:pt x="5964" y="236"/>
                    <a:pt x="6164" y="208"/>
                  </a:cubicBezTo>
                  <a:cubicBezTo>
                    <a:pt x="6183" y="206"/>
                    <a:pt x="6203" y="203"/>
                    <a:pt x="6222" y="201"/>
                  </a:cubicBezTo>
                  <a:cubicBezTo>
                    <a:pt x="6242" y="199"/>
                    <a:pt x="6262" y="197"/>
                    <a:pt x="6281" y="195"/>
                  </a:cubicBezTo>
                  <a:cubicBezTo>
                    <a:pt x="6292" y="194"/>
                    <a:pt x="6302" y="193"/>
                    <a:pt x="6312" y="193"/>
                  </a:cubicBezTo>
                  <a:cubicBezTo>
                    <a:pt x="6300" y="185"/>
                    <a:pt x="6288" y="178"/>
                    <a:pt x="6276" y="170"/>
                  </a:cubicBezTo>
                  <a:cubicBezTo>
                    <a:pt x="6252" y="155"/>
                    <a:pt x="6228" y="139"/>
                    <a:pt x="6203" y="124"/>
                  </a:cubicBezTo>
                  <a:cubicBezTo>
                    <a:pt x="6176" y="108"/>
                    <a:pt x="6149" y="90"/>
                    <a:pt x="6122" y="74"/>
                  </a:cubicBezTo>
                  <a:cubicBezTo>
                    <a:pt x="6077" y="49"/>
                    <a:pt x="6032" y="24"/>
                    <a:pt x="5988" y="0"/>
                  </a:cubicBezTo>
                  <a:cubicBezTo>
                    <a:pt x="5852" y="4"/>
                    <a:pt x="5703" y="27"/>
                    <a:pt x="5542" y="68"/>
                  </a:cubicBezTo>
                  <a:cubicBezTo>
                    <a:pt x="5523" y="73"/>
                    <a:pt x="5503" y="78"/>
                    <a:pt x="5484" y="83"/>
                  </a:cubicBezTo>
                  <a:cubicBezTo>
                    <a:pt x="5464" y="89"/>
                    <a:pt x="5445" y="95"/>
                    <a:pt x="5425" y="101"/>
                  </a:cubicBezTo>
                  <a:cubicBezTo>
                    <a:pt x="5140" y="186"/>
                    <a:pt x="4823" y="324"/>
                    <a:pt x="4488" y="508"/>
                  </a:cubicBezTo>
                  <a:cubicBezTo>
                    <a:pt x="4461" y="523"/>
                    <a:pt x="4433" y="539"/>
                    <a:pt x="4405" y="555"/>
                  </a:cubicBezTo>
                  <a:cubicBezTo>
                    <a:pt x="4376" y="572"/>
                    <a:pt x="4346" y="588"/>
                    <a:pt x="4316" y="606"/>
                  </a:cubicBezTo>
                  <a:cubicBezTo>
                    <a:pt x="3656" y="993"/>
                    <a:pt x="2935" y="1552"/>
                    <a:pt x="2245" y="2243"/>
                  </a:cubicBezTo>
                  <a:cubicBezTo>
                    <a:pt x="1554" y="2933"/>
                    <a:pt x="995" y="3654"/>
                    <a:pt x="608" y="4314"/>
                  </a:cubicBezTo>
                  <a:cubicBezTo>
                    <a:pt x="590" y="4344"/>
                    <a:pt x="573" y="4374"/>
                    <a:pt x="557" y="4404"/>
                  </a:cubicBezTo>
                  <a:cubicBezTo>
                    <a:pt x="541" y="4431"/>
                    <a:pt x="525" y="4459"/>
                    <a:pt x="510" y="4486"/>
                  </a:cubicBezTo>
                  <a:cubicBezTo>
                    <a:pt x="326" y="4822"/>
                    <a:pt x="188" y="5138"/>
                    <a:pt x="103" y="5423"/>
                  </a:cubicBezTo>
                  <a:cubicBezTo>
                    <a:pt x="97" y="5443"/>
                    <a:pt x="91" y="5462"/>
                    <a:pt x="85" y="5482"/>
                  </a:cubicBezTo>
                  <a:cubicBezTo>
                    <a:pt x="80" y="5501"/>
                    <a:pt x="75" y="5521"/>
                    <a:pt x="70" y="5540"/>
                  </a:cubicBezTo>
                  <a:cubicBezTo>
                    <a:pt x="24" y="5720"/>
                    <a:pt x="0" y="5886"/>
                    <a:pt x="1" y="6034"/>
                  </a:cubicBezTo>
                  <a:cubicBezTo>
                    <a:pt x="1" y="6035"/>
                    <a:pt x="1" y="6037"/>
                    <a:pt x="1" y="6039"/>
                  </a:cubicBezTo>
                  <a:cubicBezTo>
                    <a:pt x="12" y="6060"/>
                    <a:pt x="24" y="6081"/>
                    <a:pt x="36" y="6102"/>
                  </a:cubicBezTo>
                  <a:cubicBezTo>
                    <a:pt x="52" y="6130"/>
                    <a:pt x="68" y="6158"/>
                    <a:pt x="85" y="6186"/>
                  </a:cubicBezTo>
                  <a:cubicBezTo>
                    <a:pt x="101" y="6212"/>
                    <a:pt x="117" y="6238"/>
                    <a:pt x="134" y="6264"/>
                  </a:cubicBezTo>
                  <a:cubicBezTo>
                    <a:pt x="153" y="6294"/>
                    <a:pt x="172" y="6325"/>
                    <a:pt x="192" y="6355"/>
                  </a:cubicBezTo>
                  <a:cubicBezTo>
                    <a:pt x="193" y="6330"/>
                    <a:pt x="195" y="6305"/>
                    <a:pt x="197" y="6279"/>
                  </a:cubicBezTo>
                  <a:cubicBezTo>
                    <a:pt x="199" y="6260"/>
                    <a:pt x="201" y="6240"/>
                    <a:pt x="203" y="6220"/>
                  </a:cubicBezTo>
                  <a:cubicBezTo>
                    <a:pt x="205" y="6201"/>
                    <a:pt x="208" y="6181"/>
                    <a:pt x="210" y="6162"/>
                  </a:cubicBezTo>
                  <a:cubicBezTo>
                    <a:pt x="238" y="5962"/>
                    <a:pt x="295" y="5745"/>
                    <a:pt x="378" y="5516"/>
                  </a:cubicBezTo>
                  <a:cubicBezTo>
                    <a:pt x="385" y="5496"/>
                    <a:pt x="392" y="5475"/>
                    <a:pt x="400" y="5454"/>
                  </a:cubicBezTo>
                  <a:cubicBezTo>
                    <a:pt x="408" y="5433"/>
                    <a:pt x="417" y="5412"/>
                    <a:pt x="425" y="5390"/>
                  </a:cubicBezTo>
                  <a:cubicBezTo>
                    <a:pt x="571" y="5022"/>
                    <a:pt x="782" y="4624"/>
                    <a:pt x="1050" y="4214"/>
                  </a:cubicBezTo>
                  <a:cubicBezTo>
                    <a:pt x="1075" y="4177"/>
                    <a:pt x="1100" y="4139"/>
                    <a:pt x="1126" y="410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9" name="Freeform 11">
              <a:extLst>
                <a:ext uri="{FF2B5EF4-FFF2-40B4-BE49-F238E27FC236}">
                  <a16:creationId xmlns:a16="http://schemas.microsoft.com/office/drawing/2014/main" id="{9BF6A145-B04A-4D96-B42A-F9F9564194A0}"/>
                </a:ext>
              </a:extLst>
            </p:cNvPr>
            <p:cNvSpPr>
              <a:spLocks/>
            </p:cNvSpPr>
            <p:nvPr/>
          </p:nvSpPr>
          <p:spPr bwMode="auto">
            <a:xfrm>
              <a:off x="4604297" y="1387527"/>
              <a:ext cx="4412873" cy="4441519"/>
            </a:xfrm>
            <a:custGeom>
              <a:avLst/>
              <a:gdLst>
                <a:gd name="T0" fmla="*/ 4682 w 6640"/>
                <a:gd name="T1" fmla="*/ 1069 h 6679"/>
                <a:gd name="T2" fmla="*/ 4782 w 6640"/>
                <a:gd name="T3" fmla="*/ 1013 h 6679"/>
                <a:gd name="T4" fmla="*/ 4876 w 6640"/>
                <a:gd name="T5" fmla="*/ 962 h 6679"/>
                <a:gd name="T6" fmla="*/ 5665 w 6640"/>
                <a:gd name="T7" fmla="*/ 626 h 6679"/>
                <a:gd name="T8" fmla="*/ 5735 w 6640"/>
                <a:gd name="T9" fmla="*/ 605 h 6679"/>
                <a:gd name="T10" fmla="*/ 5804 w 6640"/>
                <a:gd name="T11" fmla="*/ 586 h 6679"/>
                <a:gd name="T12" fmla="*/ 6300 w 6640"/>
                <a:gd name="T13" fmla="*/ 507 h 6679"/>
                <a:gd name="T14" fmla="*/ 6355 w 6640"/>
                <a:gd name="T15" fmla="*/ 505 h 6679"/>
                <a:gd name="T16" fmla="*/ 6360 w 6640"/>
                <a:gd name="T17" fmla="*/ 505 h 6679"/>
                <a:gd name="T18" fmla="*/ 6419 w 6640"/>
                <a:gd name="T19" fmla="*/ 507 h 6679"/>
                <a:gd name="T20" fmla="*/ 6640 w 6640"/>
                <a:gd name="T21" fmla="*/ 536 h 6679"/>
                <a:gd name="T22" fmla="*/ 6443 w 6640"/>
                <a:gd name="T23" fmla="*/ 254 h 6679"/>
                <a:gd name="T24" fmla="*/ 6385 w 6640"/>
                <a:gd name="T25" fmla="*/ 179 h 6679"/>
                <a:gd name="T26" fmla="*/ 6323 w 6640"/>
                <a:gd name="T27" fmla="*/ 102 h 6679"/>
                <a:gd name="T28" fmla="*/ 6253 w 6640"/>
                <a:gd name="T29" fmla="*/ 21 h 6679"/>
                <a:gd name="T30" fmla="*/ 6036 w 6640"/>
                <a:gd name="T31" fmla="*/ 1 h 6679"/>
                <a:gd name="T32" fmla="*/ 5943 w 6640"/>
                <a:gd name="T33" fmla="*/ 3 h 6679"/>
                <a:gd name="T34" fmla="*/ 5884 w 6640"/>
                <a:gd name="T35" fmla="*/ 8 h 6679"/>
                <a:gd name="T36" fmla="*/ 5824 w 6640"/>
                <a:gd name="T37" fmla="*/ 15 h 6679"/>
                <a:gd name="T38" fmla="*/ 5212 w 6640"/>
                <a:gd name="T39" fmla="*/ 174 h 6679"/>
                <a:gd name="T40" fmla="*/ 5142 w 6640"/>
                <a:gd name="T41" fmla="*/ 200 h 6679"/>
                <a:gd name="T42" fmla="*/ 5070 w 6640"/>
                <a:gd name="T43" fmla="*/ 229 h 6679"/>
                <a:gd name="T44" fmla="*/ 3933 w 6640"/>
                <a:gd name="T45" fmla="*/ 848 h 6679"/>
                <a:gd name="T46" fmla="*/ 3812 w 6640"/>
                <a:gd name="T47" fmla="*/ 929 h 6679"/>
                <a:gd name="T48" fmla="*/ 3679 w 6640"/>
                <a:gd name="T49" fmla="*/ 1023 h 6679"/>
                <a:gd name="T50" fmla="*/ 2245 w 6640"/>
                <a:gd name="T51" fmla="*/ 2245 h 6679"/>
                <a:gd name="T52" fmla="*/ 1023 w 6640"/>
                <a:gd name="T53" fmla="*/ 3679 h 6679"/>
                <a:gd name="T54" fmla="*/ 929 w 6640"/>
                <a:gd name="T55" fmla="*/ 3812 h 6679"/>
                <a:gd name="T56" fmla="*/ 848 w 6640"/>
                <a:gd name="T57" fmla="*/ 3933 h 6679"/>
                <a:gd name="T58" fmla="*/ 229 w 6640"/>
                <a:gd name="T59" fmla="*/ 5070 h 6679"/>
                <a:gd name="T60" fmla="*/ 200 w 6640"/>
                <a:gd name="T61" fmla="*/ 5142 h 6679"/>
                <a:gd name="T62" fmla="*/ 174 w 6640"/>
                <a:gd name="T63" fmla="*/ 5212 h 6679"/>
                <a:gd name="T64" fmla="*/ 15 w 6640"/>
                <a:gd name="T65" fmla="*/ 5824 h 6679"/>
                <a:gd name="T66" fmla="*/ 8 w 6640"/>
                <a:gd name="T67" fmla="*/ 5884 h 6679"/>
                <a:gd name="T68" fmla="*/ 3 w 6640"/>
                <a:gd name="T69" fmla="*/ 5943 h 6679"/>
                <a:gd name="T70" fmla="*/ 1 w 6640"/>
                <a:gd name="T71" fmla="*/ 6036 h 6679"/>
                <a:gd name="T72" fmla="*/ 30 w 6640"/>
                <a:gd name="T73" fmla="*/ 6297 h 6679"/>
                <a:gd name="T74" fmla="*/ 54 w 6640"/>
                <a:gd name="T75" fmla="*/ 6318 h 6679"/>
                <a:gd name="T76" fmla="*/ 132 w 6640"/>
                <a:gd name="T77" fmla="*/ 6383 h 6679"/>
                <a:gd name="T78" fmla="*/ 211 w 6640"/>
                <a:gd name="T79" fmla="*/ 6444 h 6679"/>
                <a:gd name="T80" fmla="*/ 547 w 6640"/>
                <a:gd name="T81" fmla="*/ 6679 h 6679"/>
                <a:gd name="T82" fmla="*/ 507 w 6640"/>
                <a:gd name="T83" fmla="*/ 6419 h 6679"/>
                <a:gd name="T84" fmla="*/ 505 w 6640"/>
                <a:gd name="T85" fmla="*/ 6360 h 6679"/>
                <a:gd name="T86" fmla="*/ 505 w 6640"/>
                <a:gd name="T87" fmla="*/ 6356 h 6679"/>
                <a:gd name="T88" fmla="*/ 507 w 6640"/>
                <a:gd name="T89" fmla="*/ 6300 h 6679"/>
                <a:gd name="T90" fmla="*/ 586 w 6640"/>
                <a:gd name="T91" fmla="*/ 5804 h 6679"/>
                <a:gd name="T92" fmla="*/ 605 w 6640"/>
                <a:gd name="T93" fmla="*/ 5735 h 6679"/>
                <a:gd name="T94" fmla="*/ 626 w 6640"/>
                <a:gd name="T95" fmla="*/ 5665 h 6679"/>
                <a:gd name="T96" fmla="*/ 962 w 6640"/>
                <a:gd name="T97" fmla="*/ 4876 h 6679"/>
                <a:gd name="T98" fmla="*/ 1013 w 6640"/>
                <a:gd name="T99" fmla="*/ 4781 h 6679"/>
                <a:gd name="T100" fmla="*/ 1069 w 6640"/>
                <a:gd name="T101" fmla="*/ 4682 h 6679"/>
                <a:gd name="T102" fmla="*/ 2654 w 6640"/>
                <a:gd name="T103" fmla="*/ 2654 h 6679"/>
                <a:gd name="T104" fmla="*/ 4682 w 6640"/>
                <a:gd name="T105" fmla="*/ 1069 h 6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640" h="6679">
                  <a:moveTo>
                    <a:pt x="4682" y="1069"/>
                  </a:moveTo>
                  <a:cubicBezTo>
                    <a:pt x="4715" y="1050"/>
                    <a:pt x="4748" y="1031"/>
                    <a:pt x="4782" y="1013"/>
                  </a:cubicBezTo>
                  <a:cubicBezTo>
                    <a:pt x="4813" y="996"/>
                    <a:pt x="4845" y="979"/>
                    <a:pt x="4876" y="962"/>
                  </a:cubicBezTo>
                  <a:cubicBezTo>
                    <a:pt x="5153" y="816"/>
                    <a:pt x="5418" y="703"/>
                    <a:pt x="5665" y="626"/>
                  </a:cubicBezTo>
                  <a:cubicBezTo>
                    <a:pt x="5688" y="619"/>
                    <a:pt x="5712" y="612"/>
                    <a:pt x="5735" y="605"/>
                  </a:cubicBezTo>
                  <a:cubicBezTo>
                    <a:pt x="5758" y="599"/>
                    <a:pt x="5781" y="592"/>
                    <a:pt x="5804" y="586"/>
                  </a:cubicBezTo>
                  <a:cubicBezTo>
                    <a:pt x="5981" y="539"/>
                    <a:pt x="6147" y="513"/>
                    <a:pt x="6300" y="507"/>
                  </a:cubicBezTo>
                  <a:cubicBezTo>
                    <a:pt x="6318" y="506"/>
                    <a:pt x="6337" y="505"/>
                    <a:pt x="6355" y="505"/>
                  </a:cubicBezTo>
                  <a:cubicBezTo>
                    <a:pt x="6357" y="505"/>
                    <a:pt x="6358" y="505"/>
                    <a:pt x="6360" y="505"/>
                  </a:cubicBezTo>
                  <a:cubicBezTo>
                    <a:pt x="6380" y="505"/>
                    <a:pt x="6399" y="506"/>
                    <a:pt x="6419" y="507"/>
                  </a:cubicBezTo>
                  <a:cubicBezTo>
                    <a:pt x="6496" y="511"/>
                    <a:pt x="6571" y="520"/>
                    <a:pt x="6640" y="536"/>
                  </a:cubicBezTo>
                  <a:cubicBezTo>
                    <a:pt x="6579" y="440"/>
                    <a:pt x="6513" y="346"/>
                    <a:pt x="6443" y="254"/>
                  </a:cubicBezTo>
                  <a:cubicBezTo>
                    <a:pt x="6424" y="229"/>
                    <a:pt x="6404" y="204"/>
                    <a:pt x="6385" y="179"/>
                  </a:cubicBezTo>
                  <a:cubicBezTo>
                    <a:pt x="6364" y="153"/>
                    <a:pt x="6344" y="128"/>
                    <a:pt x="6323" y="102"/>
                  </a:cubicBezTo>
                  <a:cubicBezTo>
                    <a:pt x="6300" y="75"/>
                    <a:pt x="6276" y="48"/>
                    <a:pt x="6253" y="21"/>
                  </a:cubicBezTo>
                  <a:cubicBezTo>
                    <a:pt x="6186" y="8"/>
                    <a:pt x="6114" y="1"/>
                    <a:pt x="6036" y="1"/>
                  </a:cubicBezTo>
                  <a:cubicBezTo>
                    <a:pt x="6006" y="0"/>
                    <a:pt x="5975" y="2"/>
                    <a:pt x="5943" y="3"/>
                  </a:cubicBezTo>
                  <a:cubicBezTo>
                    <a:pt x="5924" y="4"/>
                    <a:pt x="5904" y="6"/>
                    <a:pt x="5884" y="8"/>
                  </a:cubicBezTo>
                  <a:cubicBezTo>
                    <a:pt x="5864" y="10"/>
                    <a:pt x="5844" y="13"/>
                    <a:pt x="5824" y="15"/>
                  </a:cubicBezTo>
                  <a:cubicBezTo>
                    <a:pt x="5639" y="39"/>
                    <a:pt x="5433" y="93"/>
                    <a:pt x="5212" y="174"/>
                  </a:cubicBezTo>
                  <a:cubicBezTo>
                    <a:pt x="5189" y="183"/>
                    <a:pt x="5166" y="191"/>
                    <a:pt x="5142" y="200"/>
                  </a:cubicBezTo>
                  <a:cubicBezTo>
                    <a:pt x="5118" y="210"/>
                    <a:pt x="5094" y="219"/>
                    <a:pt x="5070" y="229"/>
                  </a:cubicBezTo>
                  <a:cubicBezTo>
                    <a:pt x="4719" y="373"/>
                    <a:pt x="4334" y="582"/>
                    <a:pt x="3933" y="848"/>
                  </a:cubicBezTo>
                  <a:cubicBezTo>
                    <a:pt x="3893" y="874"/>
                    <a:pt x="3852" y="902"/>
                    <a:pt x="3812" y="929"/>
                  </a:cubicBezTo>
                  <a:cubicBezTo>
                    <a:pt x="3767" y="960"/>
                    <a:pt x="3723" y="991"/>
                    <a:pt x="3679" y="1023"/>
                  </a:cubicBezTo>
                  <a:cubicBezTo>
                    <a:pt x="3206" y="1360"/>
                    <a:pt x="2718" y="1771"/>
                    <a:pt x="2245" y="2245"/>
                  </a:cubicBezTo>
                  <a:cubicBezTo>
                    <a:pt x="1771" y="2718"/>
                    <a:pt x="1360" y="3206"/>
                    <a:pt x="1023" y="3679"/>
                  </a:cubicBezTo>
                  <a:cubicBezTo>
                    <a:pt x="991" y="3723"/>
                    <a:pt x="960" y="3768"/>
                    <a:pt x="929" y="3812"/>
                  </a:cubicBezTo>
                  <a:cubicBezTo>
                    <a:pt x="902" y="3852"/>
                    <a:pt x="874" y="3893"/>
                    <a:pt x="848" y="3933"/>
                  </a:cubicBezTo>
                  <a:cubicBezTo>
                    <a:pt x="582" y="4334"/>
                    <a:pt x="373" y="4719"/>
                    <a:pt x="229" y="5070"/>
                  </a:cubicBezTo>
                  <a:cubicBezTo>
                    <a:pt x="219" y="5094"/>
                    <a:pt x="210" y="5118"/>
                    <a:pt x="200" y="5142"/>
                  </a:cubicBezTo>
                  <a:cubicBezTo>
                    <a:pt x="191" y="5166"/>
                    <a:pt x="183" y="5189"/>
                    <a:pt x="174" y="5212"/>
                  </a:cubicBezTo>
                  <a:cubicBezTo>
                    <a:pt x="93" y="5433"/>
                    <a:pt x="39" y="5639"/>
                    <a:pt x="15" y="5824"/>
                  </a:cubicBezTo>
                  <a:cubicBezTo>
                    <a:pt x="12" y="5844"/>
                    <a:pt x="10" y="5864"/>
                    <a:pt x="8" y="5884"/>
                  </a:cubicBezTo>
                  <a:cubicBezTo>
                    <a:pt x="6" y="5904"/>
                    <a:pt x="5" y="5924"/>
                    <a:pt x="3" y="5943"/>
                  </a:cubicBezTo>
                  <a:cubicBezTo>
                    <a:pt x="2" y="5975"/>
                    <a:pt x="0" y="6006"/>
                    <a:pt x="1" y="6036"/>
                  </a:cubicBezTo>
                  <a:cubicBezTo>
                    <a:pt x="1" y="6131"/>
                    <a:pt x="10" y="6218"/>
                    <a:pt x="30" y="6297"/>
                  </a:cubicBezTo>
                  <a:cubicBezTo>
                    <a:pt x="38" y="6304"/>
                    <a:pt x="46" y="6311"/>
                    <a:pt x="54" y="6318"/>
                  </a:cubicBezTo>
                  <a:cubicBezTo>
                    <a:pt x="80" y="6340"/>
                    <a:pt x="106" y="6362"/>
                    <a:pt x="132" y="6383"/>
                  </a:cubicBezTo>
                  <a:cubicBezTo>
                    <a:pt x="158" y="6404"/>
                    <a:pt x="184" y="6424"/>
                    <a:pt x="211" y="6444"/>
                  </a:cubicBezTo>
                  <a:cubicBezTo>
                    <a:pt x="320" y="6528"/>
                    <a:pt x="432" y="6606"/>
                    <a:pt x="547" y="6679"/>
                  </a:cubicBezTo>
                  <a:cubicBezTo>
                    <a:pt x="524" y="6598"/>
                    <a:pt x="511" y="6511"/>
                    <a:pt x="507" y="6419"/>
                  </a:cubicBezTo>
                  <a:cubicBezTo>
                    <a:pt x="506" y="6399"/>
                    <a:pt x="505" y="6380"/>
                    <a:pt x="505" y="6360"/>
                  </a:cubicBezTo>
                  <a:cubicBezTo>
                    <a:pt x="505" y="6358"/>
                    <a:pt x="505" y="6357"/>
                    <a:pt x="505" y="6356"/>
                  </a:cubicBezTo>
                  <a:cubicBezTo>
                    <a:pt x="505" y="6337"/>
                    <a:pt x="506" y="6318"/>
                    <a:pt x="507" y="6300"/>
                  </a:cubicBezTo>
                  <a:cubicBezTo>
                    <a:pt x="512" y="6147"/>
                    <a:pt x="539" y="5981"/>
                    <a:pt x="586" y="5804"/>
                  </a:cubicBezTo>
                  <a:cubicBezTo>
                    <a:pt x="592" y="5781"/>
                    <a:pt x="599" y="5758"/>
                    <a:pt x="605" y="5735"/>
                  </a:cubicBezTo>
                  <a:cubicBezTo>
                    <a:pt x="612" y="5712"/>
                    <a:pt x="619" y="5688"/>
                    <a:pt x="626" y="5665"/>
                  </a:cubicBezTo>
                  <a:cubicBezTo>
                    <a:pt x="703" y="5418"/>
                    <a:pt x="817" y="5153"/>
                    <a:pt x="962" y="4876"/>
                  </a:cubicBezTo>
                  <a:cubicBezTo>
                    <a:pt x="979" y="4845"/>
                    <a:pt x="996" y="4813"/>
                    <a:pt x="1013" y="4781"/>
                  </a:cubicBezTo>
                  <a:cubicBezTo>
                    <a:pt x="1031" y="4748"/>
                    <a:pt x="1050" y="4715"/>
                    <a:pt x="1069" y="4682"/>
                  </a:cubicBezTo>
                  <a:cubicBezTo>
                    <a:pt x="1441" y="4031"/>
                    <a:pt x="1982" y="3328"/>
                    <a:pt x="2654" y="2654"/>
                  </a:cubicBezTo>
                  <a:cubicBezTo>
                    <a:pt x="3328" y="1982"/>
                    <a:pt x="4031" y="1441"/>
                    <a:pt x="4682" y="10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0" name="Freeform 12">
              <a:extLst>
                <a:ext uri="{FF2B5EF4-FFF2-40B4-BE49-F238E27FC236}">
                  <a16:creationId xmlns:a16="http://schemas.microsoft.com/office/drawing/2014/main" id="{6967A9C6-FB4D-4270-BB09-0FBE5B7A6E5E}"/>
                </a:ext>
              </a:extLst>
            </p:cNvPr>
            <p:cNvSpPr>
              <a:spLocks/>
            </p:cNvSpPr>
            <p:nvPr/>
          </p:nvSpPr>
          <p:spPr bwMode="auto">
            <a:xfrm>
              <a:off x="5525067" y="2309661"/>
              <a:ext cx="3917703" cy="3936801"/>
            </a:xfrm>
            <a:custGeom>
              <a:avLst/>
              <a:gdLst>
                <a:gd name="T0" fmla="*/ 3424 w 5896"/>
                <a:gd name="T1" fmla="*/ 1876 h 5920"/>
                <a:gd name="T2" fmla="*/ 3633 w 5896"/>
                <a:gd name="T3" fmla="*/ 1712 h 5920"/>
                <a:gd name="T4" fmla="*/ 3808 w 5896"/>
                <a:gd name="T5" fmla="*/ 1582 h 5920"/>
                <a:gd name="T6" fmla="*/ 4916 w 5896"/>
                <a:gd name="T7" fmla="*/ 937 h 5920"/>
                <a:gd name="T8" fmla="*/ 5004 w 5896"/>
                <a:gd name="T9" fmla="*/ 901 h 5920"/>
                <a:gd name="T10" fmla="*/ 5086 w 5896"/>
                <a:gd name="T11" fmla="*/ 873 h 5920"/>
                <a:gd name="T12" fmla="*/ 5614 w 5896"/>
                <a:gd name="T13" fmla="*/ 767 h 5920"/>
                <a:gd name="T14" fmla="*/ 5621 w 5896"/>
                <a:gd name="T15" fmla="*/ 767 h 5920"/>
                <a:gd name="T16" fmla="*/ 5682 w 5896"/>
                <a:gd name="T17" fmla="*/ 770 h 5920"/>
                <a:gd name="T18" fmla="*/ 5742 w 5896"/>
                <a:gd name="T19" fmla="*/ 777 h 5920"/>
                <a:gd name="T20" fmla="*/ 5896 w 5896"/>
                <a:gd name="T21" fmla="*/ 821 h 5920"/>
                <a:gd name="T22" fmla="*/ 5826 w 5896"/>
                <a:gd name="T23" fmla="*/ 476 h 5920"/>
                <a:gd name="T24" fmla="*/ 5792 w 5896"/>
                <a:gd name="T25" fmla="*/ 349 h 5920"/>
                <a:gd name="T26" fmla="*/ 5752 w 5896"/>
                <a:gd name="T27" fmla="*/ 214 h 5920"/>
                <a:gd name="T28" fmla="*/ 5714 w 5896"/>
                <a:gd name="T29" fmla="*/ 97 h 5920"/>
                <a:gd name="T30" fmla="*/ 5444 w 5896"/>
                <a:gd name="T31" fmla="*/ 9 h 5920"/>
                <a:gd name="T32" fmla="*/ 5385 w 5896"/>
                <a:gd name="T33" fmla="*/ 3 h 5920"/>
                <a:gd name="T34" fmla="*/ 5324 w 5896"/>
                <a:gd name="T35" fmla="*/ 1 h 5920"/>
                <a:gd name="T36" fmla="*/ 5312 w 5896"/>
                <a:gd name="T37" fmla="*/ 0 h 5920"/>
                <a:gd name="T38" fmla="*/ 5307 w 5896"/>
                <a:gd name="T39" fmla="*/ 0 h 5920"/>
                <a:gd name="T40" fmla="*/ 4713 w 5896"/>
                <a:gd name="T41" fmla="*/ 112 h 5920"/>
                <a:gd name="T42" fmla="*/ 4636 w 5896"/>
                <a:gd name="T43" fmla="*/ 137 h 5920"/>
                <a:gd name="T44" fmla="*/ 4555 w 5896"/>
                <a:gd name="T45" fmla="*/ 168 h 5920"/>
                <a:gd name="T46" fmla="*/ 3688 w 5896"/>
                <a:gd name="T47" fmla="*/ 607 h 5920"/>
                <a:gd name="T48" fmla="*/ 3564 w 5896"/>
                <a:gd name="T49" fmla="*/ 684 h 5920"/>
                <a:gd name="T50" fmla="*/ 3430 w 5896"/>
                <a:gd name="T51" fmla="*/ 773 h 5920"/>
                <a:gd name="T52" fmla="*/ 1980 w 5896"/>
                <a:gd name="T53" fmla="*/ 1980 h 5920"/>
                <a:gd name="T54" fmla="*/ 774 w 5896"/>
                <a:gd name="T55" fmla="*/ 3429 h 5920"/>
                <a:gd name="T56" fmla="*/ 685 w 5896"/>
                <a:gd name="T57" fmla="*/ 3563 h 5920"/>
                <a:gd name="T58" fmla="*/ 607 w 5896"/>
                <a:gd name="T59" fmla="*/ 3688 h 5920"/>
                <a:gd name="T60" fmla="*/ 169 w 5896"/>
                <a:gd name="T61" fmla="*/ 4554 h 5920"/>
                <a:gd name="T62" fmla="*/ 137 w 5896"/>
                <a:gd name="T63" fmla="*/ 4635 h 5920"/>
                <a:gd name="T64" fmla="*/ 113 w 5896"/>
                <a:gd name="T65" fmla="*/ 4712 h 5920"/>
                <a:gd name="T66" fmla="*/ 1 w 5896"/>
                <a:gd name="T67" fmla="*/ 5311 h 5920"/>
                <a:gd name="T68" fmla="*/ 2 w 5896"/>
                <a:gd name="T69" fmla="*/ 5323 h 5920"/>
                <a:gd name="T70" fmla="*/ 4 w 5896"/>
                <a:gd name="T71" fmla="*/ 5384 h 5920"/>
                <a:gd name="T72" fmla="*/ 10 w 5896"/>
                <a:gd name="T73" fmla="*/ 5443 h 5920"/>
                <a:gd name="T74" fmla="*/ 121 w 5896"/>
                <a:gd name="T75" fmla="*/ 5747 h 5920"/>
                <a:gd name="T76" fmla="*/ 150 w 5896"/>
                <a:gd name="T77" fmla="*/ 5756 h 5920"/>
                <a:gd name="T78" fmla="*/ 291 w 5896"/>
                <a:gd name="T79" fmla="*/ 5800 h 5920"/>
                <a:gd name="T80" fmla="*/ 425 w 5896"/>
                <a:gd name="T81" fmla="*/ 5836 h 5920"/>
                <a:gd name="T82" fmla="*/ 835 w 5896"/>
                <a:gd name="T83" fmla="*/ 5920 h 5920"/>
                <a:gd name="T84" fmla="*/ 778 w 5896"/>
                <a:gd name="T85" fmla="*/ 5741 h 5920"/>
                <a:gd name="T86" fmla="*/ 771 w 5896"/>
                <a:gd name="T87" fmla="*/ 5681 h 5920"/>
                <a:gd name="T88" fmla="*/ 769 w 5896"/>
                <a:gd name="T89" fmla="*/ 5620 h 5920"/>
                <a:gd name="T90" fmla="*/ 768 w 5896"/>
                <a:gd name="T91" fmla="*/ 5612 h 5920"/>
                <a:gd name="T92" fmla="*/ 874 w 5896"/>
                <a:gd name="T93" fmla="*/ 5084 h 5920"/>
                <a:gd name="T94" fmla="*/ 903 w 5896"/>
                <a:gd name="T95" fmla="*/ 5002 h 5920"/>
                <a:gd name="T96" fmla="*/ 938 w 5896"/>
                <a:gd name="T97" fmla="*/ 4915 h 5920"/>
                <a:gd name="T98" fmla="*/ 1583 w 5896"/>
                <a:gd name="T99" fmla="*/ 3807 h 5920"/>
                <a:gd name="T100" fmla="*/ 1713 w 5896"/>
                <a:gd name="T101" fmla="*/ 3632 h 5920"/>
                <a:gd name="T102" fmla="*/ 1877 w 5896"/>
                <a:gd name="T103" fmla="*/ 3424 h 5920"/>
                <a:gd name="T104" fmla="*/ 2610 w 5896"/>
                <a:gd name="T105" fmla="*/ 2610 h 5920"/>
                <a:gd name="T106" fmla="*/ 3424 w 5896"/>
                <a:gd name="T107" fmla="*/ 1876 h 5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96" h="5920">
                  <a:moveTo>
                    <a:pt x="3424" y="1876"/>
                  </a:moveTo>
                  <a:cubicBezTo>
                    <a:pt x="3494" y="1819"/>
                    <a:pt x="3564" y="1765"/>
                    <a:pt x="3633" y="1712"/>
                  </a:cubicBezTo>
                  <a:cubicBezTo>
                    <a:pt x="3692" y="1667"/>
                    <a:pt x="3750" y="1624"/>
                    <a:pt x="3808" y="1582"/>
                  </a:cubicBezTo>
                  <a:cubicBezTo>
                    <a:pt x="4204" y="1295"/>
                    <a:pt x="4581" y="1076"/>
                    <a:pt x="4916" y="937"/>
                  </a:cubicBezTo>
                  <a:cubicBezTo>
                    <a:pt x="4945" y="925"/>
                    <a:pt x="4975" y="912"/>
                    <a:pt x="5004" y="901"/>
                  </a:cubicBezTo>
                  <a:cubicBezTo>
                    <a:pt x="5032" y="891"/>
                    <a:pt x="5058" y="882"/>
                    <a:pt x="5086" y="873"/>
                  </a:cubicBezTo>
                  <a:cubicBezTo>
                    <a:pt x="5281" y="806"/>
                    <a:pt x="5460" y="768"/>
                    <a:pt x="5614" y="767"/>
                  </a:cubicBezTo>
                  <a:cubicBezTo>
                    <a:pt x="5616" y="767"/>
                    <a:pt x="5618" y="767"/>
                    <a:pt x="5621" y="767"/>
                  </a:cubicBezTo>
                  <a:cubicBezTo>
                    <a:pt x="5642" y="768"/>
                    <a:pt x="5662" y="768"/>
                    <a:pt x="5682" y="770"/>
                  </a:cubicBezTo>
                  <a:cubicBezTo>
                    <a:pt x="5702" y="771"/>
                    <a:pt x="5722" y="774"/>
                    <a:pt x="5742" y="777"/>
                  </a:cubicBezTo>
                  <a:cubicBezTo>
                    <a:pt x="5797" y="785"/>
                    <a:pt x="5849" y="800"/>
                    <a:pt x="5896" y="821"/>
                  </a:cubicBezTo>
                  <a:cubicBezTo>
                    <a:pt x="5877" y="705"/>
                    <a:pt x="5854" y="590"/>
                    <a:pt x="5826" y="476"/>
                  </a:cubicBezTo>
                  <a:cubicBezTo>
                    <a:pt x="5816" y="433"/>
                    <a:pt x="5804" y="391"/>
                    <a:pt x="5792" y="349"/>
                  </a:cubicBezTo>
                  <a:cubicBezTo>
                    <a:pt x="5779" y="304"/>
                    <a:pt x="5766" y="259"/>
                    <a:pt x="5752" y="214"/>
                  </a:cubicBezTo>
                  <a:cubicBezTo>
                    <a:pt x="5740" y="175"/>
                    <a:pt x="5728" y="136"/>
                    <a:pt x="5714" y="97"/>
                  </a:cubicBezTo>
                  <a:cubicBezTo>
                    <a:pt x="5639" y="51"/>
                    <a:pt x="5549" y="22"/>
                    <a:pt x="5444" y="9"/>
                  </a:cubicBezTo>
                  <a:cubicBezTo>
                    <a:pt x="5425" y="6"/>
                    <a:pt x="5405" y="4"/>
                    <a:pt x="5385" y="3"/>
                  </a:cubicBezTo>
                  <a:cubicBezTo>
                    <a:pt x="5365" y="1"/>
                    <a:pt x="5345" y="1"/>
                    <a:pt x="5324" y="1"/>
                  </a:cubicBezTo>
                  <a:cubicBezTo>
                    <a:pt x="5320" y="1"/>
                    <a:pt x="5316" y="0"/>
                    <a:pt x="5312" y="0"/>
                  </a:cubicBezTo>
                  <a:cubicBezTo>
                    <a:pt x="5311" y="0"/>
                    <a:pt x="5309" y="0"/>
                    <a:pt x="5307" y="0"/>
                  </a:cubicBezTo>
                  <a:cubicBezTo>
                    <a:pt x="5135" y="0"/>
                    <a:pt x="4934" y="40"/>
                    <a:pt x="4713" y="112"/>
                  </a:cubicBezTo>
                  <a:cubicBezTo>
                    <a:pt x="4687" y="120"/>
                    <a:pt x="4662" y="127"/>
                    <a:pt x="4636" y="137"/>
                  </a:cubicBezTo>
                  <a:cubicBezTo>
                    <a:pt x="4610" y="146"/>
                    <a:pt x="4582" y="158"/>
                    <a:pt x="4555" y="168"/>
                  </a:cubicBezTo>
                  <a:cubicBezTo>
                    <a:pt x="4287" y="270"/>
                    <a:pt x="3995" y="418"/>
                    <a:pt x="3688" y="607"/>
                  </a:cubicBezTo>
                  <a:cubicBezTo>
                    <a:pt x="3647" y="632"/>
                    <a:pt x="3606" y="657"/>
                    <a:pt x="3564" y="684"/>
                  </a:cubicBezTo>
                  <a:cubicBezTo>
                    <a:pt x="3520" y="713"/>
                    <a:pt x="3475" y="743"/>
                    <a:pt x="3430" y="773"/>
                  </a:cubicBezTo>
                  <a:cubicBezTo>
                    <a:pt x="2956" y="1092"/>
                    <a:pt x="2460" y="1499"/>
                    <a:pt x="1980" y="1980"/>
                  </a:cubicBezTo>
                  <a:cubicBezTo>
                    <a:pt x="1500" y="2459"/>
                    <a:pt x="1093" y="2956"/>
                    <a:pt x="774" y="3429"/>
                  </a:cubicBezTo>
                  <a:cubicBezTo>
                    <a:pt x="744" y="3474"/>
                    <a:pt x="714" y="3519"/>
                    <a:pt x="685" y="3563"/>
                  </a:cubicBezTo>
                  <a:cubicBezTo>
                    <a:pt x="658" y="3605"/>
                    <a:pt x="633" y="3646"/>
                    <a:pt x="607" y="3688"/>
                  </a:cubicBezTo>
                  <a:cubicBezTo>
                    <a:pt x="419" y="3994"/>
                    <a:pt x="271" y="4287"/>
                    <a:pt x="169" y="4554"/>
                  </a:cubicBezTo>
                  <a:cubicBezTo>
                    <a:pt x="158" y="4581"/>
                    <a:pt x="147" y="4609"/>
                    <a:pt x="137" y="4635"/>
                  </a:cubicBezTo>
                  <a:cubicBezTo>
                    <a:pt x="128" y="4661"/>
                    <a:pt x="121" y="4686"/>
                    <a:pt x="113" y="4712"/>
                  </a:cubicBezTo>
                  <a:cubicBezTo>
                    <a:pt x="40" y="4935"/>
                    <a:pt x="0" y="5138"/>
                    <a:pt x="1" y="5311"/>
                  </a:cubicBezTo>
                  <a:cubicBezTo>
                    <a:pt x="1" y="5315"/>
                    <a:pt x="1" y="5319"/>
                    <a:pt x="2" y="5323"/>
                  </a:cubicBezTo>
                  <a:cubicBezTo>
                    <a:pt x="2" y="5344"/>
                    <a:pt x="2" y="5364"/>
                    <a:pt x="4" y="5384"/>
                  </a:cubicBezTo>
                  <a:cubicBezTo>
                    <a:pt x="5" y="5404"/>
                    <a:pt x="7" y="5424"/>
                    <a:pt x="10" y="5443"/>
                  </a:cubicBezTo>
                  <a:cubicBezTo>
                    <a:pt x="25" y="5564"/>
                    <a:pt x="62" y="5665"/>
                    <a:pt x="121" y="5747"/>
                  </a:cubicBezTo>
                  <a:cubicBezTo>
                    <a:pt x="131" y="5750"/>
                    <a:pt x="140" y="5753"/>
                    <a:pt x="150" y="5756"/>
                  </a:cubicBezTo>
                  <a:cubicBezTo>
                    <a:pt x="197" y="5771"/>
                    <a:pt x="244" y="5786"/>
                    <a:pt x="291" y="5800"/>
                  </a:cubicBezTo>
                  <a:cubicBezTo>
                    <a:pt x="336" y="5813"/>
                    <a:pt x="380" y="5825"/>
                    <a:pt x="425" y="5836"/>
                  </a:cubicBezTo>
                  <a:cubicBezTo>
                    <a:pt x="560" y="5870"/>
                    <a:pt x="697" y="5898"/>
                    <a:pt x="835" y="5920"/>
                  </a:cubicBezTo>
                  <a:cubicBezTo>
                    <a:pt x="807" y="5866"/>
                    <a:pt x="788" y="5806"/>
                    <a:pt x="778" y="5741"/>
                  </a:cubicBezTo>
                  <a:cubicBezTo>
                    <a:pt x="775" y="5721"/>
                    <a:pt x="773" y="5701"/>
                    <a:pt x="771" y="5681"/>
                  </a:cubicBezTo>
                  <a:cubicBezTo>
                    <a:pt x="769" y="5661"/>
                    <a:pt x="769" y="5641"/>
                    <a:pt x="769" y="5620"/>
                  </a:cubicBezTo>
                  <a:cubicBezTo>
                    <a:pt x="769" y="5617"/>
                    <a:pt x="768" y="5615"/>
                    <a:pt x="768" y="5612"/>
                  </a:cubicBezTo>
                  <a:cubicBezTo>
                    <a:pt x="769" y="5459"/>
                    <a:pt x="807" y="5280"/>
                    <a:pt x="874" y="5084"/>
                  </a:cubicBezTo>
                  <a:cubicBezTo>
                    <a:pt x="884" y="5057"/>
                    <a:pt x="892" y="5030"/>
                    <a:pt x="903" y="5002"/>
                  </a:cubicBezTo>
                  <a:cubicBezTo>
                    <a:pt x="913" y="4974"/>
                    <a:pt x="926" y="4944"/>
                    <a:pt x="938" y="4915"/>
                  </a:cubicBezTo>
                  <a:cubicBezTo>
                    <a:pt x="1077" y="4580"/>
                    <a:pt x="1296" y="4203"/>
                    <a:pt x="1583" y="3807"/>
                  </a:cubicBezTo>
                  <a:cubicBezTo>
                    <a:pt x="1625" y="3749"/>
                    <a:pt x="1668" y="3691"/>
                    <a:pt x="1713" y="3632"/>
                  </a:cubicBezTo>
                  <a:cubicBezTo>
                    <a:pt x="1765" y="3563"/>
                    <a:pt x="1820" y="3493"/>
                    <a:pt x="1877" y="3424"/>
                  </a:cubicBezTo>
                  <a:cubicBezTo>
                    <a:pt x="2095" y="3154"/>
                    <a:pt x="2341" y="2880"/>
                    <a:pt x="2610" y="2610"/>
                  </a:cubicBezTo>
                  <a:cubicBezTo>
                    <a:pt x="2881" y="2340"/>
                    <a:pt x="3155" y="2095"/>
                    <a:pt x="3424" y="187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1" name="Freeform 13">
              <a:extLst>
                <a:ext uri="{FF2B5EF4-FFF2-40B4-BE49-F238E27FC236}">
                  <a16:creationId xmlns:a16="http://schemas.microsoft.com/office/drawing/2014/main" id="{85D81FB3-8A4F-49F2-A164-8A0BF5C67920}"/>
                </a:ext>
              </a:extLst>
            </p:cNvPr>
            <p:cNvSpPr>
              <a:spLocks/>
            </p:cNvSpPr>
            <p:nvPr/>
          </p:nvSpPr>
          <p:spPr bwMode="auto">
            <a:xfrm>
              <a:off x="6849611" y="3634205"/>
              <a:ext cx="2613621" cy="2625898"/>
            </a:xfrm>
            <a:custGeom>
              <a:avLst/>
              <a:gdLst>
                <a:gd name="T0" fmla="*/ 3902 w 3934"/>
                <a:gd name="T1" fmla="*/ 32 h 3950"/>
                <a:gd name="T2" fmla="*/ 3727 w 3934"/>
                <a:gd name="T3" fmla="*/ 0 h 3950"/>
                <a:gd name="T4" fmla="*/ 3687 w 3934"/>
                <a:gd name="T5" fmla="*/ 3 h 3950"/>
                <a:gd name="T6" fmla="*/ 3616 w 3934"/>
                <a:gd name="T7" fmla="*/ 8 h 3950"/>
                <a:gd name="T8" fmla="*/ 3541 w 3934"/>
                <a:gd name="T9" fmla="*/ 21 h 3950"/>
                <a:gd name="T10" fmla="*/ 3005 w 3934"/>
                <a:gd name="T11" fmla="*/ 222 h 3950"/>
                <a:gd name="T12" fmla="*/ 2891 w 3934"/>
                <a:gd name="T13" fmla="*/ 283 h 3950"/>
                <a:gd name="T14" fmla="*/ 2768 w 3934"/>
                <a:gd name="T15" fmla="*/ 353 h 3950"/>
                <a:gd name="T16" fmla="*/ 1424 w 3934"/>
                <a:gd name="T17" fmla="*/ 1424 h 3950"/>
                <a:gd name="T18" fmla="*/ 353 w 3934"/>
                <a:gd name="T19" fmla="*/ 2768 h 3950"/>
                <a:gd name="T20" fmla="*/ 283 w 3934"/>
                <a:gd name="T21" fmla="*/ 2891 h 3950"/>
                <a:gd name="T22" fmla="*/ 222 w 3934"/>
                <a:gd name="T23" fmla="*/ 3005 h 3950"/>
                <a:gd name="T24" fmla="*/ 22 w 3934"/>
                <a:gd name="T25" fmla="*/ 3540 h 3950"/>
                <a:gd name="T26" fmla="*/ 8 w 3934"/>
                <a:gd name="T27" fmla="*/ 3616 h 3950"/>
                <a:gd name="T28" fmla="*/ 3 w 3934"/>
                <a:gd name="T29" fmla="*/ 3686 h 3950"/>
                <a:gd name="T30" fmla="*/ 1 w 3934"/>
                <a:gd name="T31" fmla="*/ 3727 h 3950"/>
                <a:gd name="T32" fmla="*/ 32 w 3934"/>
                <a:gd name="T33" fmla="*/ 3902 h 3950"/>
                <a:gd name="T34" fmla="*/ 56 w 3934"/>
                <a:gd name="T35" fmla="*/ 3950 h 3950"/>
                <a:gd name="T36" fmla="*/ 79 w 3934"/>
                <a:gd name="T37" fmla="*/ 3947 h 3950"/>
                <a:gd name="T38" fmla="*/ 282 w 3934"/>
                <a:gd name="T39" fmla="*/ 3917 h 3950"/>
                <a:gd name="T40" fmla="*/ 1127 w 3934"/>
                <a:gd name="T41" fmla="*/ 3685 h 3950"/>
                <a:gd name="T42" fmla="*/ 1020 w 3934"/>
                <a:gd name="T43" fmla="*/ 3624 h 3950"/>
                <a:gd name="T44" fmla="*/ 959 w 3934"/>
                <a:gd name="T45" fmla="*/ 3517 h 3950"/>
                <a:gd name="T46" fmla="*/ 946 w 3934"/>
                <a:gd name="T47" fmla="*/ 3454 h 3950"/>
                <a:gd name="T48" fmla="*/ 943 w 3934"/>
                <a:gd name="T49" fmla="*/ 3410 h 3950"/>
                <a:gd name="T50" fmla="*/ 945 w 3934"/>
                <a:gd name="T51" fmla="*/ 3382 h 3950"/>
                <a:gd name="T52" fmla="*/ 1060 w 3934"/>
                <a:gd name="T53" fmla="*/ 2995 h 3950"/>
                <a:gd name="T54" fmla="*/ 1123 w 3934"/>
                <a:gd name="T55" fmla="*/ 2873 h 3950"/>
                <a:gd name="T56" fmla="*/ 1207 w 3934"/>
                <a:gd name="T57" fmla="*/ 2729 h 3950"/>
                <a:gd name="T58" fmla="*/ 1890 w 3934"/>
                <a:gd name="T59" fmla="*/ 1890 h 3950"/>
                <a:gd name="T60" fmla="*/ 2729 w 3934"/>
                <a:gd name="T61" fmla="*/ 1207 h 3950"/>
                <a:gd name="T62" fmla="*/ 2873 w 3934"/>
                <a:gd name="T63" fmla="*/ 1123 h 3950"/>
                <a:gd name="T64" fmla="*/ 2994 w 3934"/>
                <a:gd name="T65" fmla="*/ 1061 h 3950"/>
                <a:gd name="T66" fmla="*/ 3382 w 3934"/>
                <a:gd name="T67" fmla="*/ 946 h 3950"/>
                <a:gd name="T68" fmla="*/ 3410 w 3934"/>
                <a:gd name="T69" fmla="*/ 943 h 3950"/>
                <a:gd name="T70" fmla="*/ 3454 w 3934"/>
                <a:gd name="T71" fmla="*/ 947 h 3950"/>
                <a:gd name="T72" fmla="*/ 3517 w 3934"/>
                <a:gd name="T73" fmla="*/ 959 h 3950"/>
                <a:gd name="T74" fmla="*/ 3624 w 3934"/>
                <a:gd name="T75" fmla="*/ 1020 h 3950"/>
                <a:gd name="T76" fmla="*/ 3679 w 3934"/>
                <a:gd name="T77" fmla="*/ 1109 h 3950"/>
                <a:gd name="T78" fmla="*/ 3893 w 3934"/>
                <a:gd name="T79" fmla="*/ 331 h 3950"/>
                <a:gd name="T80" fmla="*/ 3924 w 3934"/>
                <a:gd name="T81" fmla="*/ 131 h 3950"/>
                <a:gd name="T82" fmla="*/ 3934 w 3934"/>
                <a:gd name="T83" fmla="*/ 47 h 3950"/>
                <a:gd name="T84" fmla="*/ 3902 w 3934"/>
                <a:gd name="T85" fmla="*/ 32 h 3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34" h="3950">
                  <a:moveTo>
                    <a:pt x="3902" y="32"/>
                  </a:moveTo>
                  <a:cubicBezTo>
                    <a:pt x="3854" y="12"/>
                    <a:pt x="3797" y="1"/>
                    <a:pt x="3727" y="0"/>
                  </a:cubicBezTo>
                  <a:cubicBezTo>
                    <a:pt x="3714" y="0"/>
                    <a:pt x="3700" y="2"/>
                    <a:pt x="3687" y="3"/>
                  </a:cubicBezTo>
                  <a:cubicBezTo>
                    <a:pt x="3664" y="4"/>
                    <a:pt x="3641" y="5"/>
                    <a:pt x="3616" y="8"/>
                  </a:cubicBezTo>
                  <a:cubicBezTo>
                    <a:pt x="3592" y="12"/>
                    <a:pt x="3567" y="16"/>
                    <a:pt x="3541" y="21"/>
                  </a:cubicBezTo>
                  <a:cubicBezTo>
                    <a:pt x="3386" y="53"/>
                    <a:pt x="3204" y="121"/>
                    <a:pt x="3005" y="222"/>
                  </a:cubicBezTo>
                  <a:cubicBezTo>
                    <a:pt x="2967" y="241"/>
                    <a:pt x="2929" y="262"/>
                    <a:pt x="2891" y="283"/>
                  </a:cubicBezTo>
                  <a:cubicBezTo>
                    <a:pt x="2851" y="305"/>
                    <a:pt x="2810" y="329"/>
                    <a:pt x="2768" y="353"/>
                  </a:cubicBezTo>
                  <a:cubicBezTo>
                    <a:pt x="2350" y="601"/>
                    <a:pt x="1878" y="968"/>
                    <a:pt x="1424" y="1424"/>
                  </a:cubicBezTo>
                  <a:cubicBezTo>
                    <a:pt x="967" y="1878"/>
                    <a:pt x="601" y="2350"/>
                    <a:pt x="353" y="2768"/>
                  </a:cubicBezTo>
                  <a:cubicBezTo>
                    <a:pt x="329" y="2810"/>
                    <a:pt x="305" y="2851"/>
                    <a:pt x="283" y="2891"/>
                  </a:cubicBezTo>
                  <a:cubicBezTo>
                    <a:pt x="261" y="2930"/>
                    <a:pt x="241" y="2968"/>
                    <a:pt x="222" y="3005"/>
                  </a:cubicBezTo>
                  <a:cubicBezTo>
                    <a:pt x="121" y="3204"/>
                    <a:pt x="53" y="3386"/>
                    <a:pt x="22" y="3540"/>
                  </a:cubicBezTo>
                  <a:cubicBezTo>
                    <a:pt x="16" y="3566"/>
                    <a:pt x="12" y="3592"/>
                    <a:pt x="8" y="3616"/>
                  </a:cubicBezTo>
                  <a:cubicBezTo>
                    <a:pt x="5" y="3641"/>
                    <a:pt x="4" y="3664"/>
                    <a:pt x="3" y="3686"/>
                  </a:cubicBezTo>
                  <a:cubicBezTo>
                    <a:pt x="2" y="3700"/>
                    <a:pt x="0" y="3714"/>
                    <a:pt x="1" y="3727"/>
                  </a:cubicBezTo>
                  <a:cubicBezTo>
                    <a:pt x="1" y="3797"/>
                    <a:pt x="12" y="3854"/>
                    <a:pt x="32" y="3902"/>
                  </a:cubicBezTo>
                  <a:cubicBezTo>
                    <a:pt x="39" y="3919"/>
                    <a:pt x="47" y="3935"/>
                    <a:pt x="56" y="3950"/>
                  </a:cubicBezTo>
                  <a:cubicBezTo>
                    <a:pt x="64" y="3949"/>
                    <a:pt x="71" y="3948"/>
                    <a:pt x="79" y="3947"/>
                  </a:cubicBezTo>
                  <a:cubicBezTo>
                    <a:pt x="147" y="3939"/>
                    <a:pt x="214" y="3929"/>
                    <a:pt x="282" y="3917"/>
                  </a:cubicBezTo>
                  <a:cubicBezTo>
                    <a:pt x="569" y="3868"/>
                    <a:pt x="852" y="3791"/>
                    <a:pt x="1127" y="3685"/>
                  </a:cubicBezTo>
                  <a:cubicBezTo>
                    <a:pt x="1087" y="3673"/>
                    <a:pt x="1050" y="3653"/>
                    <a:pt x="1020" y="3624"/>
                  </a:cubicBezTo>
                  <a:cubicBezTo>
                    <a:pt x="990" y="3594"/>
                    <a:pt x="971" y="3557"/>
                    <a:pt x="959" y="3517"/>
                  </a:cubicBezTo>
                  <a:cubicBezTo>
                    <a:pt x="953" y="3497"/>
                    <a:pt x="949" y="3476"/>
                    <a:pt x="946" y="3454"/>
                  </a:cubicBezTo>
                  <a:cubicBezTo>
                    <a:pt x="945" y="3440"/>
                    <a:pt x="943" y="3425"/>
                    <a:pt x="943" y="3410"/>
                  </a:cubicBezTo>
                  <a:cubicBezTo>
                    <a:pt x="944" y="3401"/>
                    <a:pt x="945" y="3392"/>
                    <a:pt x="945" y="3382"/>
                  </a:cubicBezTo>
                  <a:cubicBezTo>
                    <a:pt x="952" y="3271"/>
                    <a:pt x="992" y="3140"/>
                    <a:pt x="1060" y="2995"/>
                  </a:cubicBezTo>
                  <a:cubicBezTo>
                    <a:pt x="1079" y="2955"/>
                    <a:pt x="1100" y="2914"/>
                    <a:pt x="1123" y="2873"/>
                  </a:cubicBezTo>
                  <a:cubicBezTo>
                    <a:pt x="1148" y="2826"/>
                    <a:pt x="1176" y="2778"/>
                    <a:pt x="1207" y="2729"/>
                  </a:cubicBezTo>
                  <a:cubicBezTo>
                    <a:pt x="1371" y="2466"/>
                    <a:pt x="1606" y="2176"/>
                    <a:pt x="1890" y="1890"/>
                  </a:cubicBezTo>
                  <a:cubicBezTo>
                    <a:pt x="2176" y="1606"/>
                    <a:pt x="2466" y="1372"/>
                    <a:pt x="2729" y="1207"/>
                  </a:cubicBezTo>
                  <a:cubicBezTo>
                    <a:pt x="2778" y="1176"/>
                    <a:pt x="2825" y="1149"/>
                    <a:pt x="2873" y="1123"/>
                  </a:cubicBezTo>
                  <a:cubicBezTo>
                    <a:pt x="2914" y="1100"/>
                    <a:pt x="2955" y="1079"/>
                    <a:pt x="2994" y="1061"/>
                  </a:cubicBezTo>
                  <a:cubicBezTo>
                    <a:pt x="3140" y="992"/>
                    <a:pt x="3271" y="953"/>
                    <a:pt x="3382" y="946"/>
                  </a:cubicBezTo>
                  <a:cubicBezTo>
                    <a:pt x="3392" y="945"/>
                    <a:pt x="3401" y="944"/>
                    <a:pt x="3410" y="943"/>
                  </a:cubicBezTo>
                  <a:cubicBezTo>
                    <a:pt x="3425" y="943"/>
                    <a:pt x="3440" y="945"/>
                    <a:pt x="3454" y="947"/>
                  </a:cubicBezTo>
                  <a:cubicBezTo>
                    <a:pt x="3476" y="949"/>
                    <a:pt x="3497" y="953"/>
                    <a:pt x="3517" y="959"/>
                  </a:cubicBezTo>
                  <a:cubicBezTo>
                    <a:pt x="3557" y="971"/>
                    <a:pt x="3594" y="990"/>
                    <a:pt x="3624" y="1020"/>
                  </a:cubicBezTo>
                  <a:cubicBezTo>
                    <a:pt x="3649" y="1045"/>
                    <a:pt x="3667" y="1076"/>
                    <a:pt x="3679" y="1109"/>
                  </a:cubicBezTo>
                  <a:cubicBezTo>
                    <a:pt x="3774" y="856"/>
                    <a:pt x="3846" y="595"/>
                    <a:pt x="3893" y="331"/>
                  </a:cubicBezTo>
                  <a:cubicBezTo>
                    <a:pt x="3905" y="265"/>
                    <a:pt x="3915" y="198"/>
                    <a:pt x="3924" y="131"/>
                  </a:cubicBezTo>
                  <a:cubicBezTo>
                    <a:pt x="3928" y="103"/>
                    <a:pt x="3931" y="75"/>
                    <a:pt x="3934" y="47"/>
                  </a:cubicBezTo>
                  <a:cubicBezTo>
                    <a:pt x="3924" y="41"/>
                    <a:pt x="3913" y="37"/>
                    <a:pt x="3902" y="3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sp>
        <p:nvSpPr>
          <p:cNvPr id="8" name="Platshållare för bild 7"/>
          <p:cNvSpPr>
            <a:spLocks noGrp="1"/>
          </p:cNvSpPr>
          <p:nvPr>
            <p:ph type="pic" sz="quarter" idx="15" hasCustomPrompt="1"/>
          </p:nvPr>
        </p:nvSpPr>
        <p:spPr>
          <a:xfrm>
            <a:off x="4584700" y="952575"/>
            <a:ext cx="4156148" cy="3289235"/>
          </a:xfrm>
          <a:prstGeom prst="rect">
            <a:avLst/>
          </a:prstGeom>
        </p:spPr>
        <p:txBody>
          <a:bodyPr/>
          <a:lstStyle>
            <a:lvl1pPr marL="0" indent="0">
              <a:buNone/>
              <a:defRPr/>
            </a:lvl1pPr>
          </a:lstStyle>
          <a:p>
            <a:r>
              <a:rPr lang="sv-SE"/>
              <a:t> </a:t>
            </a:r>
          </a:p>
        </p:txBody>
      </p:sp>
      <p:sp>
        <p:nvSpPr>
          <p:cNvPr id="34" name="Rubrik 33"/>
          <p:cNvSpPr>
            <a:spLocks noGrp="1"/>
          </p:cNvSpPr>
          <p:nvPr>
            <p:ph type="title" hasCustomPrompt="1"/>
          </p:nvPr>
        </p:nvSpPr>
        <p:spPr>
          <a:xfrm>
            <a:off x="381000" y="231140"/>
            <a:ext cx="4093842" cy="1009894"/>
          </a:xfrm>
          <a:prstGeom prst="rect">
            <a:avLst/>
          </a:prstGeom>
        </p:spPr>
        <p:txBody>
          <a:bodyPr lIns="0" tIns="0" rIns="0" bIns="0" anchor="t" anchorCtr="0">
            <a:normAutofit/>
          </a:bodyPr>
          <a:lstStyle>
            <a:lvl1pPr algn="l">
              <a:defRPr sz="3600">
                <a:solidFill>
                  <a:schemeClr val="tx1"/>
                </a:solidFill>
                <a:latin typeface="Calibri"/>
                <a:cs typeface="Calibri"/>
              </a:defRPr>
            </a:lvl1pPr>
          </a:lstStyle>
          <a:p>
            <a:r>
              <a:rPr lang="en-GB"/>
              <a:t>Heading</a:t>
            </a:r>
            <a:endParaRPr lang="sv-SE"/>
          </a:p>
        </p:txBody>
      </p:sp>
      <p:sp>
        <p:nvSpPr>
          <p:cNvPr id="21" name="Platshållare för text 2"/>
          <p:cNvSpPr>
            <a:spLocks noGrp="1"/>
          </p:cNvSpPr>
          <p:nvPr>
            <p:ph type="body" sz="quarter" idx="17" hasCustomPrompt="1"/>
          </p:nvPr>
        </p:nvSpPr>
        <p:spPr>
          <a:xfrm>
            <a:off x="381000" y="1494564"/>
            <a:ext cx="4093842" cy="3044492"/>
          </a:xfrm>
          <a:prstGeom prst="rect">
            <a:avLst/>
          </a:prstGeom>
        </p:spPr>
        <p:txBody>
          <a:bodyPr lIns="0" tIns="0" rIns="0" bIns="0">
            <a:normAutofit/>
          </a:bodyPr>
          <a:lstStyle>
            <a:lvl1pPr marL="190500" indent="-190500">
              <a:spcBef>
                <a:spcPts val="50"/>
              </a:spcBef>
              <a:defRPr sz="2000"/>
            </a:lvl1pPr>
            <a:lvl2pPr marL="190500" indent="254000">
              <a:spcBef>
                <a:spcPts val="50"/>
              </a:spcBef>
              <a:buFont typeface="Lucida Grande"/>
              <a:buChar char="–"/>
              <a:defRPr sz="2000"/>
            </a:lvl2pPr>
            <a:lvl3pPr marL="571500" indent="-254000">
              <a:spcBef>
                <a:spcPts val="50"/>
              </a:spcBef>
              <a:buFont typeface="Lucida Grande"/>
              <a:buChar char="–"/>
              <a:defRPr sz="2000"/>
            </a:lvl3pPr>
            <a:lvl4pPr marL="698500" indent="-254000">
              <a:spcBef>
                <a:spcPts val="50"/>
              </a:spcBef>
              <a:buFont typeface="Lucida Grande"/>
              <a:buChar char="–"/>
              <a:defRPr sz="2000"/>
            </a:lvl4pPr>
            <a:lvl5pPr marL="825500" indent="-254000">
              <a:spcBef>
                <a:spcPts val="50"/>
              </a:spcBef>
              <a:buFont typeface="Lucida Grande"/>
              <a:buChar char="–"/>
              <a:defRPr/>
            </a:lvl5pPr>
          </a:lstStyle>
          <a:p>
            <a:pPr lvl="0"/>
            <a:r>
              <a:rPr lang="en-GB" noProof="0"/>
              <a:t>Level 1</a:t>
            </a:r>
          </a:p>
          <a:p>
            <a:pPr lvl="1"/>
            <a:r>
              <a:rPr lang="en-GB" noProof="0"/>
              <a:t>Level 2</a:t>
            </a:r>
          </a:p>
          <a:p>
            <a:pPr lvl="2"/>
            <a:r>
              <a:rPr lang="en-GB" noProof="0"/>
              <a:t>Level 3</a:t>
            </a:r>
          </a:p>
          <a:p>
            <a:pPr lvl="3"/>
            <a:r>
              <a:rPr lang="en-GB" noProof="0"/>
              <a:t>Level 4</a:t>
            </a:r>
          </a:p>
          <a:p>
            <a:pPr lvl="4"/>
            <a:r>
              <a:rPr lang="en-GB" noProof="0"/>
              <a:t>Level 5</a:t>
            </a:r>
          </a:p>
        </p:txBody>
      </p:sp>
      <p:pic>
        <p:nvPicPr>
          <p:cNvPr id="33" name="Bildobjekt 3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0201" y="4590290"/>
            <a:ext cx="850195" cy="307734"/>
          </a:xfrm>
          <a:prstGeom prst="rect">
            <a:avLst/>
          </a:prstGeom>
        </p:spPr>
      </p:pic>
      <p:sp>
        <p:nvSpPr>
          <p:cNvPr id="41" name="Platshållare för sidfot 4">
            <a:extLst>
              <a:ext uri="{FF2B5EF4-FFF2-40B4-BE49-F238E27FC236}">
                <a16:creationId xmlns:a16="http://schemas.microsoft.com/office/drawing/2014/main" id="{08B9387F-AAAE-4856-AB9E-B9432581DEAA}"/>
              </a:ext>
            </a:extLst>
          </p:cNvPr>
          <p:cNvSpPr>
            <a:spLocks noGrp="1"/>
          </p:cNvSpPr>
          <p:nvPr>
            <p:ph type="ftr" sz="quarter" idx="11"/>
          </p:nvPr>
        </p:nvSpPr>
        <p:spPr>
          <a:xfrm>
            <a:off x="5824413" y="4483997"/>
            <a:ext cx="2509889" cy="382813"/>
          </a:xfrm>
          <a:prstGeom prst="rect">
            <a:avLst/>
          </a:prstGeom>
        </p:spPr>
        <p:txBody>
          <a:bodyPr lIns="0" tIns="0" rIns="0" bIns="0" anchor="b" anchorCtr="0"/>
          <a:lstStyle>
            <a:lvl1pPr algn="r">
              <a:defRPr sz="900" b="0">
                <a:solidFill>
                  <a:schemeClr val="bg1"/>
                </a:solidFill>
              </a:defRPr>
            </a:lvl1pPr>
          </a:lstStyle>
          <a:p>
            <a:r>
              <a:rPr lang="en-US"/>
              <a:t>Stakeholder Forum Agenda - Classification: External</a:t>
            </a:r>
            <a:endParaRPr lang="sv-SE"/>
          </a:p>
        </p:txBody>
      </p:sp>
      <p:sp>
        <p:nvSpPr>
          <p:cNvPr id="42" name="Platshållare för datum 3">
            <a:extLst>
              <a:ext uri="{FF2B5EF4-FFF2-40B4-BE49-F238E27FC236}">
                <a16:creationId xmlns:a16="http://schemas.microsoft.com/office/drawing/2014/main" id="{2268120A-8912-409F-A0DC-B4594B37D06A}"/>
              </a:ext>
            </a:extLst>
          </p:cNvPr>
          <p:cNvSpPr>
            <a:spLocks noGrp="1"/>
          </p:cNvSpPr>
          <p:nvPr>
            <p:ph type="dt" sz="half" idx="10"/>
          </p:nvPr>
        </p:nvSpPr>
        <p:spPr>
          <a:xfrm>
            <a:off x="4734099" y="4495861"/>
            <a:ext cx="1018558" cy="370949"/>
          </a:xfrm>
          <a:prstGeom prst="rect">
            <a:avLst/>
          </a:prstGeom>
        </p:spPr>
        <p:txBody>
          <a:bodyPr lIns="0" tIns="0" rIns="0" bIns="0" anchor="b" anchorCtr="0"/>
          <a:lstStyle>
            <a:lvl1pPr algn="l">
              <a:defRPr sz="900" b="0" i="0" cap="all">
                <a:solidFill>
                  <a:schemeClr val="bg1"/>
                </a:solidFill>
              </a:defRPr>
            </a:lvl1pPr>
          </a:lstStyle>
          <a:p>
            <a:r>
              <a:rPr lang="sv-SE"/>
              <a:t>26/03/2026</a:t>
            </a:r>
          </a:p>
        </p:txBody>
      </p:sp>
      <p:sp>
        <p:nvSpPr>
          <p:cNvPr id="43" name="Platshållare för bildnummer 5">
            <a:extLst>
              <a:ext uri="{FF2B5EF4-FFF2-40B4-BE49-F238E27FC236}">
                <a16:creationId xmlns:a16="http://schemas.microsoft.com/office/drawing/2014/main" id="{B2322324-2E27-4301-832C-93BB1168D16A}"/>
              </a:ext>
            </a:extLst>
          </p:cNvPr>
          <p:cNvSpPr>
            <a:spLocks noGrp="1"/>
          </p:cNvSpPr>
          <p:nvPr>
            <p:ph type="sldNum" sz="quarter" idx="12"/>
          </p:nvPr>
        </p:nvSpPr>
        <p:spPr>
          <a:xfrm>
            <a:off x="8383230" y="4469824"/>
            <a:ext cx="368658" cy="396987"/>
          </a:xfrm>
          <a:prstGeom prst="rect">
            <a:avLst/>
          </a:prstGeom>
          <a:noFill/>
        </p:spPr>
        <p:txBody>
          <a:bodyPr lIns="25400" tIns="0" rIns="0" bIns="0" anchor="b" anchorCtr="0"/>
          <a:lstStyle>
            <a:lvl1pPr algn="r">
              <a:defRPr sz="900">
                <a:solidFill>
                  <a:schemeClr val="bg1"/>
                </a:solidFill>
              </a:defRPr>
            </a:lvl1pPr>
          </a:lstStyle>
          <a:p>
            <a:fld id="{394EE31B-4DFC-CF4D-9A18-3F5D4D7C7302}" type="slidenum">
              <a:rPr lang="sv-SE" smtClean="0"/>
              <a:pPr/>
              <a:t>‹#›</a:t>
            </a:fld>
            <a:endParaRPr lang="sv-SE"/>
          </a:p>
        </p:txBody>
      </p:sp>
    </p:spTree>
    <p:extLst>
      <p:ext uri="{BB962C8B-B14F-4D97-AF65-F5344CB8AC3E}">
        <p14:creationId xmlns:p14="http://schemas.microsoft.com/office/powerpoint/2010/main" val="204221881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illede og tekst ">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a-DK"/>
              <a:t>Klik for at indsætte overskrift i en eller to linjer</a:t>
            </a:r>
          </a:p>
        </p:txBody>
      </p:sp>
      <p:sp>
        <p:nvSpPr>
          <p:cNvPr id="9" name="Pladsholder til billede 2"/>
          <p:cNvSpPr>
            <a:spLocks noGrp="1"/>
          </p:cNvSpPr>
          <p:nvPr>
            <p:ph type="pic" sz="quarter" idx="13" hasCustomPrompt="1"/>
          </p:nvPr>
        </p:nvSpPr>
        <p:spPr>
          <a:xfrm>
            <a:off x="318642" y="1014413"/>
            <a:ext cx="4185545" cy="3483000"/>
          </a:xfrm>
        </p:spPr>
        <p:txBody>
          <a:bodyPr tIns="432000" rIns="0" anchor="ctr" anchorCtr="0"/>
          <a:lstStyle>
            <a:lvl1pPr algn="ctr">
              <a:defRPr sz="1050">
                <a:solidFill>
                  <a:schemeClr val="accent2"/>
                </a:solidFill>
              </a:defRPr>
            </a:lvl1pPr>
          </a:lstStyle>
          <a:p>
            <a:r>
              <a:rPr lang="da-DK"/>
              <a:t>Klik på ikon for at indsætte billede</a:t>
            </a:r>
          </a:p>
        </p:txBody>
      </p:sp>
      <p:sp>
        <p:nvSpPr>
          <p:cNvPr id="10" name="Pladsholder til tekst 3"/>
          <p:cNvSpPr>
            <a:spLocks noGrp="1"/>
          </p:cNvSpPr>
          <p:nvPr>
            <p:ph type="body" sz="quarter" idx="14" hasCustomPrompt="1"/>
          </p:nvPr>
        </p:nvSpPr>
        <p:spPr>
          <a:xfrm>
            <a:off x="4633804" y="1015204"/>
            <a:ext cx="4185545" cy="3483769"/>
          </a:xfrm>
        </p:spPr>
        <p:txBody>
          <a:bodyPr rIns="0"/>
          <a:lstStyle>
            <a:lvl1pPr>
              <a:defRPr/>
            </a:lvl1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p:txBody>
      </p:sp>
      <p:sp>
        <p:nvSpPr>
          <p:cNvPr id="3" name="Pladsholder til dato 2"/>
          <p:cNvSpPr>
            <a:spLocks noGrp="1"/>
          </p:cNvSpPr>
          <p:nvPr>
            <p:ph type="dt" sz="half" idx="10"/>
          </p:nvPr>
        </p:nvSpPr>
        <p:spPr/>
        <p:txBody>
          <a:bodyPr/>
          <a:lstStyle/>
          <a:p>
            <a:r>
              <a:rPr lang="sv-SE"/>
              <a:t>26/03/2026</a:t>
            </a:r>
            <a:endParaRPr lang="da-DK"/>
          </a:p>
        </p:txBody>
      </p:sp>
      <p:sp>
        <p:nvSpPr>
          <p:cNvPr id="4" name="Pladsholder til sidefod 3" hidden="1"/>
          <p:cNvSpPr>
            <a:spLocks noGrp="1"/>
          </p:cNvSpPr>
          <p:nvPr>
            <p:ph type="ftr" sz="quarter" idx="11"/>
          </p:nvPr>
        </p:nvSpPr>
        <p:spPr/>
        <p:txBody>
          <a:bodyPr/>
          <a:lstStyle/>
          <a:p>
            <a:r>
              <a:rPr lang="en-US"/>
              <a:t>Stakeholder Forum Agenda - Classification: External</a:t>
            </a:r>
            <a:endParaRPr lang="da-DK"/>
          </a:p>
        </p:txBody>
      </p:sp>
      <p:sp>
        <p:nvSpPr>
          <p:cNvPr id="5" name="Pladsholder til diasnummer 4"/>
          <p:cNvSpPr>
            <a:spLocks noGrp="1"/>
          </p:cNvSpPr>
          <p:nvPr>
            <p:ph type="sldNum" sz="quarter" idx="12"/>
          </p:nvPr>
        </p:nvSpPr>
        <p:spPr/>
        <p:txBody>
          <a:bodyPr/>
          <a:lstStyle/>
          <a:p>
            <a:fld id="{667EC89C-17A0-4E64-A6D2-B825673CEEDF}" type="slidenum">
              <a:rPr lang="da-DK" smtClean="0"/>
              <a:pPr/>
              <a:t>‹#›</a:t>
            </a:fld>
            <a:endParaRPr lang="da-DK"/>
          </a:p>
        </p:txBody>
      </p:sp>
      <p:sp>
        <p:nvSpPr>
          <p:cNvPr id="34" name="Tekstboks 33"/>
          <p:cNvSpPr txBox="1"/>
          <p:nvPr userDrawn="1"/>
        </p:nvSpPr>
        <p:spPr>
          <a:xfrm>
            <a:off x="-1559468" y="0"/>
            <a:ext cx="1424664" cy="897564"/>
          </a:xfrm>
          <a:prstGeom prst="rect">
            <a:avLst/>
          </a:prstGeom>
          <a:noFill/>
        </p:spPr>
        <p:txBody>
          <a:bodyPr wrap="square" lIns="0" tIns="0" rIns="0" bIns="0" rtlCol="0">
            <a:noAutofit/>
          </a:bodyPr>
          <a:lstStyle/>
          <a:p>
            <a:pPr algn="r"/>
            <a:r>
              <a:rPr lang="da-DK" sz="675" b="1">
                <a:solidFill>
                  <a:schemeClr val="bg1">
                    <a:lumMod val="50000"/>
                  </a:schemeClr>
                </a:solidFill>
              </a:rPr>
              <a:t>Udskifte billeder:</a:t>
            </a:r>
          </a:p>
          <a:p>
            <a:pPr algn="r"/>
            <a:r>
              <a:rPr lang="da-DK" sz="675" b="0">
                <a:solidFill>
                  <a:schemeClr val="bg1">
                    <a:lumMod val="50000"/>
                  </a:schemeClr>
                </a:solidFill>
              </a:rPr>
              <a:t>Der er frit valg mellem 16 billeder. Se slides med flere billeder.</a:t>
            </a:r>
          </a:p>
          <a:p>
            <a:pPr algn="r"/>
            <a:endParaRPr lang="da-DK" sz="675" b="0">
              <a:solidFill>
                <a:schemeClr val="bg1">
                  <a:lumMod val="50000"/>
                </a:schemeClr>
              </a:solidFill>
            </a:endParaRPr>
          </a:p>
          <a:p>
            <a:pPr algn="r"/>
            <a:r>
              <a:rPr lang="da-DK" sz="675" b="1">
                <a:solidFill>
                  <a:schemeClr val="bg1">
                    <a:lumMod val="50000"/>
                  </a:schemeClr>
                </a:solidFill>
              </a:rPr>
              <a:t>Valg af layout:</a:t>
            </a:r>
          </a:p>
          <a:p>
            <a:pPr algn="r"/>
            <a:r>
              <a:rPr lang="da-DK" sz="675" b="0">
                <a:solidFill>
                  <a:schemeClr val="bg1">
                    <a:lumMod val="50000"/>
                  </a:schemeClr>
                </a:solidFill>
              </a:rPr>
              <a:t>Billeder kan stå til højre og venstre. Der kan også være 2 billeder ved siden af hinanden.</a:t>
            </a:r>
          </a:p>
          <a:p>
            <a:pPr algn="r"/>
            <a:endParaRPr lang="da-DK" sz="675" b="0">
              <a:solidFill>
                <a:schemeClr val="bg1">
                  <a:lumMod val="50000"/>
                </a:schemeClr>
              </a:solidFill>
            </a:endParaRPr>
          </a:p>
        </p:txBody>
      </p:sp>
      <p:grpSp>
        <p:nvGrpSpPr>
          <p:cNvPr id="35" name="Gruppe 34"/>
          <p:cNvGrpSpPr/>
          <p:nvPr userDrawn="1"/>
        </p:nvGrpSpPr>
        <p:grpSpPr>
          <a:xfrm>
            <a:off x="-1559468" y="1927800"/>
            <a:ext cx="1377179" cy="1616058"/>
            <a:chOff x="9252520" y="2570400"/>
            <a:chExt cx="1836000" cy="2154744"/>
          </a:xfrm>
        </p:grpSpPr>
        <p:sp>
          <p:nvSpPr>
            <p:cNvPr id="36" name="Tekstboks 35"/>
            <p:cNvSpPr txBox="1"/>
            <p:nvPr userDrawn="1"/>
          </p:nvSpPr>
          <p:spPr>
            <a:xfrm>
              <a:off x="9252520" y="2570400"/>
              <a:ext cx="1836000" cy="1866712"/>
            </a:xfrm>
            <a:prstGeom prst="rect">
              <a:avLst/>
            </a:prstGeom>
            <a:noFill/>
          </p:spPr>
          <p:txBody>
            <a:bodyPr wrap="square" lIns="0" tIns="0" rIns="0" bIns="0" rtlCol="0">
              <a:noAutofit/>
            </a:bodyPr>
            <a:lstStyle/>
            <a:p>
              <a:pPr algn="r"/>
              <a:r>
                <a:rPr lang="da-DK" sz="675" b="1" i="0" u="none" strike="noStrike" kern="1200" baseline="0" noProof="1">
                  <a:solidFill>
                    <a:schemeClr val="bg1">
                      <a:lumMod val="50000"/>
                    </a:schemeClr>
                  </a:solidFill>
                  <a:latin typeface="+mn-lt"/>
                  <a:ea typeface="+mn-ea"/>
                  <a:cs typeface="+mn-cs"/>
                </a:rPr>
                <a:t>Indsæt billede</a:t>
              </a:r>
            </a:p>
            <a:p>
              <a:pPr algn="r"/>
              <a:r>
                <a:rPr lang="da-DK" sz="675" b="1" i="0" u="none" strike="noStrike" kern="1200" baseline="0" noProof="1">
                  <a:solidFill>
                    <a:schemeClr val="bg1">
                      <a:lumMod val="50000"/>
                    </a:schemeClr>
                  </a:solidFill>
                  <a:latin typeface="+mn-lt"/>
                  <a:ea typeface="+mn-ea"/>
                  <a:cs typeface="+mn-cs"/>
                </a:rPr>
                <a:t>1. </a:t>
              </a:r>
              <a:r>
                <a:rPr lang="da-DK" sz="675" b="0" i="0" u="none" strike="noStrike" kern="1200" baseline="0" noProof="1">
                  <a:solidFill>
                    <a:schemeClr val="bg1">
                      <a:lumMod val="50000"/>
                    </a:schemeClr>
                  </a:solidFill>
                  <a:latin typeface="+mn-lt"/>
                  <a:ea typeface="+mn-ea"/>
                  <a:cs typeface="+mn-cs"/>
                </a:rPr>
                <a:t>Klik på det lille billede-indsættelsesikon i midten</a:t>
              </a:r>
            </a:p>
            <a:p>
              <a:pPr algn="r"/>
              <a:r>
                <a:rPr lang="da-DK" sz="675" b="0" i="0" u="none" strike="noStrike" kern="1200" baseline="0" noProof="1">
                  <a:solidFill>
                    <a:schemeClr val="bg1">
                      <a:lumMod val="50000"/>
                    </a:schemeClr>
                  </a:solidFill>
                  <a:latin typeface="+mn-lt"/>
                  <a:ea typeface="+mn-ea"/>
                  <a:cs typeface="+mn-cs"/>
                </a:rPr>
                <a:t>af pladsholderen</a:t>
              </a:r>
            </a:p>
            <a:p>
              <a:pPr algn="r"/>
              <a:r>
                <a:rPr lang="da-DK" sz="675" b="1" i="0" u="none" strike="noStrike" kern="1200" baseline="0" noProof="1">
                  <a:solidFill>
                    <a:schemeClr val="bg1">
                      <a:lumMod val="50000"/>
                    </a:schemeClr>
                  </a:solidFill>
                  <a:latin typeface="+mn-lt"/>
                  <a:ea typeface="+mn-ea"/>
                  <a:cs typeface="+mn-cs"/>
                </a:rPr>
                <a:t>2. </a:t>
              </a:r>
              <a:r>
                <a:rPr lang="da-DK" sz="675" b="0" i="0" u="none" strike="noStrike" kern="1200" baseline="0" noProof="1">
                  <a:solidFill>
                    <a:schemeClr val="bg1">
                      <a:lumMod val="50000"/>
                    </a:schemeClr>
                  </a:solidFill>
                  <a:latin typeface="+mn-lt"/>
                  <a:ea typeface="+mn-ea"/>
                  <a:cs typeface="+mn-cs"/>
                </a:rPr>
                <a:t>Indsæt det ønskede billede</a:t>
              </a:r>
            </a:p>
            <a:p>
              <a:pPr algn="r"/>
              <a:r>
                <a:rPr lang="da-DK" sz="675" b="1" i="0" u="none" strike="noStrike" kern="1200" baseline="0" noProof="1">
                  <a:solidFill>
                    <a:schemeClr val="bg1">
                      <a:lumMod val="50000"/>
                    </a:schemeClr>
                  </a:solidFill>
                  <a:latin typeface="+mn-lt"/>
                  <a:ea typeface="+mn-ea"/>
                  <a:cs typeface="+mn-cs"/>
                </a:rPr>
                <a:t>3. </a:t>
              </a:r>
              <a:r>
                <a:rPr lang="da-DK" sz="675" b="0" i="0" u="none" strike="noStrike" kern="1200" baseline="0" noProof="1">
                  <a:solidFill>
                    <a:schemeClr val="bg1">
                      <a:lumMod val="50000"/>
                    </a:schemeClr>
                  </a:solidFill>
                  <a:latin typeface="+mn-lt"/>
                  <a:ea typeface="+mn-ea"/>
                  <a:cs typeface="+mn-cs"/>
                </a:rPr>
                <a:t>Klik</a:t>
              </a:r>
              <a:r>
                <a:rPr lang="da-DK" sz="675" b="1" i="0" u="none" strike="noStrike" kern="1200" baseline="0" noProof="1">
                  <a:solidFill>
                    <a:schemeClr val="bg1">
                      <a:lumMod val="50000"/>
                    </a:schemeClr>
                  </a:solidFill>
                  <a:latin typeface="+mn-lt"/>
                  <a:ea typeface="+mn-ea"/>
                  <a:cs typeface="+mn-cs"/>
                </a:rPr>
                <a:t> Beskær </a:t>
              </a:r>
              <a:r>
                <a:rPr lang="da-DK" sz="675" b="0" i="0" u="none" strike="noStrike" kern="1200" baseline="0" noProof="1">
                  <a:solidFill>
                    <a:schemeClr val="bg1">
                      <a:lumMod val="50000"/>
                    </a:schemeClr>
                  </a:solidFill>
                  <a:latin typeface="+mn-lt"/>
                  <a:ea typeface="+mn-ea"/>
                  <a:cs typeface="+mn-cs"/>
                </a:rPr>
                <a:t>for at ændre</a:t>
              </a:r>
            </a:p>
            <a:p>
              <a:pPr algn="r"/>
              <a:r>
                <a:rPr lang="da-DK" sz="675" b="0" i="0" u="none" strike="noStrike" kern="1200" baseline="0" noProof="1">
                  <a:solidFill>
                    <a:schemeClr val="bg1">
                      <a:lumMod val="50000"/>
                    </a:schemeClr>
                  </a:solidFill>
                  <a:latin typeface="+mn-lt"/>
                  <a:ea typeface="+mn-ea"/>
                  <a:cs typeface="+mn-cs"/>
                </a:rPr>
                <a:t>billedets fokus/størrelse</a:t>
              </a:r>
            </a:p>
            <a:p>
              <a:pPr algn="r"/>
              <a:endParaRPr lang="da-DK" sz="675" b="1" i="0" u="none" strike="noStrike" kern="1200" baseline="0" noProof="1">
                <a:solidFill>
                  <a:schemeClr val="bg1">
                    <a:lumMod val="50000"/>
                  </a:schemeClr>
                </a:solidFill>
                <a:latin typeface="+mn-lt"/>
                <a:ea typeface="+mn-ea"/>
                <a:cs typeface="+mn-cs"/>
              </a:endParaRPr>
            </a:p>
            <a:p>
              <a:pPr algn="r"/>
              <a:endParaRPr lang="da-DK" sz="675" b="1" i="0" u="none" strike="noStrike" kern="1200" baseline="0" noProof="1">
                <a:solidFill>
                  <a:schemeClr val="bg1">
                    <a:lumMod val="50000"/>
                  </a:schemeClr>
                </a:solidFill>
                <a:latin typeface="+mn-lt"/>
                <a:ea typeface="+mn-ea"/>
                <a:cs typeface="+mn-cs"/>
              </a:endParaRPr>
            </a:p>
            <a:p>
              <a:pPr algn="r"/>
              <a:r>
                <a:rPr lang="da-DK" sz="675" b="1" i="0" u="none" strike="noStrike" kern="1200" baseline="0" noProof="1">
                  <a:solidFill>
                    <a:schemeClr val="bg1">
                      <a:lumMod val="50000"/>
                    </a:schemeClr>
                  </a:solidFill>
                  <a:latin typeface="+mn-lt"/>
                  <a:ea typeface="+mn-ea"/>
                  <a:cs typeface="+mn-cs"/>
                </a:rPr>
                <a:t>4. </a:t>
              </a:r>
              <a:r>
                <a:rPr lang="da-DK" sz="675" b="0" i="0" u="none" strike="noStrike" kern="1200" baseline="0" noProof="1">
                  <a:solidFill>
                    <a:schemeClr val="bg1">
                      <a:lumMod val="50000"/>
                    </a:schemeClr>
                  </a:solidFill>
                  <a:latin typeface="+mn-lt"/>
                  <a:ea typeface="+mn-ea"/>
                  <a:cs typeface="+mn-cs"/>
                </a:rPr>
                <a:t>Ønsker du at skalere billedet, så hold </a:t>
              </a:r>
              <a:r>
                <a:rPr lang="da-DK" sz="675" b="1" i="0" u="none" strike="noStrike" kern="1200" baseline="0" noProof="1">
                  <a:solidFill>
                    <a:schemeClr val="bg1">
                      <a:lumMod val="50000"/>
                    </a:schemeClr>
                  </a:solidFill>
                  <a:latin typeface="+mn-lt"/>
                  <a:ea typeface="+mn-ea"/>
                  <a:cs typeface="+mn-cs"/>
                </a:rPr>
                <a:t>SHIFT</a:t>
              </a:r>
              <a:r>
                <a:rPr lang="da-DK" sz="675" b="0" i="0" u="none" strike="noStrike" kern="1200" baseline="0" noProof="1">
                  <a:solidFill>
                    <a:schemeClr val="bg1">
                      <a:lumMod val="50000"/>
                    </a:schemeClr>
                  </a:solidFill>
                  <a:latin typeface="+mn-lt"/>
                  <a:ea typeface="+mn-ea"/>
                  <a:cs typeface="+mn-cs"/>
                </a:rPr>
                <a:t>-knappen nede, mens der trækkes i billedets hjørner</a:t>
              </a:r>
            </a:p>
            <a:p>
              <a:pPr algn="r"/>
              <a:endParaRPr lang="da-DK" sz="675" b="1" i="0" u="none" strike="noStrike" kern="1200" baseline="0" noProof="1">
                <a:solidFill>
                  <a:schemeClr val="bg1">
                    <a:lumMod val="50000"/>
                  </a:schemeClr>
                </a:solidFill>
                <a:latin typeface="+mn-lt"/>
                <a:ea typeface="+mn-ea"/>
                <a:cs typeface="+mn-cs"/>
              </a:endParaRPr>
            </a:p>
            <a:p>
              <a:pPr algn="r"/>
              <a:endParaRPr lang="da-DK" sz="675" b="1" i="0" u="none" strike="noStrike" kern="1200" baseline="0" noProof="1">
                <a:solidFill>
                  <a:schemeClr val="bg1">
                    <a:lumMod val="50000"/>
                  </a:schemeClr>
                </a:solidFill>
                <a:latin typeface="+mn-lt"/>
                <a:ea typeface="+mn-ea"/>
                <a:cs typeface="+mn-cs"/>
              </a:endParaRPr>
            </a:p>
          </p:txBody>
        </p:sp>
        <p:pic>
          <p:nvPicPr>
            <p:cNvPr id="3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27537" y="3552224"/>
              <a:ext cx="251185" cy="2300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38" name="Gruppe 37"/>
            <p:cNvGrpSpPr/>
            <p:nvPr userDrawn="1"/>
          </p:nvGrpSpPr>
          <p:grpSpPr>
            <a:xfrm>
              <a:off x="10784755" y="4402493"/>
              <a:ext cx="291714" cy="322651"/>
              <a:chOff x="11016426" y="4378700"/>
              <a:chExt cx="343632" cy="380074"/>
            </a:xfrm>
          </p:grpSpPr>
          <p:pic>
            <p:nvPicPr>
              <p:cNvPr id="39"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1042558" y="4417462"/>
                <a:ext cx="317500" cy="3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Afrundet rektangel 39"/>
              <p:cNvSpPr/>
              <p:nvPr userDrawn="1"/>
            </p:nvSpPr>
            <p:spPr>
              <a:xfrm>
                <a:off x="11016426" y="4378700"/>
                <a:ext cx="227292" cy="182221"/>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sz="750"/>
              </a:p>
            </p:txBody>
          </p:sp>
        </p:grpSp>
      </p:grpSp>
      <p:grpSp>
        <p:nvGrpSpPr>
          <p:cNvPr id="46" name="Gruppe 45"/>
          <p:cNvGrpSpPr/>
          <p:nvPr userDrawn="1"/>
        </p:nvGrpSpPr>
        <p:grpSpPr>
          <a:xfrm>
            <a:off x="9252520" y="1015605"/>
            <a:ext cx="1107114" cy="1826177"/>
            <a:chOff x="-1620688" y="1354138"/>
            <a:chExt cx="1475960" cy="2434902"/>
          </a:xfrm>
        </p:grpSpPr>
        <p:sp>
          <p:nvSpPr>
            <p:cNvPr id="47" name="Tekstboks 46"/>
            <p:cNvSpPr txBox="1"/>
            <p:nvPr userDrawn="1"/>
          </p:nvSpPr>
          <p:spPr>
            <a:xfrm>
              <a:off x="-1620688" y="1354138"/>
              <a:ext cx="1475960" cy="2434902"/>
            </a:xfrm>
            <a:prstGeom prst="rect">
              <a:avLst/>
            </a:prstGeom>
            <a:noFill/>
          </p:spPr>
          <p:txBody>
            <a:bodyPr wrap="square" lIns="0" tIns="0" rIns="0" bIns="0" rtlCol="0">
              <a:noAutofit/>
            </a:bodyPr>
            <a:lstStyle/>
            <a:p>
              <a:pPr algn="l"/>
              <a:r>
                <a:rPr lang="da-DK" sz="675" b="1">
                  <a:solidFill>
                    <a:schemeClr val="bg1">
                      <a:lumMod val="50000"/>
                    </a:schemeClr>
                  </a:solidFill>
                </a:rPr>
                <a:t>Tekst-typografier</a:t>
              </a:r>
            </a:p>
            <a:p>
              <a:pPr algn="l"/>
              <a:r>
                <a:rPr lang="da-DK" sz="675" b="0">
                  <a:solidFill>
                    <a:schemeClr val="bg1">
                      <a:lumMod val="50000"/>
                    </a:schemeClr>
                  </a:solidFill>
                </a:rPr>
                <a:t>Brug </a:t>
              </a:r>
              <a:r>
                <a:rPr lang="da-DK" sz="675" b="1">
                  <a:solidFill>
                    <a:schemeClr val="bg1">
                      <a:lumMod val="50000"/>
                    </a:schemeClr>
                  </a:solidFill>
                </a:rPr>
                <a:t>TAB</a:t>
              </a:r>
              <a:r>
                <a:rPr lang="da-DK" sz="675" b="0">
                  <a:solidFill>
                    <a:schemeClr val="bg1">
                      <a:lumMod val="50000"/>
                    </a:schemeClr>
                  </a:solidFill>
                </a:rPr>
                <a:t> for at gå frem</a:t>
              </a:r>
            </a:p>
            <a:p>
              <a:pPr algn="l"/>
              <a:r>
                <a:rPr lang="da-DK" sz="675" b="0">
                  <a:solidFill>
                    <a:schemeClr val="bg1">
                      <a:lumMod val="50000"/>
                    </a:schemeClr>
                  </a:solidFill>
                </a:rPr>
                <a:t>i tekst-niveauer</a:t>
              </a:r>
            </a:p>
            <a:p>
              <a:pPr algn="l"/>
              <a:endParaRPr lang="da-DK" sz="675" b="0">
                <a:solidFill>
                  <a:schemeClr val="bg1">
                    <a:lumMod val="50000"/>
                  </a:schemeClr>
                </a:solidFill>
              </a:endParaRPr>
            </a:p>
            <a:p>
              <a:pPr algn="l"/>
              <a:r>
                <a:rPr lang="da-DK" sz="675" b="0">
                  <a:solidFill>
                    <a:schemeClr val="bg1">
                      <a:lumMod val="50000"/>
                    </a:schemeClr>
                  </a:solidFill>
                </a:rPr>
                <a:t>Klik for at indsætte tekst</a:t>
              </a:r>
            </a:p>
            <a:p>
              <a:pPr marL="80992" indent="-80992" algn="l">
                <a:buFont typeface="Arial" panose="020B0604020202020204" pitchFamily="34" charset="0"/>
                <a:buChar char="•"/>
              </a:pPr>
              <a:r>
                <a:rPr lang="da-DK" sz="675" b="0">
                  <a:solidFill>
                    <a:schemeClr val="bg1">
                      <a:lumMod val="50000"/>
                    </a:schemeClr>
                  </a:solidFill>
                </a:rPr>
                <a:t>Andet niveau</a:t>
              </a:r>
            </a:p>
            <a:p>
              <a:pPr marL="215978" indent="-80992" algn="l">
                <a:buFont typeface="Arial" panose="020B0604020202020204" pitchFamily="34" charset="0"/>
                <a:buChar char="•"/>
              </a:pPr>
              <a:r>
                <a:rPr lang="da-DK" sz="600" b="0">
                  <a:solidFill>
                    <a:schemeClr val="bg1">
                      <a:lumMod val="50000"/>
                    </a:schemeClr>
                  </a:solidFill>
                </a:rPr>
                <a:t>Tredje niveau</a:t>
              </a:r>
            </a:p>
            <a:p>
              <a:pPr marL="350965" indent="-80992" algn="l">
                <a:buFont typeface="Arial" panose="020B0604020202020204" pitchFamily="34" charset="0"/>
                <a:buChar char="•"/>
              </a:pPr>
              <a:r>
                <a:rPr lang="da-DK" sz="450" b="0">
                  <a:solidFill>
                    <a:schemeClr val="bg1">
                      <a:lumMod val="50000"/>
                    </a:schemeClr>
                  </a:solidFill>
                </a:rPr>
                <a:t>Fjerde niveau</a:t>
              </a:r>
            </a:p>
            <a:p>
              <a:pPr marL="458954" indent="-80992" algn="l">
                <a:buFont typeface="Arial" panose="020B0604020202020204" pitchFamily="34" charset="0"/>
                <a:buChar char="•"/>
              </a:pPr>
              <a:r>
                <a:rPr lang="da-DK" sz="450" b="0">
                  <a:solidFill>
                    <a:schemeClr val="bg1">
                      <a:lumMod val="50000"/>
                    </a:schemeClr>
                  </a:solidFill>
                </a:rPr>
                <a:t>Femte niveau</a:t>
              </a:r>
            </a:p>
            <a:p>
              <a:pPr algn="l"/>
              <a:endParaRPr lang="da-DK" sz="675" b="0">
                <a:solidFill>
                  <a:schemeClr val="bg1">
                    <a:lumMod val="50000"/>
                  </a:schemeClr>
                </a:solidFill>
              </a:endParaRPr>
            </a:p>
            <a:p>
              <a:pPr algn="l"/>
              <a:r>
                <a:rPr lang="da-DK" sz="675" b="0">
                  <a:solidFill>
                    <a:schemeClr val="bg1">
                      <a:lumMod val="50000"/>
                    </a:schemeClr>
                  </a:solidFill>
                </a:rPr>
                <a:t>For at gå tilbage i tekst-niveauer,</a:t>
              </a:r>
            </a:p>
            <a:p>
              <a:pPr algn="l"/>
              <a:r>
                <a:rPr lang="da-DK" sz="675" b="0">
                  <a:solidFill>
                    <a:schemeClr val="bg1">
                      <a:lumMod val="50000"/>
                    </a:schemeClr>
                  </a:solidFill>
                </a:rPr>
                <a:t>brug </a:t>
              </a:r>
              <a:r>
                <a:rPr lang="da-DK" sz="675" b="1">
                  <a:solidFill>
                    <a:schemeClr val="bg1">
                      <a:lumMod val="50000"/>
                    </a:schemeClr>
                  </a:solidFill>
                </a:rPr>
                <a:t>SHIFT + TAB</a:t>
              </a:r>
            </a:p>
            <a:p>
              <a:pPr algn="l"/>
              <a:endParaRPr lang="da-DK" sz="675" b="0">
                <a:solidFill>
                  <a:schemeClr val="bg1">
                    <a:lumMod val="50000"/>
                  </a:schemeClr>
                </a:solidFill>
              </a:endParaRPr>
            </a:p>
            <a:p>
              <a:pPr algn="l"/>
              <a:endParaRPr lang="da-DK" sz="675" b="0">
                <a:solidFill>
                  <a:schemeClr val="bg1">
                    <a:lumMod val="50000"/>
                  </a:schemeClr>
                </a:solidFill>
              </a:endParaRPr>
            </a:p>
            <a:p>
              <a:pPr algn="l"/>
              <a:r>
                <a:rPr lang="da-DK" sz="675" b="0">
                  <a:solidFill>
                    <a:schemeClr val="bg1">
                      <a:lumMod val="50000"/>
                    </a:schemeClr>
                  </a:solidFill>
                </a:rPr>
                <a:t>Alternativt kan</a:t>
              </a:r>
            </a:p>
            <a:p>
              <a:pPr algn="l"/>
              <a:r>
                <a:rPr lang="da-DK" sz="675" b="1">
                  <a:solidFill>
                    <a:schemeClr val="bg1">
                      <a:lumMod val="50000"/>
                    </a:schemeClr>
                  </a:solidFill>
                </a:rPr>
                <a:t>Forøg og Formindsk </a:t>
              </a:r>
            </a:p>
            <a:p>
              <a:pPr algn="l"/>
              <a:r>
                <a:rPr lang="da-DK" sz="675" b="0">
                  <a:solidFill>
                    <a:schemeClr val="bg1">
                      <a:lumMod val="50000"/>
                    </a:schemeClr>
                  </a:solidFill>
                </a:rPr>
                <a:t>listeniveau bruges</a:t>
              </a:r>
            </a:p>
          </p:txBody>
        </p:sp>
        <p:grpSp>
          <p:nvGrpSpPr>
            <p:cNvPr id="48" name="Gruppe 47"/>
            <p:cNvGrpSpPr/>
            <p:nvPr userDrawn="1"/>
          </p:nvGrpSpPr>
          <p:grpSpPr>
            <a:xfrm>
              <a:off x="-1620688" y="3048030"/>
              <a:ext cx="358775" cy="236537"/>
              <a:chOff x="-1620688" y="3171825"/>
              <a:chExt cx="358775" cy="236537"/>
            </a:xfrm>
          </p:grpSpPr>
          <p:pic>
            <p:nvPicPr>
              <p:cNvPr id="49" name="Picture 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620688" y="3171825"/>
                <a:ext cx="358775" cy="2365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0" name="Afrundet rektangel 49"/>
              <p:cNvSpPr/>
              <p:nvPr userDrawn="1"/>
            </p:nvSpPr>
            <p:spPr>
              <a:xfrm>
                <a:off x="-1620688" y="3171825"/>
                <a:ext cx="179387" cy="236537"/>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sz="750"/>
              </a:p>
            </p:txBody>
          </p:sp>
        </p:grpSp>
      </p:grpSp>
    </p:spTree>
    <p:extLst>
      <p:ext uri="{BB962C8B-B14F-4D97-AF65-F5344CB8AC3E}">
        <p14:creationId xmlns:p14="http://schemas.microsoft.com/office/powerpoint/2010/main" val="114958038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o billed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a-DK"/>
              <a:t>Klik for at indsætte overskrift i en eller to linjer</a:t>
            </a:r>
          </a:p>
        </p:txBody>
      </p:sp>
      <p:sp>
        <p:nvSpPr>
          <p:cNvPr id="9" name="Pladsholder til billede 2"/>
          <p:cNvSpPr>
            <a:spLocks noGrp="1"/>
          </p:cNvSpPr>
          <p:nvPr>
            <p:ph type="pic" sz="quarter" idx="13" hasCustomPrompt="1"/>
          </p:nvPr>
        </p:nvSpPr>
        <p:spPr>
          <a:xfrm>
            <a:off x="318642" y="1014413"/>
            <a:ext cx="4185545" cy="3483000"/>
          </a:xfrm>
        </p:spPr>
        <p:txBody>
          <a:bodyPr tIns="432000" rIns="0" anchor="ctr" anchorCtr="0"/>
          <a:lstStyle>
            <a:lvl1pPr algn="ctr">
              <a:defRPr sz="1050">
                <a:solidFill>
                  <a:schemeClr val="accent2"/>
                </a:solidFill>
              </a:defRPr>
            </a:lvl1pPr>
          </a:lstStyle>
          <a:p>
            <a:r>
              <a:rPr lang="da-DK"/>
              <a:t>Klik på ikon for at indsætte billede</a:t>
            </a:r>
          </a:p>
        </p:txBody>
      </p:sp>
      <p:sp>
        <p:nvSpPr>
          <p:cNvPr id="8" name="Pladsholder til billede 3"/>
          <p:cNvSpPr>
            <a:spLocks noGrp="1"/>
          </p:cNvSpPr>
          <p:nvPr>
            <p:ph type="pic" sz="quarter" idx="14" hasCustomPrompt="1"/>
          </p:nvPr>
        </p:nvSpPr>
        <p:spPr>
          <a:xfrm>
            <a:off x="4633804" y="1014413"/>
            <a:ext cx="4185545" cy="3483000"/>
          </a:xfrm>
        </p:spPr>
        <p:txBody>
          <a:bodyPr tIns="432000" rIns="0" anchor="ctr" anchorCtr="0"/>
          <a:lstStyle>
            <a:lvl1pPr algn="ctr">
              <a:defRPr sz="1050">
                <a:solidFill>
                  <a:schemeClr val="accent2"/>
                </a:solidFill>
              </a:defRPr>
            </a:lvl1pPr>
          </a:lstStyle>
          <a:p>
            <a:r>
              <a:rPr lang="da-DK"/>
              <a:t>Klik på ikon for at indsætte billede</a:t>
            </a:r>
          </a:p>
        </p:txBody>
      </p:sp>
      <p:sp>
        <p:nvSpPr>
          <p:cNvPr id="3" name="Pladsholder til dato 2"/>
          <p:cNvSpPr>
            <a:spLocks noGrp="1"/>
          </p:cNvSpPr>
          <p:nvPr>
            <p:ph type="dt" sz="half" idx="10"/>
          </p:nvPr>
        </p:nvSpPr>
        <p:spPr/>
        <p:txBody>
          <a:bodyPr/>
          <a:lstStyle/>
          <a:p>
            <a:r>
              <a:rPr lang="sv-SE"/>
              <a:t>26/03/2026</a:t>
            </a:r>
            <a:endParaRPr lang="da-DK"/>
          </a:p>
        </p:txBody>
      </p:sp>
      <p:sp>
        <p:nvSpPr>
          <p:cNvPr id="4" name="Pladsholder til sidefod 3" hidden="1"/>
          <p:cNvSpPr>
            <a:spLocks noGrp="1"/>
          </p:cNvSpPr>
          <p:nvPr>
            <p:ph type="ftr" sz="quarter" idx="11"/>
          </p:nvPr>
        </p:nvSpPr>
        <p:spPr/>
        <p:txBody>
          <a:bodyPr/>
          <a:lstStyle/>
          <a:p>
            <a:r>
              <a:rPr lang="en-US"/>
              <a:t>Stakeholder Forum Agenda - Classification: External</a:t>
            </a:r>
            <a:endParaRPr lang="da-DK"/>
          </a:p>
        </p:txBody>
      </p:sp>
      <p:sp>
        <p:nvSpPr>
          <p:cNvPr id="5" name="Pladsholder til diasnummer 4"/>
          <p:cNvSpPr>
            <a:spLocks noGrp="1"/>
          </p:cNvSpPr>
          <p:nvPr>
            <p:ph type="sldNum" sz="quarter" idx="12"/>
          </p:nvPr>
        </p:nvSpPr>
        <p:spPr/>
        <p:txBody>
          <a:bodyPr/>
          <a:lstStyle/>
          <a:p>
            <a:fld id="{667EC89C-17A0-4E64-A6D2-B825673CEEDF}" type="slidenum">
              <a:rPr lang="da-DK" smtClean="0"/>
              <a:pPr/>
              <a:t>‹#›</a:t>
            </a:fld>
            <a:endParaRPr lang="da-DK"/>
          </a:p>
        </p:txBody>
      </p:sp>
      <p:sp>
        <p:nvSpPr>
          <p:cNvPr id="10" name="Tekstboks 9"/>
          <p:cNvSpPr txBox="1"/>
          <p:nvPr userDrawn="1"/>
        </p:nvSpPr>
        <p:spPr>
          <a:xfrm>
            <a:off x="-1559468" y="0"/>
            <a:ext cx="1424664" cy="897564"/>
          </a:xfrm>
          <a:prstGeom prst="rect">
            <a:avLst/>
          </a:prstGeom>
          <a:noFill/>
        </p:spPr>
        <p:txBody>
          <a:bodyPr wrap="square" lIns="0" tIns="0" rIns="0" bIns="0" rtlCol="0">
            <a:noAutofit/>
          </a:bodyPr>
          <a:lstStyle/>
          <a:p>
            <a:pPr algn="r"/>
            <a:r>
              <a:rPr lang="da-DK" sz="675" b="1">
                <a:solidFill>
                  <a:schemeClr val="bg1">
                    <a:lumMod val="50000"/>
                  </a:schemeClr>
                </a:solidFill>
              </a:rPr>
              <a:t>Udskifte billeder:</a:t>
            </a:r>
          </a:p>
          <a:p>
            <a:pPr algn="r"/>
            <a:r>
              <a:rPr lang="da-DK" sz="675" b="0">
                <a:solidFill>
                  <a:schemeClr val="bg1">
                    <a:lumMod val="50000"/>
                  </a:schemeClr>
                </a:solidFill>
              </a:rPr>
              <a:t>Der er frit valg mellem 16 billeder. Se slides med flere billeder.</a:t>
            </a:r>
          </a:p>
          <a:p>
            <a:pPr algn="r"/>
            <a:endParaRPr lang="da-DK" sz="675" b="0">
              <a:solidFill>
                <a:schemeClr val="bg1">
                  <a:lumMod val="50000"/>
                </a:schemeClr>
              </a:solidFill>
            </a:endParaRPr>
          </a:p>
          <a:p>
            <a:pPr algn="r"/>
            <a:r>
              <a:rPr lang="da-DK" sz="675" b="1">
                <a:solidFill>
                  <a:schemeClr val="bg1">
                    <a:lumMod val="50000"/>
                  </a:schemeClr>
                </a:solidFill>
              </a:rPr>
              <a:t>Valg af layout:</a:t>
            </a:r>
          </a:p>
          <a:p>
            <a:pPr algn="r"/>
            <a:r>
              <a:rPr lang="da-DK" sz="675" b="0">
                <a:solidFill>
                  <a:schemeClr val="bg1">
                    <a:lumMod val="50000"/>
                  </a:schemeClr>
                </a:solidFill>
              </a:rPr>
              <a:t>Billeder kan stå til højre og venstre. Der kan også være 2 billeder ved siden af hinanden.</a:t>
            </a:r>
          </a:p>
          <a:p>
            <a:pPr algn="r"/>
            <a:endParaRPr lang="da-DK" sz="675" b="0">
              <a:solidFill>
                <a:schemeClr val="bg1">
                  <a:lumMod val="50000"/>
                </a:schemeClr>
              </a:solidFill>
            </a:endParaRPr>
          </a:p>
        </p:txBody>
      </p:sp>
      <p:grpSp>
        <p:nvGrpSpPr>
          <p:cNvPr id="17" name="Gruppe 16"/>
          <p:cNvGrpSpPr/>
          <p:nvPr userDrawn="1"/>
        </p:nvGrpSpPr>
        <p:grpSpPr>
          <a:xfrm>
            <a:off x="-1559468" y="1927800"/>
            <a:ext cx="1377179" cy="1616058"/>
            <a:chOff x="9252520" y="2570400"/>
            <a:chExt cx="1836000" cy="2154744"/>
          </a:xfrm>
        </p:grpSpPr>
        <p:sp>
          <p:nvSpPr>
            <p:cNvPr id="18" name="Tekstboks 17"/>
            <p:cNvSpPr txBox="1"/>
            <p:nvPr userDrawn="1"/>
          </p:nvSpPr>
          <p:spPr>
            <a:xfrm>
              <a:off x="9252520" y="2570400"/>
              <a:ext cx="1836000" cy="1866712"/>
            </a:xfrm>
            <a:prstGeom prst="rect">
              <a:avLst/>
            </a:prstGeom>
            <a:noFill/>
          </p:spPr>
          <p:txBody>
            <a:bodyPr wrap="square" lIns="0" tIns="0" rIns="0" bIns="0" rtlCol="0">
              <a:noAutofit/>
            </a:bodyPr>
            <a:lstStyle/>
            <a:p>
              <a:pPr algn="r"/>
              <a:r>
                <a:rPr lang="da-DK" sz="675" b="1" i="0" u="none" strike="noStrike" kern="1200" baseline="0" noProof="1">
                  <a:solidFill>
                    <a:schemeClr val="bg1">
                      <a:lumMod val="50000"/>
                    </a:schemeClr>
                  </a:solidFill>
                  <a:latin typeface="+mn-lt"/>
                  <a:ea typeface="+mn-ea"/>
                  <a:cs typeface="+mn-cs"/>
                </a:rPr>
                <a:t>Indsæt billede</a:t>
              </a:r>
            </a:p>
            <a:p>
              <a:pPr algn="r"/>
              <a:r>
                <a:rPr lang="da-DK" sz="675" b="1" i="0" u="none" strike="noStrike" kern="1200" baseline="0" noProof="1">
                  <a:solidFill>
                    <a:schemeClr val="bg1">
                      <a:lumMod val="50000"/>
                    </a:schemeClr>
                  </a:solidFill>
                  <a:latin typeface="+mn-lt"/>
                  <a:ea typeface="+mn-ea"/>
                  <a:cs typeface="+mn-cs"/>
                </a:rPr>
                <a:t>1. </a:t>
              </a:r>
              <a:r>
                <a:rPr lang="da-DK" sz="675" b="0" i="0" u="none" strike="noStrike" kern="1200" baseline="0" noProof="1">
                  <a:solidFill>
                    <a:schemeClr val="bg1">
                      <a:lumMod val="50000"/>
                    </a:schemeClr>
                  </a:solidFill>
                  <a:latin typeface="+mn-lt"/>
                  <a:ea typeface="+mn-ea"/>
                  <a:cs typeface="+mn-cs"/>
                </a:rPr>
                <a:t>Klik på det lille billede-indsættelsesikon i midten</a:t>
              </a:r>
            </a:p>
            <a:p>
              <a:pPr algn="r"/>
              <a:r>
                <a:rPr lang="da-DK" sz="675" b="0" i="0" u="none" strike="noStrike" kern="1200" baseline="0" noProof="1">
                  <a:solidFill>
                    <a:schemeClr val="bg1">
                      <a:lumMod val="50000"/>
                    </a:schemeClr>
                  </a:solidFill>
                  <a:latin typeface="+mn-lt"/>
                  <a:ea typeface="+mn-ea"/>
                  <a:cs typeface="+mn-cs"/>
                </a:rPr>
                <a:t>af pladsholderen</a:t>
              </a:r>
            </a:p>
            <a:p>
              <a:pPr algn="r"/>
              <a:r>
                <a:rPr lang="da-DK" sz="675" b="1" i="0" u="none" strike="noStrike" kern="1200" baseline="0" noProof="1">
                  <a:solidFill>
                    <a:schemeClr val="bg1">
                      <a:lumMod val="50000"/>
                    </a:schemeClr>
                  </a:solidFill>
                  <a:latin typeface="+mn-lt"/>
                  <a:ea typeface="+mn-ea"/>
                  <a:cs typeface="+mn-cs"/>
                </a:rPr>
                <a:t>2. </a:t>
              </a:r>
              <a:r>
                <a:rPr lang="da-DK" sz="675" b="0" i="0" u="none" strike="noStrike" kern="1200" baseline="0" noProof="1">
                  <a:solidFill>
                    <a:schemeClr val="bg1">
                      <a:lumMod val="50000"/>
                    </a:schemeClr>
                  </a:solidFill>
                  <a:latin typeface="+mn-lt"/>
                  <a:ea typeface="+mn-ea"/>
                  <a:cs typeface="+mn-cs"/>
                </a:rPr>
                <a:t>Indsæt det ønskede billede</a:t>
              </a:r>
            </a:p>
            <a:p>
              <a:pPr algn="r"/>
              <a:r>
                <a:rPr lang="da-DK" sz="675" b="1" i="0" u="none" strike="noStrike" kern="1200" baseline="0" noProof="1">
                  <a:solidFill>
                    <a:schemeClr val="bg1">
                      <a:lumMod val="50000"/>
                    </a:schemeClr>
                  </a:solidFill>
                  <a:latin typeface="+mn-lt"/>
                  <a:ea typeface="+mn-ea"/>
                  <a:cs typeface="+mn-cs"/>
                </a:rPr>
                <a:t>3. </a:t>
              </a:r>
              <a:r>
                <a:rPr lang="da-DK" sz="675" b="0" i="0" u="none" strike="noStrike" kern="1200" baseline="0" noProof="1">
                  <a:solidFill>
                    <a:schemeClr val="bg1">
                      <a:lumMod val="50000"/>
                    </a:schemeClr>
                  </a:solidFill>
                  <a:latin typeface="+mn-lt"/>
                  <a:ea typeface="+mn-ea"/>
                  <a:cs typeface="+mn-cs"/>
                </a:rPr>
                <a:t>Klik</a:t>
              </a:r>
              <a:r>
                <a:rPr lang="da-DK" sz="675" b="1" i="0" u="none" strike="noStrike" kern="1200" baseline="0" noProof="1">
                  <a:solidFill>
                    <a:schemeClr val="bg1">
                      <a:lumMod val="50000"/>
                    </a:schemeClr>
                  </a:solidFill>
                  <a:latin typeface="+mn-lt"/>
                  <a:ea typeface="+mn-ea"/>
                  <a:cs typeface="+mn-cs"/>
                </a:rPr>
                <a:t> Beskær </a:t>
              </a:r>
              <a:r>
                <a:rPr lang="da-DK" sz="675" b="0" i="0" u="none" strike="noStrike" kern="1200" baseline="0" noProof="1">
                  <a:solidFill>
                    <a:schemeClr val="bg1">
                      <a:lumMod val="50000"/>
                    </a:schemeClr>
                  </a:solidFill>
                  <a:latin typeface="+mn-lt"/>
                  <a:ea typeface="+mn-ea"/>
                  <a:cs typeface="+mn-cs"/>
                </a:rPr>
                <a:t>for at ændre</a:t>
              </a:r>
            </a:p>
            <a:p>
              <a:pPr algn="r"/>
              <a:r>
                <a:rPr lang="da-DK" sz="675" b="0" i="0" u="none" strike="noStrike" kern="1200" baseline="0" noProof="1">
                  <a:solidFill>
                    <a:schemeClr val="bg1">
                      <a:lumMod val="50000"/>
                    </a:schemeClr>
                  </a:solidFill>
                  <a:latin typeface="+mn-lt"/>
                  <a:ea typeface="+mn-ea"/>
                  <a:cs typeface="+mn-cs"/>
                </a:rPr>
                <a:t>billedets fokus/størrelse</a:t>
              </a:r>
            </a:p>
            <a:p>
              <a:pPr algn="r"/>
              <a:endParaRPr lang="da-DK" sz="675" b="1" i="0" u="none" strike="noStrike" kern="1200" baseline="0" noProof="1">
                <a:solidFill>
                  <a:schemeClr val="bg1">
                    <a:lumMod val="50000"/>
                  </a:schemeClr>
                </a:solidFill>
                <a:latin typeface="+mn-lt"/>
                <a:ea typeface="+mn-ea"/>
                <a:cs typeface="+mn-cs"/>
              </a:endParaRPr>
            </a:p>
            <a:p>
              <a:pPr algn="r"/>
              <a:endParaRPr lang="da-DK" sz="675" b="1" i="0" u="none" strike="noStrike" kern="1200" baseline="0" noProof="1">
                <a:solidFill>
                  <a:schemeClr val="bg1">
                    <a:lumMod val="50000"/>
                  </a:schemeClr>
                </a:solidFill>
                <a:latin typeface="+mn-lt"/>
                <a:ea typeface="+mn-ea"/>
                <a:cs typeface="+mn-cs"/>
              </a:endParaRPr>
            </a:p>
            <a:p>
              <a:pPr algn="r"/>
              <a:r>
                <a:rPr lang="da-DK" sz="675" b="1" i="0" u="none" strike="noStrike" kern="1200" baseline="0" noProof="1">
                  <a:solidFill>
                    <a:schemeClr val="bg1">
                      <a:lumMod val="50000"/>
                    </a:schemeClr>
                  </a:solidFill>
                  <a:latin typeface="+mn-lt"/>
                  <a:ea typeface="+mn-ea"/>
                  <a:cs typeface="+mn-cs"/>
                </a:rPr>
                <a:t>4. </a:t>
              </a:r>
              <a:r>
                <a:rPr lang="da-DK" sz="675" b="0" i="0" u="none" strike="noStrike" kern="1200" baseline="0" noProof="1">
                  <a:solidFill>
                    <a:schemeClr val="bg1">
                      <a:lumMod val="50000"/>
                    </a:schemeClr>
                  </a:solidFill>
                  <a:latin typeface="+mn-lt"/>
                  <a:ea typeface="+mn-ea"/>
                  <a:cs typeface="+mn-cs"/>
                </a:rPr>
                <a:t>Ønsker du at skalere billedet, så hold </a:t>
              </a:r>
              <a:r>
                <a:rPr lang="da-DK" sz="675" b="1" i="0" u="none" strike="noStrike" kern="1200" baseline="0" noProof="1">
                  <a:solidFill>
                    <a:schemeClr val="bg1">
                      <a:lumMod val="50000"/>
                    </a:schemeClr>
                  </a:solidFill>
                  <a:latin typeface="+mn-lt"/>
                  <a:ea typeface="+mn-ea"/>
                  <a:cs typeface="+mn-cs"/>
                </a:rPr>
                <a:t>SHIFT</a:t>
              </a:r>
              <a:r>
                <a:rPr lang="da-DK" sz="675" b="0" i="0" u="none" strike="noStrike" kern="1200" baseline="0" noProof="1">
                  <a:solidFill>
                    <a:schemeClr val="bg1">
                      <a:lumMod val="50000"/>
                    </a:schemeClr>
                  </a:solidFill>
                  <a:latin typeface="+mn-lt"/>
                  <a:ea typeface="+mn-ea"/>
                  <a:cs typeface="+mn-cs"/>
                </a:rPr>
                <a:t>-knappen nede, mens der trækkes i billedets hjørner</a:t>
              </a:r>
            </a:p>
            <a:p>
              <a:pPr algn="r"/>
              <a:endParaRPr lang="da-DK" sz="675" b="1" i="0" u="none" strike="noStrike" kern="1200" baseline="0" noProof="1">
                <a:solidFill>
                  <a:schemeClr val="bg1">
                    <a:lumMod val="50000"/>
                  </a:schemeClr>
                </a:solidFill>
                <a:latin typeface="+mn-lt"/>
                <a:ea typeface="+mn-ea"/>
                <a:cs typeface="+mn-cs"/>
              </a:endParaRPr>
            </a:p>
            <a:p>
              <a:pPr algn="r"/>
              <a:endParaRPr lang="da-DK" sz="675" b="1" i="0" u="none" strike="noStrike" kern="1200" baseline="0" noProof="1">
                <a:solidFill>
                  <a:schemeClr val="bg1">
                    <a:lumMod val="50000"/>
                  </a:schemeClr>
                </a:solidFill>
                <a:latin typeface="+mn-lt"/>
                <a:ea typeface="+mn-ea"/>
                <a:cs typeface="+mn-cs"/>
              </a:endParaRPr>
            </a:p>
          </p:txBody>
        </p:sp>
        <p:pic>
          <p:nvPicPr>
            <p:cNvPr id="19"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27537" y="3552224"/>
              <a:ext cx="251185" cy="2300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0" name="Gruppe 19"/>
            <p:cNvGrpSpPr/>
            <p:nvPr userDrawn="1"/>
          </p:nvGrpSpPr>
          <p:grpSpPr>
            <a:xfrm>
              <a:off x="10784755" y="4402493"/>
              <a:ext cx="291714" cy="322651"/>
              <a:chOff x="11016426" y="4378700"/>
              <a:chExt cx="343632" cy="380074"/>
            </a:xfrm>
          </p:grpSpPr>
          <p:pic>
            <p:nvPicPr>
              <p:cNvPr id="21"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1042558" y="4417462"/>
                <a:ext cx="317500" cy="3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Afrundet rektangel 21"/>
              <p:cNvSpPr/>
              <p:nvPr userDrawn="1"/>
            </p:nvSpPr>
            <p:spPr>
              <a:xfrm>
                <a:off x="11016426" y="4378700"/>
                <a:ext cx="227292" cy="182221"/>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sz="750"/>
              </a:p>
            </p:txBody>
          </p:sp>
        </p:grpSp>
      </p:grpSp>
    </p:spTree>
    <p:extLst>
      <p:ext uri="{BB962C8B-B14F-4D97-AF65-F5344CB8AC3E}">
        <p14:creationId xmlns:p14="http://schemas.microsoft.com/office/powerpoint/2010/main" val="226635079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kst og billede til ka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a-DK"/>
              <a:t>Klik for at indsætte overskrift i en eller to linjer</a:t>
            </a:r>
          </a:p>
        </p:txBody>
      </p:sp>
      <p:sp>
        <p:nvSpPr>
          <p:cNvPr id="8" name="Pladsholder til tekst 2"/>
          <p:cNvSpPr>
            <a:spLocks noGrp="1"/>
          </p:cNvSpPr>
          <p:nvPr>
            <p:ph type="body" sz="quarter" idx="13" hasCustomPrompt="1"/>
          </p:nvPr>
        </p:nvSpPr>
        <p:spPr>
          <a:xfrm>
            <a:off x="318641" y="1015607"/>
            <a:ext cx="4995650" cy="3483769"/>
          </a:xfrm>
        </p:spPr>
        <p:txBody>
          <a:bodyPr rIns="0"/>
          <a:lstStyle>
            <a:lvl1pPr>
              <a:defRPr/>
            </a:lvl1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p:txBody>
      </p:sp>
      <p:sp>
        <p:nvSpPr>
          <p:cNvPr id="9" name="Pladsholder til billede 3"/>
          <p:cNvSpPr>
            <a:spLocks noGrp="1"/>
          </p:cNvSpPr>
          <p:nvPr>
            <p:ph type="pic" sz="quarter" idx="14" hasCustomPrompt="1"/>
          </p:nvPr>
        </p:nvSpPr>
        <p:spPr>
          <a:xfrm>
            <a:off x="5767951" y="1014413"/>
            <a:ext cx="3375440" cy="4129088"/>
          </a:xfrm>
        </p:spPr>
        <p:txBody>
          <a:bodyPr tIns="432000" rIns="0" anchor="ctr" anchorCtr="0"/>
          <a:lstStyle>
            <a:lvl1pPr algn="ctr">
              <a:defRPr sz="1050">
                <a:solidFill>
                  <a:schemeClr val="accent2"/>
                </a:solidFill>
              </a:defRPr>
            </a:lvl1pPr>
          </a:lstStyle>
          <a:p>
            <a:r>
              <a:rPr lang="da-DK"/>
              <a:t>Klik på ikon for at indsætte billede</a:t>
            </a:r>
          </a:p>
        </p:txBody>
      </p:sp>
      <p:sp>
        <p:nvSpPr>
          <p:cNvPr id="3" name="Pladsholder til dato 2"/>
          <p:cNvSpPr>
            <a:spLocks noGrp="1"/>
          </p:cNvSpPr>
          <p:nvPr>
            <p:ph type="dt" sz="half" idx="10"/>
          </p:nvPr>
        </p:nvSpPr>
        <p:spPr/>
        <p:txBody>
          <a:bodyPr/>
          <a:lstStyle/>
          <a:p>
            <a:r>
              <a:rPr lang="sv-SE"/>
              <a:t>26/03/2026</a:t>
            </a:r>
            <a:endParaRPr lang="da-DK"/>
          </a:p>
        </p:txBody>
      </p:sp>
      <p:sp>
        <p:nvSpPr>
          <p:cNvPr id="4" name="Pladsholder til sidefod 3" hidden="1"/>
          <p:cNvSpPr>
            <a:spLocks noGrp="1"/>
          </p:cNvSpPr>
          <p:nvPr>
            <p:ph type="ftr" sz="quarter" idx="11"/>
          </p:nvPr>
        </p:nvSpPr>
        <p:spPr/>
        <p:txBody>
          <a:bodyPr/>
          <a:lstStyle/>
          <a:p>
            <a:r>
              <a:rPr lang="en-US"/>
              <a:t>Stakeholder Forum Agenda - Classification: External</a:t>
            </a:r>
            <a:endParaRPr lang="da-DK"/>
          </a:p>
        </p:txBody>
      </p:sp>
      <p:sp>
        <p:nvSpPr>
          <p:cNvPr id="5" name="Pladsholder til diasnummer 4"/>
          <p:cNvSpPr>
            <a:spLocks noGrp="1"/>
          </p:cNvSpPr>
          <p:nvPr>
            <p:ph type="sldNum" sz="quarter" idx="12"/>
          </p:nvPr>
        </p:nvSpPr>
        <p:spPr/>
        <p:txBody>
          <a:bodyPr/>
          <a:lstStyle/>
          <a:p>
            <a:fld id="{667EC89C-17A0-4E64-A6D2-B825673CEEDF}" type="slidenum">
              <a:rPr lang="da-DK" smtClean="0"/>
              <a:pPr/>
              <a:t>‹#›</a:t>
            </a:fld>
            <a:endParaRPr lang="da-DK"/>
          </a:p>
        </p:txBody>
      </p:sp>
      <p:sp>
        <p:nvSpPr>
          <p:cNvPr id="15" name="Tekstboks 14"/>
          <p:cNvSpPr txBox="1"/>
          <p:nvPr userDrawn="1"/>
        </p:nvSpPr>
        <p:spPr>
          <a:xfrm>
            <a:off x="9252522" y="0"/>
            <a:ext cx="1476965" cy="357504"/>
          </a:xfrm>
          <a:prstGeom prst="rect">
            <a:avLst/>
          </a:prstGeom>
          <a:noFill/>
        </p:spPr>
        <p:txBody>
          <a:bodyPr wrap="square" lIns="0" tIns="0" rIns="0" bIns="0" rtlCol="0">
            <a:noAutofit/>
          </a:bodyPr>
          <a:lstStyle/>
          <a:p>
            <a:pPr algn="l"/>
            <a:r>
              <a:rPr lang="da-DK" sz="675" b="1">
                <a:solidFill>
                  <a:schemeClr val="bg1">
                    <a:lumMod val="50000"/>
                  </a:schemeClr>
                </a:solidFill>
              </a:rPr>
              <a:t>Udskifte billeder:</a:t>
            </a:r>
          </a:p>
          <a:p>
            <a:pPr algn="l"/>
            <a:r>
              <a:rPr lang="da-DK" sz="675" b="0">
                <a:solidFill>
                  <a:schemeClr val="bg1">
                    <a:lumMod val="50000"/>
                  </a:schemeClr>
                </a:solidFill>
              </a:rPr>
              <a:t>Der er frit valg mellem 16 billeder. Se slides med flere billeder.</a:t>
            </a:r>
          </a:p>
        </p:txBody>
      </p:sp>
      <p:grpSp>
        <p:nvGrpSpPr>
          <p:cNvPr id="27" name="Gruppe 26"/>
          <p:cNvGrpSpPr/>
          <p:nvPr userDrawn="1"/>
        </p:nvGrpSpPr>
        <p:grpSpPr>
          <a:xfrm>
            <a:off x="-1215674" y="1015605"/>
            <a:ext cx="1107114" cy="1826177"/>
            <a:chOff x="-1620688" y="1354138"/>
            <a:chExt cx="1475960" cy="2434902"/>
          </a:xfrm>
        </p:grpSpPr>
        <p:sp>
          <p:nvSpPr>
            <p:cNvPr id="28" name="Tekstboks 27"/>
            <p:cNvSpPr txBox="1"/>
            <p:nvPr userDrawn="1"/>
          </p:nvSpPr>
          <p:spPr>
            <a:xfrm>
              <a:off x="-1620688" y="1354138"/>
              <a:ext cx="1475960" cy="2434902"/>
            </a:xfrm>
            <a:prstGeom prst="rect">
              <a:avLst/>
            </a:prstGeom>
            <a:noFill/>
          </p:spPr>
          <p:txBody>
            <a:bodyPr wrap="square" lIns="0" tIns="0" rIns="0" bIns="0" rtlCol="0">
              <a:noAutofit/>
            </a:bodyPr>
            <a:lstStyle/>
            <a:p>
              <a:pPr algn="r"/>
              <a:r>
                <a:rPr lang="da-DK" sz="675" b="1">
                  <a:solidFill>
                    <a:schemeClr val="bg1">
                      <a:lumMod val="50000"/>
                    </a:schemeClr>
                  </a:solidFill>
                </a:rPr>
                <a:t>Tekst-typografier</a:t>
              </a:r>
            </a:p>
            <a:p>
              <a:pPr algn="r"/>
              <a:r>
                <a:rPr lang="da-DK" sz="675" b="0">
                  <a:solidFill>
                    <a:schemeClr val="bg1">
                      <a:lumMod val="50000"/>
                    </a:schemeClr>
                  </a:solidFill>
                </a:rPr>
                <a:t>Brug </a:t>
              </a:r>
              <a:r>
                <a:rPr lang="da-DK" sz="675" b="1">
                  <a:solidFill>
                    <a:schemeClr val="bg1">
                      <a:lumMod val="50000"/>
                    </a:schemeClr>
                  </a:solidFill>
                </a:rPr>
                <a:t>TAB</a:t>
              </a:r>
              <a:r>
                <a:rPr lang="da-DK" sz="675" b="0">
                  <a:solidFill>
                    <a:schemeClr val="bg1">
                      <a:lumMod val="50000"/>
                    </a:schemeClr>
                  </a:solidFill>
                </a:rPr>
                <a:t> for at gå frem</a:t>
              </a:r>
            </a:p>
            <a:p>
              <a:pPr algn="r"/>
              <a:r>
                <a:rPr lang="da-DK" sz="675" b="0">
                  <a:solidFill>
                    <a:schemeClr val="bg1">
                      <a:lumMod val="50000"/>
                    </a:schemeClr>
                  </a:solidFill>
                </a:rPr>
                <a:t>i tekst-niveauer</a:t>
              </a:r>
            </a:p>
            <a:p>
              <a:pPr algn="r"/>
              <a:endParaRPr lang="da-DK" sz="675" b="0">
                <a:solidFill>
                  <a:schemeClr val="bg1">
                    <a:lumMod val="50000"/>
                  </a:schemeClr>
                </a:solidFill>
              </a:endParaRPr>
            </a:p>
            <a:p>
              <a:pPr algn="l"/>
              <a:r>
                <a:rPr lang="da-DK" sz="675" b="0">
                  <a:solidFill>
                    <a:schemeClr val="bg1">
                      <a:lumMod val="50000"/>
                    </a:schemeClr>
                  </a:solidFill>
                </a:rPr>
                <a:t>Klik for at indsætte tekst</a:t>
              </a:r>
            </a:p>
            <a:p>
              <a:pPr marL="80992" indent="-80992" algn="l">
                <a:buFont typeface="Arial" panose="020B0604020202020204" pitchFamily="34" charset="0"/>
                <a:buChar char="•"/>
              </a:pPr>
              <a:r>
                <a:rPr lang="da-DK" sz="675" b="0">
                  <a:solidFill>
                    <a:schemeClr val="bg1">
                      <a:lumMod val="50000"/>
                    </a:schemeClr>
                  </a:solidFill>
                </a:rPr>
                <a:t>Andet niveau</a:t>
              </a:r>
            </a:p>
            <a:p>
              <a:pPr marL="215978" indent="-80992" algn="l">
                <a:buFont typeface="Arial" panose="020B0604020202020204" pitchFamily="34" charset="0"/>
                <a:buChar char="•"/>
              </a:pPr>
              <a:r>
                <a:rPr lang="da-DK" sz="600" b="0">
                  <a:solidFill>
                    <a:schemeClr val="bg1">
                      <a:lumMod val="50000"/>
                    </a:schemeClr>
                  </a:solidFill>
                </a:rPr>
                <a:t>Tredje niveau</a:t>
              </a:r>
            </a:p>
            <a:p>
              <a:pPr marL="350965" indent="-80992" algn="l">
                <a:buFont typeface="Arial" panose="020B0604020202020204" pitchFamily="34" charset="0"/>
                <a:buChar char="•"/>
              </a:pPr>
              <a:r>
                <a:rPr lang="da-DK" sz="450" b="0">
                  <a:solidFill>
                    <a:schemeClr val="bg1">
                      <a:lumMod val="50000"/>
                    </a:schemeClr>
                  </a:solidFill>
                </a:rPr>
                <a:t>Fjerde niveau</a:t>
              </a:r>
            </a:p>
            <a:p>
              <a:pPr marL="458954" indent="-80992" algn="l">
                <a:buFont typeface="Arial" panose="020B0604020202020204" pitchFamily="34" charset="0"/>
                <a:buChar char="•"/>
              </a:pPr>
              <a:r>
                <a:rPr lang="da-DK" sz="450" b="0">
                  <a:solidFill>
                    <a:schemeClr val="bg1">
                      <a:lumMod val="50000"/>
                    </a:schemeClr>
                  </a:solidFill>
                </a:rPr>
                <a:t>Femte niveau</a:t>
              </a:r>
            </a:p>
            <a:p>
              <a:pPr algn="r"/>
              <a:endParaRPr lang="da-DK" sz="675" b="0">
                <a:solidFill>
                  <a:schemeClr val="bg1">
                    <a:lumMod val="50000"/>
                  </a:schemeClr>
                </a:solidFill>
              </a:endParaRPr>
            </a:p>
            <a:p>
              <a:pPr algn="r"/>
              <a:r>
                <a:rPr lang="da-DK" sz="675" b="0">
                  <a:solidFill>
                    <a:schemeClr val="bg1">
                      <a:lumMod val="50000"/>
                    </a:schemeClr>
                  </a:solidFill>
                </a:rPr>
                <a:t>For at gå tilbage i tekst-niveauer,</a:t>
              </a:r>
            </a:p>
            <a:p>
              <a:pPr algn="r"/>
              <a:r>
                <a:rPr lang="da-DK" sz="675" b="0">
                  <a:solidFill>
                    <a:schemeClr val="bg1">
                      <a:lumMod val="50000"/>
                    </a:schemeClr>
                  </a:solidFill>
                </a:rPr>
                <a:t>brug </a:t>
              </a:r>
              <a:r>
                <a:rPr lang="da-DK" sz="675" b="1">
                  <a:solidFill>
                    <a:schemeClr val="bg1">
                      <a:lumMod val="50000"/>
                    </a:schemeClr>
                  </a:solidFill>
                </a:rPr>
                <a:t>SHIFT + TAB</a:t>
              </a:r>
            </a:p>
            <a:p>
              <a:pPr algn="r"/>
              <a:endParaRPr lang="da-DK" sz="675" b="0">
                <a:solidFill>
                  <a:schemeClr val="bg1">
                    <a:lumMod val="50000"/>
                  </a:schemeClr>
                </a:solidFill>
              </a:endParaRPr>
            </a:p>
            <a:p>
              <a:pPr algn="r"/>
              <a:endParaRPr lang="da-DK" sz="675" b="0">
                <a:solidFill>
                  <a:schemeClr val="bg1">
                    <a:lumMod val="50000"/>
                  </a:schemeClr>
                </a:solidFill>
              </a:endParaRPr>
            </a:p>
            <a:p>
              <a:pPr algn="r"/>
              <a:r>
                <a:rPr lang="da-DK" sz="675" b="0">
                  <a:solidFill>
                    <a:schemeClr val="bg1">
                      <a:lumMod val="50000"/>
                    </a:schemeClr>
                  </a:solidFill>
                </a:rPr>
                <a:t>Alternativt kan</a:t>
              </a:r>
            </a:p>
            <a:p>
              <a:pPr algn="r"/>
              <a:r>
                <a:rPr lang="da-DK" sz="675" b="1">
                  <a:solidFill>
                    <a:schemeClr val="bg1">
                      <a:lumMod val="50000"/>
                    </a:schemeClr>
                  </a:solidFill>
                </a:rPr>
                <a:t>Forøg og Formindsk </a:t>
              </a:r>
            </a:p>
            <a:p>
              <a:pPr algn="r"/>
              <a:r>
                <a:rPr lang="da-DK" sz="675" b="0">
                  <a:solidFill>
                    <a:schemeClr val="bg1">
                      <a:lumMod val="50000"/>
                    </a:schemeClr>
                  </a:solidFill>
                </a:rPr>
                <a:t>listeniveau bruges</a:t>
              </a:r>
            </a:p>
          </p:txBody>
        </p:sp>
        <p:grpSp>
          <p:nvGrpSpPr>
            <p:cNvPr id="29" name="Gruppe 28"/>
            <p:cNvGrpSpPr/>
            <p:nvPr userDrawn="1"/>
          </p:nvGrpSpPr>
          <p:grpSpPr>
            <a:xfrm>
              <a:off x="-503503" y="3048030"/>
              <a:ext cx="358775" cy="236537"/>
              <a:chOff x="-503503" y="3171825"/>
              <a:chExt cx="358775" cy="236537"/>
            </a:xfrm>
          </p:grpSpPr>
          <p:pic>
            <p:nvPicPr>
              <p:cNvPr id="3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3503" y="3171825"/>
                <a:ext cx="358775" cy="2365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1" name="Afrundet rektangel 30"/>
              <p:cNvSpPr/>
              <p:nvPr userDrawn="1"/>
            </p:nvSpPr>
            <p:spPr>
              <a:xfrm>
                <a:off x="-503503" y="3171825"/>
                <a:ext cx="179387" cy="236537"/>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sz="750"/>
              </a:p>
            </p:txBody>
          </p:sp>
        </p:grpSp>
      </p:grpSp>
      <p:grpSp>
        <p:nvGrpSpPr>
          <p:cNvPr id="32" name="Gruppe 31"/>
          <p:cNvGrpSpPr/>
          <p:nvPr userDrawn="1"/>
        </p:nvGrpSpPr>
        <p:grpSpPr>
          <a:xfrm>
            <a:off x="9249355" y="1927800"/>
            <a:ext cx="1377179" cy="1616058"/>
            <a:chOff x="9252520" y="2570400"/>
            <a:chExt cx="1836000" cy="2154744"/>
          </a:xfrm>
        </p:grpSpPr>
        <p:sp>
          <p:nvSpPr>
            <p:cNvPr id="33" name="Tekstboks 32"/>
            <p:cNvSpPr txBox="1"/>
            <p:nvPr userDrawn="1"/>
          </p:nvSpPr>
          <p:spPr>
            <a:xfrm>
              <a:off x="9252520" y="2570400"/>
              <a:ext cx="1836000" cy="1866712"/>
            </a:xfrm>
            <a:prstGeom prst="rect">
              <a:avLst/>
            </a:prstGeom>
            <a:noFill/>
          </p:spPr>
          <p:txBody>
            <a:bodyPr wrap="square" lIns="0" tIns="0" rIns="0" bIns="0" rtlCol="0">
              <a:noAutofit/>
            </a:bodyPr>
            <a:lstStyle/>
            <a:p>
              <a:pPr algn="l"/>
              <a:r>
                <a:rPr lang="da-DK" sz="675" b="1" i="0" u="none" strike="noStrike" kern="1200" baseline="0" noProof="1">
                  <a:solidFill>
                    <a:schemeClr val="bg1">
                      <a:lumMod val="50000"/>
                    </a:schemeClr>
                  </a:solidFill>
                  <a:latin typeface="+mn-lt"/>
                  <a:ea typeface="+mn-ea"/>
                  <a:cs typeface="+mn-cs"/>
                </a:rPr>
                <a:t>Indsæt billede</a:t>
              </a:r>
            </a:p>
            <a:p>
              <a:pPr algn="l"/>
              <a:r>
                <a:rPr lang="da-DK" sz="675" b="1" i="0" u="none" strike="noStrike" kern="1200" baseline="0" noProof="1">
                  <a:solidFill>
                    <a:schemeClr val="bg1">
                      <a:lumMod val="50000"/>
                    </a:schemeClr>
                  </a:solidFill>
                  <a:latin typeface="+mn-lt"/>
                  <a:ea typeface="+mn-ea"/>
                  <a:cs typeface="+mn-cs"/>
                </a:rPr>
                <a:t>1. </a:t>
              </a:r>
              <a:r>
                <a:rPr lang="da-DK" sz="675" b="0" i="0" u="none" strike="noStrike" kern="1200" baseline="0" noProof="1">
                  <a:solidFill>
                    <a:schemeClr val="bg1">
                      <a:lumMod val="50000"/>
                    </a:schemeClr>
                  </a:solidFill>
                  <a:latin typeface="+mn-lt"/>
                  <a:ea typeface="+mn-ea"/>
                  <a:cs typeface="+mn-cs"/>
                </a:rPr>
                <a:t>Klik på det lille billede-indsættelsesikon i midten</a:t>
              </a:r>
            </a:p>
            <a:p>
              <a:pPr algn="l"/>
              <a:r>
                <a:rPr lang="da-DK" sz="675" b="0" i="0" u="none" strike="noStrike" kern="1200" baseline="0" noProof="1">
                  <a:solidFill>
                    <a:schemeClr val="bg1">
                      <a:lumMod val="50000"/>
                    </a:schemeClr>
                  </a:solidFill>
                  <a:latin typeface="+mn-lt"/>
                  <a:ea typeface="+mn-ea"/>
                  <a:cs typeface="+mn-cs"/>
                </a:rPr>
                <a:t>af pladsholderen</a:t>
              </a:r>
            </a:p>
            <a:p>
              <a:pPr algn="l"/>
              <a:r>
                <a:rPr lang="da-DK" sz="675" b="1" i="0" u="none" strike="noStrike" kern="1200" baseline="0" noProof="1">
                  <a:solidFill>
                    <a:schemeClr val="bg1">
                      <a:lumMod val="50000"/>
                    </a:schemeClr>
                  </a:solidFill>
                  <a:latin typeface="+mn-lt"/>
                  <a:ea typeface="+mn-ea"/>
                  <a:cs typeface="+mn-cs"/>
                </a:rPr>
                <a:t>2. </a:t>
              </a:r>
              <a:r>
                <a:rPr lang="da-DK" sz="675" b="0" i="0" u="none" strike="noStrike" kern="1200" baseline="0" noProof="1">
                  <a:solidFill>
                    <a:schemeClr val="bg1">
                      <a:lumMod val="50000"/>
                    </a:schemeClr>
                  </a:solidFill>
                  <a:latin typeface="+mn-lt"/>
                  <a:ea typeface="+mn-ea"/>
                  <a:cs typeface="+mn-cs"/>
                </a:rPr>
                <a:t>Indsæt det ønskede billede</a:t>
              </a:r>
            </a:p>
            <a:p>
              <a:pPr algn="l"/>
              <a:r>
                <a:rPr lang="da-DK" sz="675" b="1" i="0" u="none" strike="noStrike" kern="1200" baseline="0" noProof="1">
                  <a:solidFill>
                    <a:schemeClr val="bg1">
                      <a:lumMod val="50000"/>
                    </a:schemeClr>
                  </a:solidFill>
                  <a:latin typeface="+mn-lt"/>
                  <a:ea typeface="+mn-ea"/>
                  <a:cs typeface="+mn-cs"/>
                </a:rPr>
                <a:t>3. </a:t>
              </a:r>
              <a:r>
                <a:rPr lang="da-DK" sz="675" b="0" i="0" u="none" strike="noStrike" kern="1200" baseline="0" noProof="1">
                  <a:solidFill>
                    <a:schemeClr val="bg1">
                      <a:lumMod val="50000"/>
                    </a:schemeClr>
                  </a:solidFill>
                  <a:latin typeface="+mn-lt"/>
                  <a:ea typeface="+mn-ea"/>
                  <a:cs typeface="+mn-cs"/>
                </a:rPr>
                <a:t>Klik</a:t>
              </a:r>
              <a:r>
                <a:rPr lang="da-DK" sz="675" b="1" i="0" u="none" strike="noStrike" kern="1200" baseline="0" noProof="1">
                  <a:solidFill>
                    <a:schemeClr val="bg1">
                      <a:lumMod val="50000"/>
                    </a:schemeClr>
                  </a:solidFill>
                  <a:latin typeface="+mn-lt"/>
                  <a:ea typeface="+mn-ea"/>
                  <a:cs typeface="+mn-cs"/>
                </a:rPr>
                <a:t> Beskær </a:t>
              </a:r>
              <a:r>
                <a:rPr lang="da-DK" sz="675" b="0" i="0" u="none" strike="noStrike" kern="1200" baseline="0" noProof="1">
                  <a:solidFill>
                    <a:schemeClr val="bg1">
                      <a:lumMod val="50000"/>
                    </a:schemeClr>
                  </a:solidFill>
                  <a:latin typeface="+mn-lt"/>
                  <a:ea typeface="+mn-ea"/>
                  <a:cs typeface="+mn-cs"/>
                </a:rPr>
                <a:t>for at ændre</a:t>
              </a:r>
            </a:p>
            <a:p>
              <a:pPr algn="l"/>
              <a:r>
                <a:rPr lang="da-DK" sz="675" b="0" i="0" u="none" strike="noStrike" kern="1200" baseline="0" noProof="1">
                  <a:solidFill>
                    <a:schemeClr val="bg1">
                      <a:lumMod val="50000"/>
                    </a:schemeClr>
                  </a:solidFill>
                  <a:latin typeface="+mn-lt"/>
                  <a:ea typeface="+mn-ea"/>
                  <a:cs typeface="+mn-cs"/>
                </a:rPr>
                <a:t>billedets fokus/størrelse</a:t>
              </a:r>
            </a:p>
            <a:p>
              <a:pPr algn="l"/>
              <a:endParaRPr lang="da-DK" sz="675" b="1" i="0" u="none" strike="noStrike" kern="1200" baseline="0" noProof="1">
                <a:solidFill>
                  <a:schemeClr val="bg1">
                    <a:lumMod val="50000"/>
                  </a:schemeClr>
                </a:solidFill>
                <a:latin typeface="+mn-lt"/>
                <a:ea typeface="+mn-ea"/>
                <a:cs typeface="+mn-cs"/>
              </a:endParaRPr>
            </a:p>
            <a:p>
              <a:pPr algn="l"/>
              <a:endParaRPr lang="da-DK" sz="675" b="1" i="0" u="none" strike="noStrike" kern="1200" baseline="0" noProof="1">
                <a:solidFill>
                  <a:schemeClr val="bg1">
                    <a:lumMod val="50000"/>
                  </a:schemeClr>
                </a:solidFill>
                <a:latin typeface="+mn-lt"/>
                <a:ea typeface="+mn-ea"/>
                <a:cs typeface="+mn-cs"/>
              </a:endParaRPr>
            </a:p>
            <a:p>
              <a:pPr algn="l"/>
              <a:r>
                <a:rPr lang="da-DK" sz="675" b="1" i="0" u="none" strike="noStrike" kern="1200" baseline="0" noProof="1">
                  <a:solidFill>
                    <a:schemeClr val="bg1">
                      <a:lumMod val="50000"/>
                    </a:schemeClr>
                  </a:solidFill>
                  <a:latin typeface="+mn-lt"/>
                  <a:ea typeface="+mn-ea"/>
                  <a:cs typeface="+mn-cs"/>
                </a:rPr>
                <a:t>4. </a:t>
              </a:r>
              <a:r>
                <a:rPr lang="da-DK" sz="675" b="0" i="0" u="none" strike="noStrike" kern="1200" baseline="0" noProof="1">
                  <a:solidFill>
                    <a:schemeClr val="bg1">
                      <a:lumMod val="50000"/>
                    </a:schemeClr>
                  </a:solidFill>
                  <a:latin typeface="+mn-lt"/>
                  <a:ea typeface="+mn-ea"/>
                  <a:cs typeface="+mn-cs"/>
                </a:rPr>
                <a:t>Ønsker du at skalere billedet, så hold </a:t>
              </a:r>
              <a:r>
                <a:rPr lang="da-DK" sz="675" b="1" i="0" u="none" strike="noStrike" kern="1200" baseline="0" noProof="1">
                  <a:solidFill>
                    <a:schemeClr val="bg1">
                      <a:lumMod val="50000"/>
                    </a:schemeClr>
                  </a:solidFill>
                  <a:latin typeface="+mn-lt"/>
                  <a:ea typeface="+mn-ea"/>
                  <a:cs typeface="+mn-cs"/>
                </a:rPr>
                <a:t>SHIFT</a:t>
              </a:r>
              <a:r>
                <a:rPr lang="da-DK" sz="675" b="0" i="0" u="none" strike="noStrike" kern="1200" baseline="0" noProof="1">
                  <a:solidFill>
                    <a:schemeClr val="bg1">
                      <a:lumMod val="50000"/>
                    </a:schemeClr>
                  </a:solidFill>
                  <a:latin typeface="+mn-lt"/>
                  <a:ea typeface="+mn-ea"/>
                  <a:cs typeface="+mn-cs"/>
                </a:rPr>
                <a:t>-knappen nede, mens der trækkes i billedets hjørner</a:t>
              </a:r>
            </a:p>
            <a:p>
              <a:pPr algn="l"/>
              <a:endParaRPr lang="da-DK" sz="675" b="1" i="0" u="none" strike="noStrike" kern="1200" baseline="0" noProof="1">
                <a:solidFill>
                  <a:schemeClr val="bg1">
                    <a:lumMod val="50000"/>
                  </a:schemeClr>
                </a:solidFill>
                <a:latin typeface="+mn-lt"/>
                <a:ea typeface="+mn-ea"/>
                <a:cs typeface="+mn-cs"/>
              </a:endParaRPr>
            </a:p>
            <a:p>
              <a:pPr algn="l"/>
              <a:endParaRPr lang="da-DK" sz="675" b="1" i="0" u="none" strike="noStrike" kern="1200" baseline="0" noProof="1">
                <a:solidFill>
                  <a:schemeClr val="bg1">
                    <a:lumMod val="50000"/>
                  </a:schemeClr>
                </a:solidFill>
                <a:latin typeface="+mn-lt"/>
                <a:ea typeface="+mn-ea"/>
                <a:cs typeface="+mn-cs"/>
              </a:endParaRPr>
            </a:p>
          </p:txBody>
        </p:sp>
        <p:pic>
          <p:nvPicPr>
            <p:cNvPr id="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265574" y="3552224"/>
              <a:ext cx="251185" cy="2300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35" name="Gruppe 34"/>
            <p:cNvGrpSpPr/>
            <p:nvPr userDrawn="1"/>
          </p:nvGrpSpPr>
          <p:grpSpPr>
            <a:xfrm>
              <a:off x="9258729" y="4402493"/>
              <a:ext cx="291716" cy="322651"/>
              <a:chOff x="9218790" y="4378700"/>
              <a:chExt cx="343634" cy="380074"/>
            </a:xfrm>
          </p:grpSpPr>
          <p:pic>
            <p:nvPicPr>
              <p:cNvPr id="36"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244924" y="4417462"/>
                <a:ext cx="317500" cy="3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 name="Afrundet rektangel 36"/>
              <p:cNvSpPr/>
              <p:nvPr userDrawn="1"/>
            </p:nvSpPr>
            <p:spPr>
              <a:xfrm>
                <a:off x="9218790" y="4378700"/>
                <a:ext cx="227291" cy="182221"/>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sz="750"/>
              </a:p>
            </p:txBody>
          </p:sp>
        </p:grpSp>
      </p:grpSp>
    </p:spTree>
    <p:extLst>
      <p:ext uri="{BB962C8B-B14F-4D97-AF65-F5344CB8AC3E}">
        <p14:creationId xmlns:p14="http://schemas.microsoft.com/office/powerpoint/2010/main" val="85160510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killeblad mørk">
    <p:spTree>
      <p:nvGrpSpPr>
        <p:cNvPr id="1" name=""/>
        <p:cNvGrpSpPr/>
        <p:nvPr/>
      </p:nvGrpSpPr>
      <p:grpSpPr>
        <a:xfrm>
          <a:off x="0" y="0"/>
          <a:ext cx="0" cy="0"/>
          <a:chOff x="0" y="0"/>
          <a:chExt cx="0" cy="0"/>
        </a:xfrm>
      </p:grpSpPr>
      <p:sp>
        <p:nvSpPr>
          <p:cNvPr id="6" name="Baggrund"/>
          <p:cNvSpPr/>
          <p:nvPr userDrawn="1"/>
        </p:nvSpPr>
        <p:spPr bwMode="auto">
          <a:xfrm>
            <a:off x="2" y="0"/>
            <a:ext cx="9144000" cy="5143500"/>
          </a:xfrm>
          <a:prstGeom prst="rect">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none" lIns="68571" tIns="34286" rIns="68571" bIns="34286" numCol="1" spcCol="0" rtlCol="0" fromWordArt="0" anchor="ctr" anchorCtr="0" forceAA="0" compatLnSpc="1">
            <a:prstTxWarp prst="textNoShape">
              <a:avLst/>
            </a:prstTxWarp>
            <a:noAutofit/>
          </a:bodyPr>
          <a:lstStyle/>
          <a:p>
            <a:pPr marL="0" marR="0" indent="0" algn="ctr" defTabSz="685732" rtl="0" eaLnBrk="1" fontAlgn="base" latinLnBrk="0" hangingPunct="1">
              <a:lnSpc>
                <a:spcPct val="100000"/>
              </a:lnSpc>
              <a:spcBef>
                <a:spcPct val="0"/>
              </a:spcBef>
              <a:spcAft>
                <a:spcPct val="0"/>
              </a:spcAft>
              <a:buClrTx/>
              <a:buSzTx/>
              <a:buFontTx/>
              <a:buNone/>
              <a:tabLst/>
            </a:pPr>
            <a:endParaRPr kumimoji="0" lang="da-DK" sz="1650" b="0" i="0" u="none" strike="noStrike" cap="none" normalizeH="0" baseline="0">
              <a:ln>
                <a:noFill/>
              </a:ln>
              <a:solidFill>
                <a:schemeClr val="tx2"/>
              </a:solidFill>
              <a:effectLst/>
              <a:latin typeface="+mn-lt"/>
            </a:endParaRPr>
          </a:p>
        </p:txBody>
      </p:sp>
      <p:sp>
        <p:nvSpPr>
          <p:cNvPr id="2" name="Titel 1"/>
          <p:cNvSpPr>
            <a:spLocks noGrp="1"/>
          </p:cNvSpPr>
          <p:nvPr>
            <p:ph type="title" hasCustomPrompt="1"/>
          </p:nvPr>
        </p:nvSpPr>
        <p:spPr>
          <a:xfrm>
            <a:off x="318641" y="1015604"/>
            <a:ext cx="8506107" cy="1017900"/>
          </a:xfrm>
        </p:spPr>
        <p:txBody>
          <a:bodyPr rIns="2880000"/>
          <a:lstStyle>
            <a:lvl1pPr>
              <a:defRPr>
                <a:solidFill>
                  <a:schemeClr val="bg1"/>
                </a:solidFill>
              </a:defRPr>
            </a:lvl1pPr>
          </a:lstStyle>
          <a:p>
            <a:r>
              <a:rPr lang="da-DK"/>
              <a:t>Klik for at indsætte overskrift i en, to eller tre linjer</a:t>
            </a:r>
          </a:p>
        </p:txBody>
      </p:sp>
      <p:sp>
        <p:nvSpPr>
          <p:cNvPr id="3" name="Pladsholder til dato 2" hidden="1"/>
          <p:cNvSpPr>
            <a:spLocks noGrp="1"/>
          </p:cNvSpPr>
          <p:nvPr>
            <p:ph type="dt" sz="half" idx="10"/>
          </p:nvPr>
        </p:nvSpPr>
        <p:spPr>
          <a:xfrm>
            <a:off x="6706802" y="5887746"/>
            <a:ext cx="2012400" cy="118800"/>
          </a:xfrm>
        </p:spPr>
        <p:txBody>
          <a:bodyPr/>
          <a:lstStyle>
            <a:lvl1pPr>
              <a:defRPr sz="100">
                <a:solidFill>
                  <a:schemeClr val="bg1">
                    <a:lumMod val="75000"/>
                  </a:schemeClr>
                </a:solidFill>
              </a:defRPr>
            </a:lvl1pPr>
          </a:lstStyle>
          <a:p>
            <a:r>
              <a:rPr lang="sv-SE"/>
              <a:t>26/03/2026</a:t>
            </a:r>
            <a:endParaRPr lang="da-DK"/>
          </a:p>
        </p:txBody>
      </p:sp>
      <p:sp>
        <p:nvSpPr>
          <p:cNvPr id="4" name="Pladsholder til sidefod 3" hidden="1"/>
          <p:cNvSpPr>
            <a:spLocks noGrp="1"/>
          </p:cNvSpPr>
          <p:nvPr>
            <p:ph type="ftr" sz="quarter" idx="11"/>
          </p:nvPr>
        </p:nvSpPr>
        <p:spPr/>
        <p:txBody>
          <a:bodyPr/>
          <a:lstStyle/>
          <a:p>
            <a:r>
              <a:rPr lang="en-US"/>
              <a:t>Stakeholder Forum Agenda - Classification: External</a:t>
            </a:r>
            <a:endParaRPr lang="da-DK"/>
          </a:p>
        </p:txBody>
      </p:sp>
      <p:sp>
        <p:nvSpPr>
          <p:cNvPr id="5" name="Pladsholder til diasnummer 4" hidden="1"/>
          <p:cNvSpPr>
            <a:spLocks noGrp="1"/>
          </p:cNvSpPr>
          <p:nvPr>
            <p:ph type="sldNum" sz="quarter" idx="12"/>
          </p:nvPr>
        </p:nvSpPr>
        <p:spPr>
          <a:xfrm>
            <a:off x="6706802" y="6001146"/>
            <a:ext cx="2012400" cy="135000"/>
          </a:xfrm>
        </p:spPr>
        <p:txBody>
          <a:bodyPr/>
          <a:lstStyle>
            <a:lvl1pPr>
              <a:defRPr sz="100">
                <a:solidFill>
                  <a:schemeClr val="bg1">
                    <a:lumMod val="75000"/>
                  </a:schemeClr>
                </a:solidFill>
              </a:defRPr>
            </a:lvl1pPr>
          </a:lstStyle>
          <a:p>
            <a:fld id="{667EC89C-17A0-4E64-A6D2-B825673CEEDF}" type="slidenum">
              <a:rPr lang="da-DK" smtClean="0"/>
              <a:pPr/>
              <a:t>‹#›</a:t>
            </a:fld>
            <a:endParaRPr lang="da-DK"/>
          </a:p>
        </p:txBody>
      </p:sp>
      <p:sp>
        <p:nvSpPr>
          <p:cNvPr id="14" name="Tekstboks 13"/>
          <p:cNvSpPr txBox="1"/>
          <p:nvPr userDrawn="1"/>
        </p:nvSpPr>
        <p:spPr>
          <a:xfrm>
            <a:off x="-1423445" y="0"/>
            <a:ext cx="1288643" cy="519522"/>
          </a:xfrm>
          <a:prstGeom prst="rect">
            <a:avLst/>
          </a:prstGeom>
          <a:noFill/>
        </p:spPr>
        <p:txBody>
          <a:bodyPr wrap="square" lIns="0" tIns="0" rIns="0" bIns="0" rtlCol="0">
            <a:noAutofit/>
          </a:bodyPr>
          <a:lstStyle/>
          <a:p>
            <a:pPr algn="r"/>
            <a:r>
              <a:rPr lang="da-DK" sz="675" b="1">
                <a:solidFill>
                  <a:schemeClr val="bg1">
                    <a:lumMod val="50000"/>
                  </a:schemeClr>
                </a:solidFill>
              </a:rPr>
              <a:t>Skilleblad:</a:t>
            </a:r>
          </a:p>
          <a:p>
            <a:pPr algn="r"/>
            <a:r>
              <a:rPr lang="da-DK" sz="675" b="0">
                <a:solidFill>
                  <a:schemeClr val="bg1">
                    <a:lumMod val="50000"/>
                  </a:schemeClr>
                </a:solidFill>
              </a:rPr>
              <a:t>Denne farve er mest egnet til skærm eller projektor</a:t>
            </a:r>
          </a:p>
          <a:p>
            <a:pPr algn="r"/>
            <a:endParaRPr lang="da-DK" sz="675" b="0">
              <a:solidFill>
                <a:schemeClr val="bg1">
                  <a:lumMod val="50000"/>
                </a:schemeClr>
              </a:solidFill>
            </a:endParaRPr>
          </a:p>
          <a:p>
            <a:pPr algn="r"/>
            <a:r>
              <a:rPr lang="da-DK" sz="675" b="0">
                <a:solidFill>
                  <a:schemeClr val="bg1">
                    <a:lumMod val="50000"/>
                  </a:schemeClr>
                </a:solidFill>
              </a:rPr>
              <a:t>Underpunkter valgfri</a:t>
            </a:r>
          </a:p>
        </p:txBody>
      </p:sp>
      <p:sp>
        <p:nvSpPr>
          <p:cNvPr id="17" name="Pladsholder til tekst 16"/>
          <p:cNvSpPr>
            <a:spLocks noGrp="1"/>
          </p:cNvSpPr>
          <p:nvPr>
            <p:ph type="body" sz="quarter" idx="14" hasCustomPrompt="1"/>
          </p:nvPr>
        </p:nvSpPr>
        <p:spPr>
          <a:xfrm>
            <a:off x="318641" y="2430000"/>
            <a:ext cx="8506107" cy="1576800"/>
          </a:xfrm>
        </p:spPr>
        <p:txBody>
          <a:bodyPr tIns="0" rIns="2880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p:txBody>
      </p:sp>
      <p:pic>
        <p:nvPicPr>
          <p:cNvPr id="15" name="Logo hvid"/>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1562" y="4533088"/>
            <a:ext cx="1141768" cy="475414"/>
          </a:xfrm>
          <a:prstGeom prst="rect">
            <a:avLst/>
          </a:prstGeom>
        </p:spPr>
      </p:pic>
      <p:grpSp>
        <p:nvGrpSpPr>
          <p:cNvPr id="16" name="Gruppe 15"/>
          <p:cNvGrpSpPr/>
          <p:nvPr userDrawn="1"/>
        </p:nvGrpSpPr>
        <p:grpSpPr>
          <a:xfrm>
            <a:off x="-1215674" y="2430002"/>
            <a:ext cx="1107114" cy="1826177"/>
            <a:chOff x="-1620688" y="1354138"/>
            <a:chExt cx="1475960" cy="2434902"/>
          </a:xfrm>
        </p:grpSpPr>
        <p:sp>
          <p:nvSpPr>
            <p:cNvPr id="18" name="Tekstboks 17"/>
            <p:cNvSpPr txBox="1"/>
            <p:nvPr userDrawn="1"/>
          </p:nvSpPr>
          <p:spPr>
            <a:xfrm>
              <a:off x="-1620688" y="1354138"/>
              <a:ext cx="1475960" cy="2434902"/>
            </a:xfrm>
            <a:prstGeom prst="rect">
              <a:avLst/>
            </a:prstGeom>
            <a:noFill/>
          </p:spPr>
          <p:txBody>
            <a:bodyPr wrap="square" lIns="0" tIns="0" rIns="0" bIns="0" rtlCol="0">
              <a:noAutofit/>
            </a:bodyPr>
            <a:lstStyle/>
            <a:p>
              <a:pPr algn="r"/>
              <a:r>
                <a:rPr lang="da-DK" sz="675" b="1">
                  <a:solidFill>
                    <a:schemeClr val="bg1">
                      <a:lumMod val="50000"/>
                    </a:schemeClr>
                  </a:solidFill>
                </a:rPr>
                <a:t>Tekst-typografier</a:t>
              </a:r>
            </a:p>
            <a:p>
              <a:pPr algn="r"/>
              <a:r>
                <a:rPr lang="da-DK" sz="675" b="0">
                  <a:solidFill>
                    <a:schemeClr val="bg1">
                      <a:lumMod val="50000"/>
                    </a:schemeClr>
                  </a:solidFill>
                </a:rPr>
                <a:t>Brug </a:t>
              </a:r>
              <a:r>
                <a:rPr lang="da-DK" sz="675" b="1">
                  <a:solidFill>
                    <a:schemeClr val="bg1">
                      <a:lumMod val="50000"/>
                    </a:schemeClr>
                  </a:solidFill>
                </a:rPr>
                <a:t>TAB</a:t>
              </a:r>
              <a:r>
                <a:rPr lang="da-DK" sz="675" b="0">
                  <a:solidFill>
                    <a:schemeClr val="bg1">
                      <a:lumMod val="50000"/>
                    </a:schemeClr>
                  </a:solidFill>
                </a:rPr>
                <a:t> for at gå frem</a:t>
              </a:r>
            </a:p>
            <a:p>
              <a:pPr algn="r"/>
              <a:r>
                <a:rPr lang="da-DK" sz="675" b="0">
                  <a:solidFill>
                    <a:schemeClr val="bg1">
                      <a:lumMod val="50000"/>
                    </a:schemeClr>
                  </a:solidFill>
                </a:rPr>
                <a:t>i tekst-niveauer</a:t>
              </a:r>
            </a:p>
            <a:p>
              <a:pPr algn="r"/>
              <a:endParaRPr lang="da-DK" sz="675" b="0">
                <a:solidFill>
                  <a:schemeClr val="bg1">
                    <a:lumMod val="50000"/>
                  </a:schemeClr>
                </a:solidFill>
              </a:endParaRPr>
            </a:p>
            <a:p>
              <a:pPr algn="l"/>
              <a:r>
                <a:rPr lang="da-DK" sz="675" b="0">
                  <a:solidFill>
                    <a:schemeClr val="bg1">
                      <a:lumMod val="50000"/>
                    </a:schemeClr>
                  </a:solidFill>
                </a:rPr>
                <a:t>Klik for at indsætte tekst</a:t>
              </a:r>
            </a:p>
            <a:p>
              <a:pPr marL="80992" indent="-80992" algn="l">
                <a:buFont typeface="Arial" panose="020B0604020202020204" pitchFamily="34" charset="0"/>
                <a:buChar char="•"/>
              </a:pPr>
              <a:r>
                <a:rPr lang="da-DK" sz="675" b="0">
                  <a:solidFill>
                    <a:schemeClr val="bg1">
                      <a:lumMod val="50000"/>
                    </a:schemeClr>
                  </a:solidFill>
                </a:rPr>
                <a:t>Andet niveau</a:t>
              </a:r>
            </a:p>
            <a:p>
              <a:pPr marL="215978" indent="-80992" algn="l">
                <a:buFont typeface="Arial" panose="020B0604020202020204" pitchFamily="34" charset="0"/>
                <a:buChar char="•"/>
              </a:pPr>
              <a:r>
                <a:rPr lang="da-DK" sz="600" b="0">
                  <a:solidFill>
                    <a:schemeClr val="bg1">
                      <a:lumMod val="50000"/>
                    </a:schemeClr>
                  </a:solidFill>
                </a:rPr>
                <a:t>Tredje niveau</a:t>
              </a:r>
            </a:p>
            <a:p>
              <a:pPr marL="350965" indent="-80992" algn="l">
                <a:buFont typeface="Arial" panose="020B0604020202020204" pitchFamily="34" charset="0"/>
                <a:buChar char="•"/>
              </a:pPr>
              <a:r>
                <a:rPr lang="da-DK" sz="450" b="0">
                  <a:solidFill>
                    <a:schemeClr val="bg1">
                      <a:lumMod val="50000"/>
                    </a:schemeClr>
                  </a:solidFill>
                </a:rPr>
                <a:t>Fjerde niveau</a:t>
              </a:r>
            </a:p>
            <a:p>
              <a:pPr marL="458954" indent="-80992" algn="l">
                <a:buFont typeface="Arial" panose="020B0604020202020204" pitchFamily="34" charset="0"/>
                <a:buChar char="•"/>
              </a:pPr>
              <a:r>
                <a:rPr lang="da-DK" sz="450" b="0">
                  <a:solidFill>
                    <a:schemeClr val="bg1">
                      <a:lumMod val="50000"/>
                    </a:schemeClr>
                  </a:solidFill>
                </a:rPr>
                <a:t>Femte niveau</a:t>
              </a:r>
            </a:p>
            <a:p>
              <a:pPr algn="r"/>
              <a:endParaRPr lang="da-DK" sz="675" b="0">
                <a:solidFill>
                  <a:schemeClr val="bg1">
                    <a:lumMod val="50000"/>
                  </a:schemeClr>
                </a:solidFill>
              </a:endParaRPr>
            </a:p>
            <a:p>
              <a:pPr algn="r"/>
              <a:r>
                <a:rPr lang="da-DK" sz="675" b="0">
                  <a:solidFill>
                    <a:schemeClr val="bg1">
                      <a:lumMod val="50000"/>
                    </a:schemeClr>
                  </a:solidFill>
                </a:rPr>
                <a:t>For at gå tilbage i tekst-niveauer,</a:t>
              </a:r>
            </a:p>
            <a:p>
              <a:pPr algn="r"/>
              <a:r>
                <a:rPr lang="da-DK" sz="675" b="0">
                  <a:solidFill>
                    <a:schemeClr val="bg1">
                      <a:lumMod val="50000"/>
                    </a:schemeClr>
                  </a:solidFill>
                </a:rPr>
                <a:t>brug </a:t>
              </a:r>
              <a:r>
                <a:rPr lang="da-DK" sz="675" b="1">
                  <a:solidFill>
                    <a:schemeClr val="bg1">
                      <a:lumMod val="50000"/>
                    </a:schemeClr>
                  </a:solidFill>
                </a:rPr>
                <a:t>SHIFT + TAB</a:t>
              </a:r>
            </a:p>
            <a:p>
              <a:pPr algn="r"/>
              <a:endParaRPr lang="da-DK" sz="675" b="0">
                <a:solidFill>
                  <a:schemeClr val="bg1">
                    <a:lumMod val="50000"/>
                  </a:schemeClr>
                </a:solidFill>
              </a:endParaRPr>
            </a:p>
            <a:p>
              <a:pPr algn="r"/>
              <a:endParaRPr lang="da-DK" sz="675" b="0">
                <a:solidFill>
                  <a:schemeClr val="bg1">
                    <a:lumMod val="50000"/>
                  </a:schemeClr>
                </a:solidFill>
              </a:endParaRPr>
            </a:p>
            <a:p>
              <a:pPr algn="r"/>
              <a:r>
                <a:rPr lang="da-DK" sz="675" b="0">
                  <a:solidFill>
                    <a:schemeClr val="bg1">
                      <a:lumMod val="50000"/>
                    </a:schemeClr>
                  </a:solidFill>
                </a:rPr>
                <a:t>Alternativt kan</a:t>
              </a:r>
            </a:p>
            <a:p>
              <a:pPr algn="r"/>
              <a:r>
                <a:rPr lang="da-DK" sz="675" b="1">
                  <a:solidFill>
                    <a:schemeClr val="bg1">
                      <a:lumMod val="50000"/>
                    </a:schemeClr>
                  </a:solidFill>
                </a:rPr>
                <a:t>Forøg og Formindsk </a:t>
              </a:r>
            </a:p>
            <a:p>
              <a:pPr algn="r"/>
              <a:r>
                <a:rPr lang="da-DK" sz="675" b="0">
                  <a:solidFill>
                    <a:schemeClr val="bg1">
                      <a:lumMod val="50000"/>
                    </a:schemeClr>
                  </a:solidFill>
                </a:rPr>
                <a:t>listeniveau bruges</a:t>
              </a:r>
            </a:p>
          </p:txBody>
        </p:sp>
        <p:grpSp>
          <p:nvGrpSpPr>
            <p:cNvPr id="19" name="Gruppe 18"/>
            <p:cNvGrpSpPr/>
            <p:nvPr userDrawn="1"/>
          </p:nvGrpSpPr>
          <p:grpSpPr>
            <a:xfrm>
              <a:off x="-503503" y="3048030"/>
              <a:ext cx="358775" cy="236537"/>
              <a:chOff x="-503503" y="3171825"/>
              <a:chExt cx="358775" cy="236537"/>
            </a:xfrm>
          </p:grpSpPr>
          <p:pic>
            <p:nvPicPr>
              <p:cNvPr id="2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03503" y="3171825"/>
                <a:ext cx="358775" cy="2365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Afrundet rektangel 20"/>
              <p:cNvSpPr/>
              <p:nvPr userDrawn="1"/>
            </p:nvSpPr>
            <p:spPr>
              <a:xfrm>
                <a:off x="-503503" y="3171825"/>
                <a:ext cx="179387" cy="236537"/>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sz="750"/>
              </a:p>
            </p:txBody>
          </p:sp>
        </p:grpSp>
      </p:grpSp>
    </p:spTree>
    <p:extLst>
      <p:ext uri="{BB962C8B-B14F-4D97-AF65-F5344CB8AC3E}">
        <p14:creationId xmlns:p14="http://schemas.microsoft.com/office/powerpoint/2010/main" val="178894518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killeblad lys">
    <p:spTree>
      <p:nvGrpSpPr>
        <p:cNvPr id="1" name=""/>
        <p:cNvGrpSpPr/>
        <p:nvPr/>
      </p:nvGrpSpPr>
      <p:grpSpPr>
        <a:xfrm>
          <a:off x="0" y="0"/>
          <a:ext cx="0" cy="0"/>
          <a:chOff x="0" y="0"/>
          <a:chExt cx="0" cy="0"/>
        </a:xfrm>
      </p:grpSpPr>
      <p:sp>
        <p:nvSpPr>
          <p:cNvPr id="6" name="Baggrund"/>
          <p:cNvSpPr/>
          <p:nvPr userDrawn="1"/>
        </p:nvSpPr>
        <p:spPr bwMode="auto">
          <a:xfrm>
            <a:off x="2" y="0"/>
            <a:ext cx="9144000" cy="5143500"/>
          </a:xfrm>
          <a:prstGeom prst="rect">
            <a:avLst/>
          </a:prstGeom>
          <a:solidFill>
            <a:schemeClr val="accent5"/>
          </a:solidFill>
          <a:ln w="9525" cap="flat" cmpd="sng" algn="ctr">
            <a:noFill/>
            <a:prstDash val="solid"/>
            <a:round/>
            <a:headEnd type="none" w="med" len="med"/>
            <a:tailEnd type="none" w="med" len="med"/>
          </a:ln>
          <a:effectLst/>
        </p:spPr>
        <p:txBody>
          <a:bodyPr rot="0" spcFirstLastPara="0" vertOverflow="overflow" horzOverflow="overflow" vert="horz" wrap="none" lIns="68571" tIns="34286" rIns="68571" bIns="34286" numCol="1" spcCol="0" rtlCol="0" fromWordArt="0" anchor="ctr" anchorCtr="0" forceAA="0" compatLnSpc="1">
            <a:prstTxWarp prst="textNoShape">
              <a:avLst/>
            </a:prstTxWarp>
            <a:noAutofit/>
          </a:bodyPr>
          <a:lstStyle/>
          <a:p>
            <a:pPr marL="0" marR="0" indent="0" algn="ctr" defTabSz="685732" rtl="0" eaLnBrk="1" fontAlgn="base" latinLnBrk="0" hangingPunct="1">
              <a:lnSpc>
                <a:spcPct val="100000"/>
              </a:lnSpc>
              <a:spcBef>
                <a:spcPct val="0"/>
              </a:spcBef>
              <a:spcAft>
                <a:spcPct val="0"/>
              </a:spcAft>
              <a:buClrTx/>
              <a:buSzTx/>
              <a:buFontTx/>
              <a:buNone/>
              <a:tabLst/>
            </a:pPr>
            <a:endParaRPr kumimoji="0" lang="da-DK" sz="1650" b="0" i="0" u="none" strike="noStrike" cap="none" normalizeH="0" baseline="0">
              <a:ln>
                <a:noFill/>
              </a:ln>
              <a:solidFill>
                <a:schemeClr val="tx2"/>
              </a:solidFill>
              <a:effectLst/>
              <a:latin typeface="+mn-lt"/>
            </a:endParaRPr>
          </a:p>
        </p:txBody>
      </p:sp>
      <p:sp>
        <p:nvSpPr>
          <p:cNvPr id="19" name="Titel 1"/>
          <p:cNvSpPr>
            <a:spLocks noGrp="1"/>
          </p:cNvSpPr>
          <p:nvPr>
            <p:ph type="title" hasCustomPrompt="1"/>
          </p:nvPr>
        </p:nvSpPr>
        <p:spPr>
          <a:xfrm>
            <a:off x="318641" y="1015604"/>
            <a:ext cx="8506107" cy="1017900"/>
          </a:xfrm>
        </p:spPr>
        <p:txBody>
          <a:bodyPr rIns="2880000"/>
          <a:lstStyle>
            <a:lvl1pPr>
              <a:defRPr>
                <a:solidFill>
                  <a:schemeClr val="tx1"/>
                </a:solidFill>
              </a:defRPr>
            </a:lvl1pPr>
          </a:lstStyle>
          <a:p>
            <a:r>
              <a:rPr lang="da-DK"/>
              <a:t>Klik for at indsætte overskrift i en, to eller tre linjer</a:t>
            </a:r>
          </a:p>
        </p:txBody>
      </p:sp>
      <p:sp>
        <p:nvSpPr>
          <p:cNvPr id="20" name="Pladsholder til tekst 16"/>
          <p:cNvSpPr>
            <a:spLocks noGrp="1"/>
          </p:cNvSpPr>
          <p:nvPr>
            <p:ph type="body" sz="quarter" idx="14" hasCustomPrompt="1"/>
          </p:nvPr>
        </p:nvSpPr>
        <p:spPr>
          <a:xfrm>
            <a:off x="318641" y="2430000"/>
            <a:ext cx="8506107" cy="1576800"/>
          </a:xfrm>
        </p:spPr>
        <p:txBody>
          <a:bodyPr tIns="0" rIns="2880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p:txBody>
      </p:sp>
      <p:sp>
        <p:nvSpPr>
          <p:cNvPr id="3" name="Pladsholder til dato 2" hidden="1"/>
          <p:cNvSpPr>
            <a:spLocks noGrp="1"/>
          </p:cNvSpPr>
          <p:nvPr>
            <p:ph type="dt" sz="half" idx="10"/>
          </p:nvPr>
        </p:nvSpPr>
        <p:spPr>
          <a:xfrm>
            <a:off x="6706802" y="5887746"/>
            <a:ext cx="2012400" cy="118800"/>
          </a:xfrm>
        </p:spPr>
        <p:txBody>
          <a:bodyPr/>
          <a:lstStyle>
            <a:lvl1pPr>
              <a:defRPr sz="100">
                <a:solidFill>
                  <a:schemeClr val="bg1">
                    <a:lumMod val="75000"/>
                  </a:schemeClr>
                </a:solidFill>
              </a:defRPr>
            </a:lvl1pPr>
          </a:lstStyle>
          <a:p>
            <a:r>
              <a:rPr lang="sv-SE"/>
              <a:t>26/03/2026</a:t>
            </a:r>
            <a:endParaRPr lang="da-DK"/>
          </a:p>
        </p:txBody>
      </p:sp>
      <p:sp>
        <p:nvSpPr>
          <p:cNvPr id="4" name="Pladsholder til sidefod 3" hidden="1"/>
          <p:cNvSpPr>
            <a:spLocks noGrp="1"/>
          </p:cNvSpPr>
          <p:nvPr>
            <p:ph type="ftr" sz="quarter" idx="11"/>
          </p:nvPr>
        </p:nvSpPr>
        <p:spPr/>
        <p:txBody>
          <a:bodyPr/>
          <a:lstStyle/>
          <a:p>
            <a:r>
              <a:rPr lang="en-US"/>
              <a:t>Stakeholder Forum Agenda - Classification: External</a:t>
            </a:r>
            <a:endParaRPr lang="da-DK"/>
          </a:p>
        </p:txBody>
      </p:sp>
      <p:sp>
        <p:nvSpPr>
          <p:cNvPr id="5" name="Pladsholder til diasnummer 4" hidden="1"/>
          <p:cNvSpPr>
            <a:spLocks noGrp="1"/>
          </p:cNvSpPr>
          <p:nvPr>
            <p:ph type="sldNum" sz="quarter" idx="12"/>
          </p:nvPr>
        </p:nvSpPr>
        <p:spPr>
          <a:xfrm>
            <a:off x="6706802" y="6001146"/>
            <a:ext cx="2012400" cy="135000"/>
          </a:xfrm>
        </p:spPr>
        <p:txBody>
          <a:bodyPr/>
          <a:lstStyle>
            <a:lvl1pPr>
              <a:defRPr sz="100">
                <a:solidFill>
                  <a:schemeClr val="bg1">
                    <a:lumMod val="75000"/>
                  </a:schemeClr>
                </a:solidFill>
              </a:defRPr>
            </a:lvl1pPr>
          </a:lstStyle>
          <a:p>
            <a:fld id="{667EC89C-17A0-4E64-A6D2-B825673CEEDF}" type="slidenum">
              <a:rPr lang="da-DK" smtClean="0"/>
              <a:pPr/>
              <a:t>‹#›</a:t>
            </a:fld>
            <a:endParaRPr lang="da-DK"/>
          </a:p>
        </p:txBody>
      </p:sp>
      <p:sp>
        <p:nvSpPr>
          <p:cNvPr id="15" name="Tekstboks 14"/>
          <p:cNvSpPr txBox="1"/>
          <p:nvPr userDrawn="1"/>
        </p:nvSpPr>
        <p:spPr>
          <a:xfrm>
            <a:off x="-2079020" y="0"/>
            <a:ext cx="1944216" cy="411510"/>
          </a:xfrm>
          <a:prstGeom prst="rect">
            <a:avLst/>
          </a:prstGeom>
          <a:noFill/>
        </p:spPr>
        <p:txBody>
          <a:bodyPr wrap="square" lIns="0" tIns="0" rIns="0" bIns="0" rtlCol="0">
            <a:noAutofit/>
          </a:bodyPr>
          <a:lstStyle/>
          <a:p>
            <a:pPr algn="r"/>
            <a:r>
              <a:rPr lang="da-DK" sz="675" b="1">
                <a:solidFill>
                  <a:schemeClr val="bg1">
                    <a:lumMod val="50000"/>
                  </a:schemeClr>
                </a:solidFill>
              </a:rPr>
              <a:t>Skilleblad:</a:t>
            </a:r>
          </a:p>
          <a:p>
            <a:pPr algn="r"/>
            <a:r>
              <a:rPr lang="da-DK" sz="675" b="0">
                <a:solidFill>
                  <a:schemeClr val="bg1">
                    <a:lumMod val="50000"/>
                  </a:schemeClr>
                </a:solidFill>
              </a:rPr>
              <a:t>Denne farve er egnet til print</a:t>
            </a:r>
          </a:p>
          <a:p>
            <a:pPr algn="r"/>
            <a:endParaRPr lang="da-DK" sz="675" b="0">
              <a:solidFill>
                <a:schemeClr val="bg1">
                  <a:lumMod val="50000"/>
                </a:schemeClr>
              </a:solidFill>
            </a:endParaRPr>
          </a:p>
          <a:p>
            <a:pPr algn="r"/>
            <a:r>
              <a:rPr lang="da-DK" sz="675" b="0">
                <a:solidFill>
                  <a:schemeClr val="bg1">
                    <a:lumMod val="50000"/>
                  </a:schemeClr>
                </a:solidFill>
              </a:rPr>
              <a:t>Underpunkter valgfri</a:t>
            </a:r>
          </a:p>
        </p:txBody>
      </p:sp>
      <p:pic>
        <p:nvPicPr>
          <p:cNvPr id="17"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1563" y="4587299"/>
            <a:ext cx="1141768" cy="421200"/>
          </a:xfrm>
          <a:prstGeom prst="rect">
            <a:avLst/>
          </a:prstGeom>
        </p:spPr>
      </p:pic>
      <p:grpSp>
        <p:nvGrpSpPr>
          <p:cNvPr id="24" name="Gruppe 23"/>
          <p:cNvGrpSpPr/>
          <p:nvPr userDrawn="1"/>
        </p:nvGrpSpPr>
        <p:grpSpPr>
          <a:xfrm>
            <a:off x="-1215674" y="2430002"/>
            <a:ext cx="1107114" cy="1826177"/>
            <a:chOff x="-1620688" y="1354138"/>
            <a:chExt cx="1475960" cy="2434902"/>
          </a:xfrm>
        </p:grpSpPr>
        <p:sp>
          <p:nvSpPr>
            <p:cNvPr id="25" name="Tekstboks 24"/>
            <p:cNvSpPr txBox="1"/>
            <p:nvPr userDrawn="1"/>
          </p:nvSpPr>
          <p:spPr>
            <a:xfrm>
              <a:off x="-1620688" y="1354138"/>
              <a:ext cx="1475960" cy="2434902"/>
            </a:xfrm>
            <a:prstGeom prst="rect">
              <a:avLst/>
            </a:prstGeom>
            <a:noFill/>
          </p:spPr>
          <p:txBody>
            <a:bodyPr wrap="square" lIns="0" tIns="0" rIns="0" bIns="0" rtlCol="0">
              <a:noAutofit/>
            </a:bodyPr>
            <a:lstStyle/>
            <a:p>
              <a:pPr algn="r"/>
              <a:r>
                <a:rPr lang="da-DK" sz="675" b="1">
                  <a:solidFill>
                    <a:schemeClr val="bg1">
                      <a:lumMod val="50000"/>
                    </a:schemeClr>
                  </a:solidFill>
                </a:rPr>
                <a:t>Tekst-typografier</a:t>
              </a:r>
            </a:p>
            <a:p>
              <a:pPr algn="r"/>
              <a:r>
                <a:rPr lang="da-DK" sz="675" b="0">
                  <a:solidFill>
                    <a:schemeClr val="bg1">
                      <a:lumMod val="50000"/>
                    </a:schemeClr>
                  </a:solidFill>
                </a:rPr>
                <a:t>Brug </a:t>
              </a:r>
              <a:r>
                <a:rPr lang="da-DK" sz="675" b="1">
                  <a:solidFill>
                    <a:schemeClr val="bg1">
                      <a:lumMod val="50000"/>
                    </a:schemeClr>
                  </a:solidFill>
                </a:rPr>
                <a:t>TAB</a:t>
              </a:r>
              <a:r>
                <a:rPr lang="da-DK" sz="675" b="0">
                  <a:solidFill>
                    <a:schemeClr val="bg1">
                      <a:lumMod val="50000"/>
                    </a:schemeClr>
                  </a:solidFill>
                </a:rPr>
                <a:t> for at gå frem</a:t>
              </a:r>
            </a:p>
            <a:p>
              <a:pPr algn="r"/>
              <a:r>
                <a:rPr lang="da-DK" sz="675" b="0">
                  <a:solidFill>
                    <a:schemeClr val="bg1">
                      <a:lumMod val="50000"/>
                    </a:schemeClr>
                  </a:solidFill>
                </a:rPr>
                <a:t>i tekst-niveauer</a:t>
              </a:r>
            </a:p>
            <a:p>
              <a:pPr algn="r"/>
              <a:endParaRPr lang="da-DK" sz="675" b="0">
                <a:solidFill>
                  <a:schemeClr val="bg1">
                    <a:lumMod val="50000"/>
                  </a:schemeClr>
                </a:solidFill>
              </a:endParaRPr>
            </a:p>
            <a:p>
              <a:pPr algn="l"/>
              <a:r>
                <a:rPr lang="da-DK" sz="675" b="0">
                  <a:solidFill>
                    <a:schemeClr val="bg1">
                      <a:lumMod val="50000"/>
                    </a:schemeClr>
                  </a:solidFill>
                </a:rPr>
                <a:t>Klik for at indsætte tekst</a:t>
              </a:r>
            </a:p>
            <a:p>
              <a:pPr marL="80992" indent="-80992" algn="l">
                <a:buFont typeface="Arial" panose="020B0604020202020204" pitchFamily="34" charset="0"/>
                <a:buChar char="•"/>
              </a:pPr>
              <a:r>
                <a:rPr lang="da-DK" sz="675" b="0">
                  <a:solidFill>
                    <a:schemeClr val="bg1">
                      <a:lumMod val="50000"/>
                    </a:schemeClr>
                  </a:solidFill>
                </a:rPr>
                <a:t>Andet niveau</a:t>
              </a:r>
            </a:p>
            <a:p>
              <a:pPr marL="215978" indent="-80992" algn="l">
                <a:buFont typeface="Arial" panose="020B0604020202020204" pitchFamily="34" charset="0"/>
                <a:buChar char="•"/>
              </a:pPr>
              <a:r>
                <a:rPr lang="da-DK" sz="600" b="0">
                  <a:solidFill>
                    <a:schemeClr val="bg1">
                      <a:lumMod val="50000"/>
                    </a:schemeClr>
                  </a:solidFill>
                </a:rPr>
                <a:t>Tredje niveau</a:t>
              </a:r>
            </a:p>
            <a:p>
              <a:pPr marL="350965" indent="-80992" algn="l">
                <a:buFont typeface="Arial" panose="020B0604020202020204" pitchFamily="34" charset="0"/>
                <a:buChar char="•"/>
              </a:pPr>
              <a:r>
                <a:rPr lang="da-DK" sz="450" b="0">
                  <a:solidFill>
                    <a:schemeClr val="bg1">
                      <a:lumMod val="50000"/>
                    </a:schemeClr>
                  </a:solidFill>
                </a:rPr>
                <a:t>Fjerde niveau</a:t>
              </a:r>
            </a:p>
            <a:p>
              <a:pPr marL="458954" indent="-80992" algn="l">
                <a:buFont typeface="Arial" panose="020B0604020202020204" pitchFamily="34" charset="0"/>
                <a:buChar char="•"/>
              </a:pPr>
              <a:r>
                <a:rPr lang="da-DK" sz="450" b="0">
                  <a:solidFill>
                    <a:schemeClr val="bg1">
                      <a:lumMod val="50000"/>
                    </a:schemeClr>
                  </a:solidFill>
                </a:rPr>
                <a:t>Femte niveau</a:t>
              </a:r>
            </a:p>
            <a:p>
              <a:pPr algn="r"/>
              <a:endParaRPr lang="da-DK" sz="675" b="0">
                <a:solidFill>
                  <a:schemeClr val="bg1">
                    <a:lumMod val="50000"/>
                  </a:schemeClr>
                </a:solidFill>
              </a:endParaRPr>
            </a:p>
            <a:p>
              <a:pPr algn="r"/>
              <a:r>
                <a:rPr lang="da-DK" sz="675" b="0">
                  <a:solidFill>
                    <a:schemeClr val="bg1">
                      <a:lumMod val="50000"/>
                    </a:schemeClr>
                  </a:solidFill>
                </a:rPr>
                <a:t>For at gå tilbage i tekst-niveauer,</a:t>
              </a:r>
            </a:p>
            <a:p>
              <a:pPr algn="r"/>
              <a:r>
                <a:rPr lang="da-DK" sz="675" b="0">
                  <a:solidFill>
                    <a:schemeClr val="bg1">
                      <a:lumMod val="50000"/>
                    </a:schemeClr>
                  </a:solidFill>
                </a:rPr>
                <a:t>brug </a:t>
              </a:r>
              <a:r>
                <a:rPr lang="da-DK" sz="675" b="1">
                  <a:solidFill>
                    <a:schemeClr val="bg1">
                      <a:lumMod val="50000"/>
                    </a:schemeClr>
                  </a:solidFill>
                </a:rPr>
                <a:t>SHIFT + TAB</a:t>
              </a:r>
            </a:p>
            <a:p>
              <a:pPr algn="r"/>
              <a:endParaRPr lang="da-DK" sz="675" b="0">
                <a:solidFill>
                  <a:schemeClr val="bg1">
                    <a:lumMod val="50000"/>
                  </a:schemeClr>
                </a:solidFill>
              </a:endParaRPr>
            </a:p>
            <a:p>
              <a:pPr algn="r"/>
              <a:endParaRPr lang="da-DK" sz="675" b="0">
                <a:solidFill>
                  <a:schemeClr val="bg1">
                    <a:lumMod val="50000"/>
                  </a:schemeClr>
                </a:solidFill>
              </a:endParaRPr>
            </a:p>
            <a:p>
              <a:pPr algn="r"/>
              <a:r>
                <a:rPr lang="da-DK" sz="675" b="0">
                  <a:solidFill>
                    <a:schemeClr val="bg1">
                      <a:lumMod val="50000"/>
                    </a:schemeClr>
                  </a:solidFill>
                </a:rPr>
                <a:t>Alternativt kan</a:t>
              </a:r>
            </a:p>
            <a:p>
              <a:pPr algn="r"/>
              <a:r>
                <a:rPr lang="da-DK" sz="675" b="1">
                  <a:solidFill>
                    <a:schemeClr val="bg1">
                      <a:lumMod val="50000"/>
                    </a:schemeClr>
                  </a:solidFill>
                </a:rPr>
                <a:t>Forøg og Formindsk </a:t>
              </a:r>
            </a:p>
            <a:p>
              <a:pPr algn="r"/>
              <a:r>
                <a:rPr lang="da-DK" sz="675" b="0">
                  <a:solidFill>
                    <a:schemeClr val="bg1">
                      <a:lumMod val="50000"/>
                    </a:schemeClr>
                  </a:solidFill>
                </a:rPr>
                <a:t>listeniveau bruges</a:t>
              </a:r>
            </a:p>
          </p:txBody>
        </p:sp>
        <p:grpSp>
          <p:nvGrpSpPr>
            <p:cNvPr id="26" name="Gruppe 25"/>
            <p:cNvGrpSpPr/>
            <p:nvPr userDrawn="1"/>
          </p:nvGrpSpPr>
          <p:grpSpPr>
            <a:xfrm>
              <a:off x="-503503" y="3048030"/>
              <a:ext cx="358775" cy="236537"/>
              <a:chOff x="-503503" y="3171825"/>
              <a:chExt cx="358775" cy="236537"/>
            </a:xfrm>
          </p:grpSpPr>
          <p:pic>
            <p:nvPicPr>
              <p:cNvPr id="27"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03503" y="3171825"/>
                <a:ext cx="358775" cy="2365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 name="Afrundet rektangel 27"/>
              <p:cNvSpPr/>
              <p:nvPr userDrawn="1"/>
            </p:nvSpPr>
            <p:spPr>
              <a:xfrm>
                <a:off x="-503503" y="3171825"/>
                <a:ext cx="179387" cy="236537"/>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sz="750"/>
              </a:p>
            </p:txBody>
          </p:sp>
        </p:grpSp>
      </p:grpSp>
    </p:spTree>
    <p:extLst>
      <p:ext uri="{BB962C8B-B14F-4D97-AF65-F5344CB8AC3E}">
        <p14:creationId xmlns:p14="http://schemas.microsoft.com/office/powerpoint/2010/main" val="63991489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o tekstbokse mørk">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a-DK"/>
              <a:t>Klik for at indsætte overskrift i en eller to linjer</a:t>
            </a:r>
          </a:p>
        </p:txBody>
      </p:sp>
      <p:sp>
        <p:nvSpPr>
          <p:cNvPr id="15" name="Pladsholder til tekst 2"/>
          <p:cNvSpPr>
            <a:spLocks noGrp="1"/>
          </p:cNvSpPr>
          <p:nvPr>
            <p:ph type="body" sz="quarter" idx="23" hasCustomPrompt="1"/>
          </p:nvPr>
        </p:nvSpPr>
        <p:spPr>
          <a:xfrm>
            <a:off x="318642" y="1014414"/>
            <a:ext cx="4185545" cy="3482579"/>
          </a:xfrm>
          <a:prstGeom prst="roundRect">
            <a:avLst>
              <a:gd name="adj" fmla="val 0"/>
            </a:avLst>
          </a:prstGeom>
          <a:solidFill>
            <a:srgbClr val="666666"/>
          </a:solidFill>
        </p:spPr>
        <p:txBody>
          <a:bodyPr lIns="126000" tIns="126000" rIns="126000" bIns="126000"/>
          <a:lstStyle>
            <a:lvl1pPr>
              <a:defRPr sz="1350">
                <a:solidFill>
                  <a:schemeClr val="bg1"/>
                </a:solidFill>
              </a:defRPr>
            </a:lvl1pPr>
            <a:lvl2pPr marL="172783" indent="-172783">
              <a:spcBef>
                <a:spcPts val="1200"/>
              </a:spcBef>
              <a:defRPr sz="1350">
                <a:solidFill>
                  <a:schemeClr val="bg1"/>
                </a:solidFill>
              </a:defRPr>
            </a:lvl2pPr>
            <a:lvl3pPr marL="404960" indent="-134987">
              <a:defRPr sz="1125">
                <a:solidFill>
                  <a:schemeClr val="bg1"/>
                </a:solidFill>
              </a:defRPr>
            </a:lvl3pPr>
            <a:lvl4pPr marL="539946" indent="-134987">
              <a:defRPr sz="900">
                <a:solidFill>
                  <a:schemeClr val="bg1"/>
                </a:solidFill>
              </a:defRPr>
            </a:lvl4pPr>
            <a:lvl5pPr marL="674933" indent="-134987">
              <a:defRPr sz="750">
                <a:solidFill>
                  <a:schemeClr val="bg1"/>
                </a:solidFill>
              </a:defRPr>
            </a:lvl5pPr>
            <a:lvl6pPr marL="674933" indent="-134987">
              <a:buFont typeface="Arial" panose="020B0604020202020204" pitchFamily="34" charset="0"/>
              <a:buChar char="•"/>
              <a:defRPr>
                <a:solidFill>
                  <a:schemeClr val="bg1"/>
                </a:solidFill>
              </a:defRPr>
            </a:lvl6pPr>
            <a:lvl7pPr marL="674933" indent="-134987">
              <a:buFont typeface="Arial" panose="020B0604020202020204" pitchFamily="34" charset="0"/>
              <a:buChar char="•"/>
              <a:defRPr>
                <a:solidFill>
                  <a:schemeClr val="bg1"/>
                </a:solidFill>
              </a:defRPr>
            </a:lvl7pPr>
            <a:lvl8pPr marL="674933" indent="-134987">
              <a:buFont typeface="Arial" panose="020B0604020202020204" pitchFamily="34" charset="0"/>
              <a:buChar char="•"/>
              <a:defRPr>
                <a:solidFill>
                  <a:schemeClr val="bg1"/>
                </a:solidFill>
              </a:defRPr>
            </a:lvl8pPr>
            <a:lvl9pPr marL="674933" indent="-134987">
              <a:defRPr>
                <a:solidFill>
                  <a:schemeClr val="bg1"/>
                </a:solidFill>
              </a:defRPr>
            </a:lvl9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17" name="Pladsholder til tekst 3"/>
          <p:cNvSpPr>
            <a:spLocks noGrp="1"/>
          </p:cNvSpPr>
          <p:nvPr>
            <p:ph type="body" sz="quarter" idx="28" hasCustomPrompt="1"/>
          </p:nvPr>
        </p:nvSpPr>
        <p:spPr>
          <a:xfrm>
            <a:off x="4639204" y="1015202"/>
            <a:ext cx="4185545" cy="3482579"/>
          </a:xfrm>
          <a:prstGeom prst="roundRect">
            <a:avLst>
              <a:gd name="adj" fmla="val 0"/>
            </a:avLst>
          </a:prstGeom>
          <a:solidFill>
            <a:srgbClr val="666666"/>
          </a:solidFill>
        </p:spPr>
        <p:txBody>
          <a:bodyPr lIns="126000" tIns="126000" rIns="126000" bIns="126000"/>
          <a:lstStyle>
            <a:lvl1pPr>
              <a:defRPr sz="1350">
                <a:solidFill>
                  <a:schemeClr val="bg1"/>
                </a:solidFill>
              </a:defRPr>
            </a:lvl1pPr>
            <a:lvl2pPr marL="172783" indent="-172783">
              <a:spcBef>
                <a:spcPts val="1200"/>
              </a:spcBef>
              <a:defRPr sz="1350">
                <a:solidFill>
                  <a:schemeClr val="bg1"/>
                </a:solidFill>
              </a:defRPr>
            </a:lvl2pPr>
            <a:lvl3pPr marL="404960" indent="-134987">
              <a:defRPr sz="1125">
                <a:solidFill>
                  <a:schemeClr val="bg1"/>
                </a:solidFill>
              </a:defRPr>
            </a:lvl3pPr>
            <a:lvl4pPr marL="539946" indent="-134987">
              <a:defRPr sz="900">
                <a:solidFill>
                  <a:schemeClr val="bg1"/>
                </a:solidFill>
              </a:defRPr>
            </a:lvl4pPr>
            <a:lvl5pPr marL="674933" indent="-134987">
              <a:defRPr sz="750">
                <a:solidFill>
                  <a:schemeClr val="bg1"/>
                </a:solidFill>
              </a:defRPr>
            </a:lvl5pPr>
            <a:lvl6pPr marL="674933" indent="-134987">
              <a:buFont typeface="Arial" panose="020B0604020202020204" pitchFamily="34" charset="0"/>
              <a:buChar char="•"/>
              <a:defRPr>
                <a:solidFill>
                  <a:schemeClr val="bg1"/>
                </a:solidFill>
              </a:defRPr>
            </a:lvl6pPr>
            <a:lvl7pPr marL="674933" indent="-134987">
              <a:buFont typeface="Arial" panose="020B0604020202020204" pitchFamily="34" charset="0"/>
              <a:buChar char="•"/>
              <a:defRPr>
                <a:solidFill>
                  <a:schemeClr val="bg1"/>
                </a:solidFill>
              </a:defRPr>
            </a:lvl7pPr>
            <a:lvl8pPr marL="674933" indent="-134987">
              <a:buFont typeface="Arial" panose="020B0604020202020204" pitchFamily="34" charset="0"/>
              <a:buChar char="•"/>
              <a:defRPr>
                <a:solidFill>
                  <a:schemeClr val="bg1"/>
                </a:solidFill>
              </a:defRPr>
            </a:lvl8pPr>
            <a:lvl9pPr marL="674933" indent="-134987">
              <a:defRPr>
                <a:solidFill>
                  <a:schemeClr val="bg1"/>
                </a:solidFill>
              </a:defRPr>
            </a:lvl9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3" name="Pladsholder til dato 2"/>
          <p:cNvSpPr>
            <a:spLocks noGrp="1"/>
          </p:cNvSpPr>
          <p:nvPr>
            <p:ph type="dt" sz="half" idx="10"/>
          </p:nvPr>
        </p:nvSpPr>
        <p:spPr/>
        <p:txBody>
          <a:bodyPr/>
          <a:lstStyle/>
          <a:p>
            <a:r>
              <a:rPr lang="sv-SE"/>
              <a:t>26/03/2026</a:t>
            </a:r>
            <a:endParaRPr lang="da-DK"/>
          </a:p>
        </p:txBody>
      </p:sp>
      <p:sp>
        <p:nvSpPr>
          <p:cNvPr id="4" name="Pladsholder til sidefod 3" hidden="1"/>
          <p:cNvSpPr>
            <a:spLocks noGrp="1"/>
          </p:cNvSpPr>
          <p:nvPr>
            <p:ph type="ftr" sz="quarter" idx="11"/>
          </p:nvPr>
        </p:nvSpPr>
        <p:spPr/>
        <p:txBody>
          <a:bodyPr/>
          <a:lstStyle/>
          <a:p>
            <a:r>
              <a:rPr lang="en-US"/>
              <a:t>Stakeholder Forum Agenda - Classification: External</a:t>
            </a:r>
            <a:endParaRPr lang="da-DK"/>
          </a:p>
        </p:txBody>
      </p:sp>
      <p:sp>
        <p:nvSpPr>
          <p:cNvPr id="5" name="Pladsholder til diasnummer 4"/>
          <p:cNvSpPr>
            <a:spLocks noGrp="1"/>
          </p:cNvSpPr>
          <p:nvPr>
            <p:ph type="sldNum" sz="quarter" idx="12"/>
          </p:nvPr>
        </p:nvSpPr>
        <p:spPr/>
        <p:txBody>
          <a:bodyPr/>
          <a:lstStyle/>
          <a:p>
            <a:fld id="{667EC89C-17A0-4E64-A6D2-B825673CEEDF}" type="slidenum">
              <a:rPr lang="da-DK" smtClean="0"/>
              <a:pPr/>
              <a:t>‹#›</a:t>
            </a:fld>
            <a:endParaRPr lang="da-DK"/>
          </a:p>
        </p:txBody>
      </p:sp>
      <p:sp>
        <p:nvSpPr>
          <p:cNvPr id="14" name="Tekstboks 13"/>
          <p:cNvSpPr txBox="1"/>
          <p:nvPr userDrawn="1"/>
        </p:nvSpPr>
        <p:spPr>
          <a:xfrm>
            <a:off x="-1585485" y="0"/>
            <a:ext cx="1450682" cy="681540"/>
          </a:xfrm>
          <a:prstGeom prst="rect">
            <a:avLst/>
          </a:prstGeom>
          <a:noFill/>
        </p:spPr>
        <p:txBody>
          <a:bodyPr wrap="square" lIns="0" tIns="0" rIns="0" bIns="0" rtlCol="0">
            <a:noAutofit/>
          </a:bodyPr>
          <a:lstStyle/>
          <a:p>
            <a:pPr algn="r"/>
            <a:r>
              <a:rPr lang="da-DK" sz="675" b="1" noProof="1">
                <a:solidFill>
                  <a:schemeClr val="bg1">
                    <a:lumMod val="50000"/>
                  </a:schemeClr>
                </a:solidFill>
              </a:rPr>
              <a:t>Boks:</a:t>
            </a:r>
          </a:p>
          <a:p>
            <a:pPr algn="r"/>
            <a:r>
              <a:rPr lang="da-DK" sz="675" b="0" noProof="1">
                <a:solidFill>
                  <a:schemeClr val="bg1">
                    <a:lumMod val="50000"/>
                  </a:schemeClr>
                </a:solidFill>
              </a:rPr>
              <a:t>Mellemrubrik skrives enten med fed eller store bogstaver i regular</a:t>
            </a:r>
          </a:p>
          <a:p>
            <a:pPr algn="r"/>
            <a:endParaRPr lang="da-DK" sz="675" b="0" noProof="1">
              <a:solidFill>
                <a:schemeClr val="bg1">
                  <a:lumMod val="50000"/>
                </a:schemeClr>
              </a:solidFill>
            </a:endParaRPr>
          </a:p>
          <a:p>
            <a:pPr algn="r"/>
            <a:r>
              <a:rPr lang="da-DK" sz="675" b="0" noProof="1">
                <a:solidFill>
                  <a:schemeClr val="bg1">
                    <a:lumMod val="50000"/>
                  </a:schemeClr>
                </a:solidFill>
              </a:rPr>
              <a:t>Denne farve er mest egnet til skærm eller projektor</a:t>
            </a:r>
          </a:p>
        </p:txBody>
      </p:sp>
      <p:grpSp>
        <p:nvGrpSpPr>
          <p:cNvPr id="22" name="Gruppe 21"/>
          <p:cNvGrpSpPr/>
          <p:nvPr userDrawn="1"/>
        </p:nvGrpSpPr>
        <p:grpSpPr>
          <a:xfrm>
            <a:off x="-1215674" y="1015605"/>
            <a:ext cx="1107114" cy="1826177"/>
            <a:chOff x="-1620688" y="1354138"/>
            <a:chExt cx="1475960" cy="2434902"/>
          </a:xfrm>
        </p:grpSpPr>
        <p:sp>
          <p:nvSpPr>
            <p:cNvPr id="23" name="Tekstboks 22"/>
            <p:cNvSpPr txBox="1"/>
            <p:nvPr userDrawn="1"/>
          </p:nvSpPr>
          <p:spPr>
            <a:xfrm>
              <a:off x="-1620688" y="1354138"/>
              <a:ext cx="1475960" cy="2434902"/>
            </a:xfrm>
            <a:prstGeom prst="rect">
              <a:avLst/>
            </a:prstGeom>
            <a:noFill/>
          </p:spPr>
          <p:txBody>
            <a:bodyPr wrap="square" lIns="0" tIns="0" rIns="0" bIns="0" rtlCol="0">
              <a:noAutofit/>
            </a:bodyPr>
            <a:lstStyle/>
            <a:p>
              <a:pPr algn="r"/>
              <a:r>
                <a:rPr lang="da-DK" sz="675" b="1">
                  <a:solidFill>
                    <a:schemeClr val="bg1">
                      <a:lumMod val="50000"/>
                    </a:schemeClr>
                  </a:solidFill>
                </a:rPr>
                <a:t>Tekst-typografier</a:t>
              </a:r>
            </a:p>
            <a:p>
              <a:pPr algn="r"/>
              <a:r>
                <a:rPr lang="da-DK" sz="675" b="0">
                  <a:solidFill>
                    <a:schemeClr val="bg1">
                      <a:lumMod val="50000"/>
                    </a:schemeClr>
                  </a:solidFill>
                </a:rPr>
                <a:t>Brug </a:t>
              </a:r>
              <a:r>
                <a:rPr lang="da-DK" sz="675" b="1">
                  <a:solidFill>
                    <a:schemeClr val="bg1">
                      <a:lumMod val="50000"/>
                    </a:schemeClr>
                  </a:solidFill>
                </a:rPr>
                <a:t>TAB</a:t>
              </a:r>
              <a:r>
                <a:rPr lang="da-DK" sz="675" b="0">
                  <a:solidFill>
                    <a:schemeClr val="bg1">
                      <a:lumMod val="50000"/>
                    </a:schemeClr>
                  </a:solidFill>
                </a:rPr>
                <a:t> for at gå frem</a:t>
              </a:r>
            </a:p>
            <a:p>
              <a:pPr algn="r"/>
              <a:r>
                <a:rPr lang="da-DK" sz="675" b="0">
                  <a:solidFill>
                    <a:schemeClr val="bg1">
                      <a:lumMod val="50000"/>
                    </a:schemeClr>
                  </a:solidFill>
                </a:rPr>
                <a:t>i tekst-niveauer</a:t>
              </a:r>
            </a:p>
            <a:p>
              <a:pPr algn="r"/>
              <a:endParaRPr lang="da-DK" sz="675" b="0">
                <a:solidFill>
                  <a:schemeClr val="bg1">
                    <a:lumMod val="50000"/>
                  </a:schemeClr>
                </a:solidFill>
              </a:endParaRPr>
            </a:p>
            <a:p>
              <a:pPr algn="l"/>
              <a:r>
                <a:rPr lang="da-DK" sz="675" b="0">
                  <a:solidFill>
                    <a:schemeClr val="bg1">
                      <a:lumMod val="50000"/>
                    </a:schemeClr>
                  </a:solidFill>
                </a:rPr>
                <a:t>Klik for at indsætte tekst</a:t>
              </a:r>
            </a:p>
            <a:p>
              <a:pPr marL="80992" indent="-80992" algn="l">
                <a:buFont typeface="Arial" panose="020B0604020202020204" pitchFamily="34" charset="0"/>
                <a:buChar char="•"/>
              </a:pPr>
              <a:r>
                <a:rPr lang="da-DK" sz="675" b="0">
                  <a:solidFill>
                    <a:schemeClr val="bg1">
                      <a:lumMod val="50000"/>
                    </a:schemeClr>
                  </a:solidFill>
                </a:rPr>
                <a:t>Andet niveau</a:t>
              </a:r>
            </a:p>
            <a:p>
              <a:pPr marL="215978" indent="-80992" algn="l">
                <a:buFont typeface="Arial" panose="020B0604020202020204" pitchFamily="34" charset="0"/>
                <a:buChar char="•"/>
              </a:pPr>
              <a:r>
                <a:rPr lang="da-DK" sz="600" b="0">
                  <a:solidFill>
                    <a:schemeClr val="bg1">
                      <a:lumMod val="50000"/>
                    </a:schemeClr>
                  </a:solidFill>
                </a:rPr>
                <a:t>Tredje niveau</a:t>
              </a:r>
            </a:p>
            <a:p>
              <a:pPr marL="350965" indent="-80992" algn="l">
                <a:buFont typeface="Arial" panose="020B0604020202020204" pitchFamily="34" charset="0"/>
                <a:buChar char="•"/>
              </a:pPr>
              <a:r>
                <a:rPr lang="da-DK" sz="450" b="0">
                  <a:solidFill>
                    <a:schemeClr val="bg1">
                      <a:lumMod val="50000"/>
                    </a:schemeClr>
                  </a:solidFill>
                </a:rPr>
                <a:t>Fjerde niveau</a:t>
              </a:r>
            </a:p>
            <a:p>
              <a:pPr marL="458954" indent="-80992" algn="l">
                <a:buFont typeface="Arial" panose="020B0604020202020204" pitchFamily="34" charset="0"/>
                <a:buChar char="•"/>
              </a:pPr>
              <a:r>
                <a:rPr lang="da-DK" sz="450" b="0">
                  <a:solidFill>
                    <a:schemeClr val="bg1">
                      <a:lumMod val="50000"/>
                    </a:schemeClr>
                  </a:solidFill>
                </a:rPr>
                <a:t>Femte niveau</a:t>
              </a:r>
            </a:p>
            <a:p>
              <a:pPr algn="r"/>
              <a:endParaRPr lang="da-DK" sz="675" b="0">
                <a:solidFill>
                  <a:schemeClr val="bg1">
                    <a:lumMod val="50000"/>
                  </a:schemeClr>
                </a:solidFill>
              </a:endParaRPr>
            </a:p>
            <a:p>
              <a:pPr algn="r"/>
              <a:r>
                <a:rPr lang="da-DK" sz="675" b="0">
                  <a:solidFill>
                    <a:schemeClr val="bg1">
                      <a:lumMod val="50000"/>
                    </a:schemeClr>
                  </a:solidFill>
                </a:rPr>
                <a:t>For at gå tilbage i tekst-niveauer,</a:t>
              </a:r>
            </a:p>
            <a:p>
              <a:pPr algn="r"/>
              <a:r>
                <a:rPr lang="da-DK" sz="675" b="0">
                  <a:solidFill>
                    <a:schemeClr val="bg1">
                      <a:lumMod val="50000"/>
                    </a:schemeClr>
                  </a:solidFill>
                </a:rPr>
                <a:t>brug </a:t>
              </a:r>
              <a:r>
                <a:rPr lang="da-DK" sz="675" b="1">
                  <a:solidFill>
                    <a:schemeClr val="bg1">
                      <a:lumMod val="50000"/>
                    </a:schemeClr>
                  </a:solidFill>
                </a:rPr>
                <a:t>SHIFT + TAB</a:t>
              </a:r>
            </a:p>
            <a:p>
              <a:pPr algn="r"/>
              <a:endParaRPr lang="da-DK" sz="675" b="0">
                <a:solidFill>
                  <a:schemeClr val="bg1">
                    <a:lumMod val="50000"/>
                  </a:schemeClr>
                </a:solidFill>
              </a:endParaRPr>
            </a:p>
            <a:p>
              <a:pPr algn="r"/>
              <a:endParaRPr lang="da-DK" sz="675" b="0">
                <a:solidFill>
                  <a:schemeClr val="bg1">
                    <a:lumMod val="50000"/>
                  </a:schemeClr>
                </a:solidFill>
              </a:endParaRPr>
            </a:p>
            <a:p>
              <a:pPr algn="r"/>
              <a:r>
                <a:rPr lang="da-DK" sz="675" b="0">
                  <a:solidFill>
                    <a:schemeClr val="bg1">
                      <a:lumMod val="50000"/>
                    </a:schemeClr>
                  </a:solidFill>
                </a:rPr>
                <a:t>Alternativt kan</a:t>
              </a:r>
            </a:p>
            <a:p>
              <a:pPr algn="r"/>
              <a:r>
                <a:rPr lang="da-DK" sz="675" b="1">
                  <a:solidFill>
                    <a:schemeClr val="bg1">
                      <a:lumMod val="50000"/>
                    </a:schemeClr>
                  </a:solidFill>
                </a:rPr>
                <a:t>Forøg og Formindsk </a:t>
              </a:r>
            </a:p>
            <a:p>
              <a:pPr algn="r"/>
              <a:r>
                <a:rPr lang="da-DK" sz="675" b="0">
                  <a:solidFill>
                    <a:schemeClr val="bg1">
                      <a:lumMod val="50000"/>
                    </a:schemeClr>
                  </a:solidFill>
                </a:rPr>
                <a:t>listeniveau bruges</a:t>
              </a:r>
            </a:p>
          </p:txBody>
        </p:sp>
        <p:grpSp>
          <p:nvGrpSpPr>
            <p:cNvPr id="24" name="Gruppe 23"/>
            <p:cNvGrpSpPr/>
            <p:nvPr userDrawn="1"/>
          </p:nvGrpSpPr>
          <p:grpSpPr>
            <a:xfrm>
              <a:off x="-503503" y="3048030"/>
              <a:ext cx="358775" cy="236537"/>
              <a:chOff x="-503503" y="3171825"/>
              <a:chExt cx="358775" cy="236537"/>
            </a:xfrm>
          </p:grpSpPr>
          <p:pic>
            <p:nvPicPr>
              <p:cNvPr id="25"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3503" y="3171825"/>
                <a:ext cx="358775" cy="2365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 name="Afrundet rektangel 25"/>
              <p:cNvSpPr/>
              <p:nvPr userDrawn="1"/>
            </p:nvSpPr>
            <p:spPr>
              <a:xfrm>
                <a:off x="-503503" y="3171825"/>
                <a:ext cx="179387" cy="236537"/>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sz="750"/>
              </a:p>
            </p:txBody>
          </p:sp>
        </p:grpSp>
      </p:grpSp>
    </p:spTree>
    <p:extLst>
      <p:ext uri="{BB962C8B-B14F-4D97-AF65-F5344CB8AC3E}">
        <p14:creationId xmlns:p14="http://schemas.microsoft.com/office/powerpoint/2010/main" val="400714205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o tekstbokse ly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a-DK"/>
              <a:t>Klik for at indsætte overskrift i en eller to linjer</a:t>
            </a:r>
          </a:p>
        </p:txBody>
      </p:sp>
      <p:sp>
        <p:nvSpPr>
          <p:cNvPr id="16" name="Pladsholder til tekst 2"/>
          <p:cNvSpPr>
            <a:spLocks noGrp="1"/>
          </p:cNvSpPr>
          <p:nvPr>
            <p:ph type="body" sz="quarter" idx="23" hasCustomPrompt="1"/>
          </p:nvPr>
        </p:nvSpPr>
        <p:spPr>
          <a:xfrm>
            <a:off x="318642" y="1014414"/>
            <a:ext cx="4185545" cy="3482579"/>
          </a:xfrm>
          <a:prstGeom prst="roundRect">
            <a:avLst>
              <a:gd name="adj" fmla="val 0"/>
            </a:avLst>
          </a:prstGeom>
          <a:solidFill>
            <a:schemeClr val="accent5"/>
          </a:solidFill>
        </p:spPr>
        <p:txBody>
          <a:bodyPr lIns="126000" tIns="126000" rIns="126000" bIns="126000"/>
          <a:lstStyle>
            <a:lvl1pPr>
              <a:defRPr sz="1350">
                <a:solidFill>
                  <a:schemeClr val="tx1"/>
                </a:solidFill>
              </a:defRPr>
            </a:lvl1pPr>
            <a:lvl2pPr marL="172783" indent="-172783">
              <a:spcBef>
                <a:spcPts val="1200"/>
              </a:spcBef>
              <a:defRPr sz="1350">
                <a:solidFill>
                  <a:schemeClr val="tx1"/>
                </a:solidFill>
              </a:defRPr>
            </a:lvl2pPr>
            <a:lvl3pPr marL="404960" indent="-134987">
              <a:defRPr sz="1125">
                <a:solidFill>
                  <a:schemeClr val="tx1"/>
                </a:solidFill>
              </a:defRPr>
            </a:lvl3pPr>
            <a:lvl4pPr marL="539946" indent="-134987">
              <a:defRPr sz="900">
                <a:solidFill>
                  <a:schemeClr val="tx1"/>
                </a:solidFill>
              </a:defRPr>
            </a:lvl4pPr>
            <a:lvl5pPr marL="674933" indent="-134987">
              <a:defRPr sz="750">
                <a:solidFill>
                  <a:schemeClr val="tx1"/>
                </a:solidFill>
              </a:defRPr>
            </a:lvl5pPr>
            <a:lvl6pPr marL="674933" indent="-134987">
              <a:buFont typeface="Arial" panose="020B0604020202020204" pitchFamily="34" charset="0"/>
              <a:buChar char="•"/>
              <a:defRPr>
                <a:solidFill>
                  <a:schemeClr val="tx1"/>
                </a:solidFill>
              </a:defRPr>
            </a:lvl6pPr>
            <a:lvl7pPr marL="674933" indent="-134987">
              <a:buFont typeface="Arial" panose="020B0604020202020204" pitchFamily="34" charset="0"/>
              <a:buChar char="•"/>
              <a:defRPr>
                <a:solidFill>
                  <a:schemeClr val="tx1"/>
                </a:solidFill>
              </a:defRPr>
            </a:lvl7pPr>
            <a:lvl8pPr marL="674933" indent="-134987">
              <a:buFont typeface="Arial" panose="020B0604020202020204" pitchFamily="34" charset="0"/>
              <a:buChar char="•"/>
              <a:defRPr>
                <a:solidFill>
                  <a:schemeClr val="tx1"/>
                </a:solidFill>
              </a:defRPr>
            </a:lvl8pPr>
            <a:lvl9pPr marL="674933" indent="-134987">
              <a:defRPr>
                <a:solidFill>
                  <a:schemeClr val="tx1"/>
                </a:solidFill>
              </a:defRPr>
            </a:lvl9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17" name="Pladsholder til tekst 3"/>
          <p:cNvSpPr>
            <a:spLocks noGrp="1"/>
          </p:cNvSpPr>
          <p:nvPr>
            <p:ph type="body" sz="quarter" idx="28" hasCustomPrompt="1"/>
          </p:nvPr>
        </p:nvSpPr>
        <p:spPr>
          <a:xfrm>
            <a:off x="4639204" y="1015202"/>
            <a:ext cx="4185545" cy="3482579"/>
          </a:xfrm>
          <a:prstGeom prst="roundRect">
            <a:avLst>
              <a:gd name="adj" fmla="val 0"/>
            </a:avLst>
          </a:prstGeom>
          <a:solidFill>
            <a:schemeClr val="accent5"/>
          </a:solidFill>
        </p:spPr>
        <p:txBody>
          <a:bodyPr lIns="126000" tIns="126000" rIns="126000" bIns="126000"/>
          <a:lstStyle>
            <a:lvl1pPr>
              <a:defRPr sz="1350">
                <a:solidFill>
                  <a:schemeClr val="tx1"/>
                </a:solidFill>
              </a:defRPr>
            </a:lvl1pPr>
            <a:lvl2pPr marL="172783" indent="-172783">
              <a:spcBef>
                <a:spcPts val="1200"/>
              </a:spcBef>
              <a:defRPr sz="1350">
                <a:solidFill>
                  <a:schemeClr val="tx1"/>
                </a:solidFill>
              </a:defRPr>
            </a:lvl2pPr>
            <a:lvl3pPr marL="404960" indent="-134987">
              <a:defRPr sz="1125">
                <a:solidFill>
                  <a:schemeClr val="tx1"/>
                </a:solidFill>
              </a:defRPr>
            </a:lvl3pPr>
            <a:lvl4pPr marL="539946" indent="-134987">
              <a:defRPr sz="900">
                <a:solidFill>
                  <a:schemeClr val="tx1"/>
                </a:solidFill>
              </a:defRPr>
            </a:lvl4pPr>
            <a:lvl5pPr marL="674933" indent="-134987">
              <a:defRPr sz="750">
                <a:solidFill>
                  <a:schemeClr val="tx1"/>
                </a:solidFill>
              </a:defRPr>
            </a:lvl5pPr>
            <a:lvl6pPr marL="674933" indent="-134987">
              <a:buFont typeface="Arial" panose="020B0604020202020204" pitchFamily="34" charset="0"/>
              <a:buChar char="•"/>
              <a:defRPr>
                <a:solidFill>
                  <a:schemeClr val="tx1"/>
                </a:solidFill>
              </a:defRPr>
            </a:lvl6pPr>
            <a:lvl7pPr marL="674933" indent="-134987">
              <a:buFont typeface="Arial" panose="020B0604020202020204" pitchFamily="34" charset="0"/>
              <a:buChar char="•"/>
              <a:defRPr>
                <a:solidFill>
                  <a:schemeClr val="tx1"/>
                </a:solidFill>
              </a:defRPr>
            </a:lvl7pPr>
            <a:lvl8pPr marL="674933" indent="-134987">
              <a:buFont typeface="Arial" panose="020B0604020202020204" pitchFamily="34" charset="0"/>
              <a:buChar char="•"/>
              <a:defRPr>
                <a:solidFill>
                  <a:schemeClr val="tx1"/>
                </a:solidFill>
              </a:defRPr>
            </a:lvl8pPr>
            <a:lvl9pPr marL="674933" indent="-134987">
              <a:defRPr>
                <a:solidFill>
                  <a:schemeClr val="tx1"/>
                </a:solidFill>
              </a:defRPr>
            </a:lvl9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3" name="Pladsholder til dato 2"/>
          <p:cNvSpPr>
            <a:spLocks noGrp="1"/>
          </p:cNvSpPr>
          <p:nvPr>
            <p:ph type="dt" sz="half" idx="10"/>
          </p:nvPr>
        </p:nvSpPr>
        <p:spPr/>
        <p:txBody>
          <a:bodyPr/>
          <a:lstStyle/>
          <a:p>
            <a:r>
              <a:rPr lang="sv-SE"/>
              <a:t>26/03/2026</a:t>
            </a:r>
            <a:endParaRPr lang="da-DK"/>
          </a:p>
        </p:txBody>
      </p:sp>
      <p:sp>
        <p:nvSpPr>
          <p:cNvPr id="4" name="Pladsholder til sidefod 3" hidden="1"/>
          <p:cNvSpPr>
            <a:spLocks noGrp="1"/>
          </p:cNvSpPr>
          <p:nvPr>
            <p:ph type="ftr" sz="quarter" idx="11"/>
          </p:nvPr>
        </p:nvSpPr>
        <p:spPr/>
        <p:txBody>
          <a:bodyPr/>
          <a:lstStyle/>
          <a:p>
            <a:r>
              <a:rPr lang="en-US"/>
              <a:t>Stakeholder Forum Agenda - Classification: External</a:t>
            </a:r>
            <a:endParaRPr lang="da-DK"/>
          </a:p>
        </p:txBody>
      </p:sp>
      <p:sp>
        <p:nvSpPr>
          <p:cNvPr id="5" name="Pladsholder til diasnummer 4"/>
          <p:cNvSpPr>
            <a:spLocks noGrp="1"/>
          </p:cNvSpPr>
          <p:nvPr>
            <p:ph type="sldNum" sz="quarter" idx="12"/>
          </p:nvPr>
        </p:nvSpPr>
        <p:spPr/>
        <p:txBody>
          <a:bodyPr/>
          <a:lstStyle/>
          <a:p>
            <a:fld id="{667EC89C-17A0-4E64-A6D2-B825673CEEDF}" type="slidenum">
              <a:rPr lang="da-DK" smtClean="0"/>
              <a:pPr/>
              <a:t>‹#›</a:t>
            </a:fld>
            <a:endParaRPr lang="da-DK"/>
          </a:p>
        </p:txBody>
      </p:sp>
      <p:grpSp>
        <p:nvGrpSpPr>
          <p:cNvPr id="21" name="Gruppe 20"/>
          <p:cNvGrpSpPr/>
          <p:nvPr userDrawn="1"/>
        </p:nvGrpSpPr>
        <p:grpSpPr>
          <a:xfrm>
            <a:off x="-1215674" y="1015605"/>
            <a:ext cx="1107114" cy="1826177"/>
            <a:chOff x="-1620688" y="1354138"/>
            <a:chExt cx="1475960" cy="2434902"/>
          </a:xfrm>
        </p:grpSpPr>
        <p:sp>
          <p:nvSpPr>
            <p:cNvPr id="22" name="Tekstboks 21"/>
            <p:cNvSpPr txBox="1"/>
            <p:nvPr userDrawn="1"/>
          </p:nvSpPr>
          <p:spPr>
            <a:xfrm>
              <a:off x="-1620688" y="1354138"/>
              <a:ext cx="1475960" cy="2434902"/>
            </a:xfrm>
            <a:prstGeom prst="rect">
              <a:avLst/>
            </a:prstGeom>
            <a:noFill/>
          </p:spPr>
          <p:txBody>
            <a:bodyPr wrap="square" lIns="0" tIns="0" rIns="0" bIns="0" rtlCol="0">
              <a:noAutofit/>
            </a:bodyPr>
            <a:lstStyle/>
            <a:p>
              <a:pPr algn="r"/>
              <a:r>
                <a:rPr lang="da-DK" sz="675" b="1">
                  <a:solidFill>
                    <a:schemeClr val="bg1">
                      <a:lumMod val="50000"/>
                    </a:schemeClr>
                  </a:solidFill>
                </a:rPr>
                <a:t>Tekst-typografier</a:t>
              </a:r>
            </a:p>
            <a:p>
              <a:pPr algn="r"/>
              <a:r>
                <a:rPr lang="da-DK" sz="675" b="0">
                  <a:solidFill>
                    <a:schemeClr val="bg1">
                      <a:lumMod val="50000"/>
                    </a:schemeClr>
                  </a:solidFill>
                </a:rPr>
                <a:t>Brug </a:t>
              </a:r>
              <a:r>
                <a:rPr lang="da-DK" sz="675" b="1">
                  <a:solidFill>
                    <a:schemeClr val="bg1">
                      <a:lumMod val="50000"/>
                    </a:schemeClr>
                  </a:solidFill>
                </a:rPr>
                <a:t>TAB</a:t>
              </a:r>
              <a:r>
                <a:rPr lang="da-DK" sz="675" b="0">
                  <a:solidFill>
                    <a:schemeClr val="bg1">
                      <a:lumMod val="50000"/>
                    </a:schemeClr>
                  </a:solidFill>
                </a:rPr>
                <a:t> for at gå frem</a:t>
              </a:r>
            </a:p>
            <a:p>
              <a:pPr algn="r"/>
              <a:r>
                <a:rPr lang="da-DK" sz="675" b="0">
                  <a:solidFill>
                    <a:schemeClr val="bg1">
                      <a:lumMod val="50000"/>
                    </a:schemeClr>
                  </a:solidFill>
                </a:rPr>
                <a:t>i tekst-niveauer</a:t>
              </a:r>
            </a:p>
            <a:p>
              <a:pPr algn="r"/>
              <a:endParaRPr lang="da-DK" sz="675" b="0">
                <a:solidFill>
                  <a:schemeClr val="bg1">
                    <a:lumMod val="50000"/>
                  </a:schemeClr>
                </a:solidFill>
              </a:endParaRPr>
            </a:p>
            <a:p>
              <a:pPr algn="l"/>
              <a:r>
                <a:rPr lang="da-DK" sz="675" b="0">
                  <a:solidFill>
                    <a:schemeClr val="bg1">
                      <a:lumMod val="50000"/>
                    </a:schemeClr>
                  </a:solidFill>
                </a:rPr>
                <a:t>Klik for at indsætte tekst</a:t>
              </a:r>
            </a:p>
            <a:p>
              <a:pPr marL="80992" indent="-80992" algn="l">
                <a:buFont typeface="Arial" panose="020B0604020202020204" pitchFamily="34" charset="0"/>
                <a:buChar char="•"/>
              </a:pPr>
              <a:r>
                <a:rPr lang="da-DK" sz="675" b="0">
                  <a:solidFill>
                    <a:schemeClr val="bg1">
                      <a:lumMod val="50000"/>
                    </a:schemeClr>
                  </a:solidFill>
                </a:rPr>
                <a:t>Andet niveau</a:t>
              </a:r>
            </a:p>
            <a:p>
              <a:pPr marL="215978" indent="-80992" algn="l">
                <a:buFont typeface="Arial" panose="020B0604020202020204" pitchFamily="34" charset="0"/>
                <a:buChar char="•"/>
              </a:pPr>
              <a:r>
                <a:rPr lang="da-DK" sz="600" b="0">
                  <a:solidFill>
                    <a:schemeClr val="bg1">
                      <a:lumMod val="50000"/>
                    </a:schemeClr>
                  </a:solidFill>
                </a:rPr>
                <a:t>Tredje niveau</a:t>
              </a:r>
            </a:p>
            <a:p>
              <a:pPr marL="350965" indent="-80992" algn="l">
                <a:buFont typeface="Arial" panose="020B0604020202020204" pitchFamily="34" charset="0"/>
                <a:buChar char="•"/>
              </a:pPr>
              <a:r>
                <a:rPr lang="da-DK" sz="450" b="0">
                  <a:solidFill>
                    <a:schemeClr val="bg1">
                      <a:lumMod val="50000"/>
                    </a:schemeClr>
                  </a:solidFill>
                </a:rPr>
                <a:t>Fjerde niveau</a:t>
              </a:r>
            </a:p>
            <a:p>
              <a:pPr marL="458954" indent="-80992" algn="l">
                <a:buFont typeface="Arial" panose="020B0604020202020204" pitchFamily="34" charset="0"/>
                <a:buChar char="•"/>
              </a:pPr>
              <a:r>
                <a:rPr lang="da-DK" sz="450" b="0">
                  <a:solidFill>
                    <a:schemeClr val="bg1">
                      <a:lumMod val="50000"/>
                    </a:schemeClr>
                  </a:solidFill>
                </a:rPr>
                <a:t>Femte niveau</a:t>
              </a:r>
            </a:p>
            <a:p>
              <a:pPr algn="r"/>
              <a:endParaRPr lang="da-DK" sz="675" b="0">
                <a:solidFill>
                  <a:schemeClr val="bg1">
                    <a:lumMod val="50000"/>
                  </a:schemeClr>
                </a:solidFill>
              </a:endParaRPr>
            </a:p>
            <a:p>
              <a:pPr algn="r"/>
              <a:r>
                <a:rPr lang="da-DK" sz="675" b="0">
                  <a:solidFill>
                    <a:schemeClr val="bg1">
                      <a:lumMod val="50000"/>
                    </a:schemeClr>
                  </a:solidFill>
                </a:rPr>
                <a:t>For at gå tilbage i tekst-niveauer,</a:t>
              </a:r>
            </a:p>
            <a:p>
              <a:pPr algn="r"/>
              <a:r>
                <a:rPr lang="da-DK" sz="675" b="0">
                  <a:solidFill>
                    <a:schemeClr val="bg1">
                      <a:lumMod val="50000"/>
                    </a:schemeClr>
                  </a:solidFill>
                </a:rPr>
                <a:t>brug </a:t>
              </a:r>
              <a:r>
                <a:rPr lang="da-DK" sz="675" b="1">
                  <a:solidFill>
                    <a:schemeClr val="bg1">
                      <a:lumMod val="50000"/>
                    </a:schemeClr>
                  </a:solidFill>
                </a:rPr>
                <a:t>SHIFT + TAB</a:t>
              </a:r>
            </a:p>
            <a:p>
              <a:pPr algn="r"/>
              <a:endParaRPr lang="da-DK" sz="675" b="0">
                <a:solidFill>
                  <a:schemeClr val="bg1">
                    <a:lumMod val="50000"/>
                  </a:schemeClr>
                </a:solidFill>
              </a:endParaRPr>
            </a:p>
            <a:p>
              <a:pPr algn="r"/>
              <a:endParaRPr lang="da-DK" sz="675" b="0">
                <a:solidFill>
                  <a:schemeClr val="bg1">
                    <a:lumMod val="50000"/>
                  </a:schemeClr>
                </a:solidFill>
              </a:endParaRPr>
            </a:p>
            <a:p>
              <a:pPr algn="r"/>
              <a:r>
                <a:rPr lang="da-DK" sz="675" b="0">
                  <a:solidFill>
                    <a:schemeClr val="bg1">
                      <a:lumMod val="50000"/>
                    </a:schemeClr>
                  </a:solidFill>
                </a:rPr>
                <a:t>Alternativt kan</a:t>
              </a:r>
            </a:p>
            <a:p>
              <a:pPr algn="r"/>
              <a:r>
                <a:rPr lang="da-DK" sz="675" b="1">
                  <a:solidFill>
                    <a:schemeClr val="bg1">
                      <a:lumMod val="50000"/>
                    </a:schemeClr>
                  </a:solidFill>
                </a:rPr>
                <a:t>Forøg og Formindsk </a:t>
              </a:r>
            </a:p>
            <a:p>
              <a:pPr algn="r"/>
              <a:r>
                <a:rPr lang="da-DK" sz="675" b="0">
                  <a:solidFill>
                    <a:schemeClr val="bg1">
                      <a:lumMod val="50000"/>
                    </a:schemeClr>
                  </a:solidFill>
                </a:rPr>
                <a:t>listeniveau bruges</a:t>
              </a:r>
            </a:p>
          </p:txBody>
        </p:sp>
        <p:grpSp>
          <p:nvGrpSpPr>
            <p:cNvPr id="23" name="Gruppe 22"/>
            <p:cNvGrpSpPr/>
            <p:nvPr userDrawn="1"/>
          </p:nvGrpSpPr>
          <p:grpSpPr>
            <a:xfrm>
              <a:off x="-503503" y="3048030"/>
              <a:ext cx="358775" cy="236537"/>
              <a:chOff x="-503503" y="3171825"/>
              <a:chExt cx="358775" cy="236537"/>
            </a:xfrm>
          </p:grpSpPr>
          <p:pic>
            <p:nvPicPr>
              <p:cNvPr id="2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3503" y="3171825"/>
                <a:ext cx="358775" cy="2365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Afrundet rektangel 24"/>
              <p:cNvSpPr/>
              <p:nvPr userDrawn="1"/>
            </p:nvSpPr>
            <p:spPr>
              <a:xfrm>
                <a:off x="-503503" y="3171825"/>
                <a:ext cx="179387" cy="236537"/>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sz="750"/>
              </a:p>
            </p:txBody>
          </p:sp>
        </p:grpSp>
      </p:grpSp>
      <p:sp>
        <p:nvSpPr>
          <p:cNvPr id="26" name="Tekstboks 25"/>
          <p:cNvSpPr txBox="1"/>
          <p:nvPr userDrawn="1"/>
        </p:nvSpPr>
        <p:spPr>
          <a:xfrm>
            <a:off x="-1585485" y="0"/>
            <a:ext cx="1450682" cy="573528"/>
          </a:xfrm>
          <a:prstGeom prst="rect">
            <a:avLst/>
          </a:prstGeom>
          <a:noFill/>
        </p:spPr>
        <p:txBody>
          <a:bodyPr wrap="square" lIns="0" tIns="0" rIns="0" bIns="0" rtlCol="0">
            <a:noAutofit/>
          </a:bodyPr>
          <a:lstStyle/>
          <a:p>
            <a:pPr algn="r"/>
            <a:r>
              <a:rPr lang="da-DK" sz="675" b="1" noProof="1">
                <a:solidFill>
                  <a:schemeClr val="bg1">
                    <a:lumMod val="50000"/>
                  </a:schemeClr>
                </a:solidFill>
              </a:rPr>
              <a:t>Boks:</a:t>
            </a:r>
          </a:p>
          <a:p>
            <a:pPr algn="r"/>
            <a:r>
              <a:rPr lang="da-DK" sz="675" b="0" noProof="1">
                <a:solidFill>
                  <a:schemeClr val="bg1">
                    <a:lumMod val="50000"/>
                  </a:schemeClr>
                </a:solidFill>
              </a:rPr>
              <a:t>Mellemrubrik skrives enten med fed eller store bogstaver i regular</a:t>
            </a:r>
          </a:p>
          <a:p>
            <a:pPr algn="r"/>
            <a:endParaRPr lang="da-DK" sz="675" b="0" noProof="1">
              <a:solidFill>
                <a:schemeClr val="bg1">
                  <a:lumMod val="50000"/>
                </a:schemeClr>
              </a:solidFill>
            </a:endParaRPr>
          </a:p>
          <a:p>
            <a:pPr algn="r"/>
            <a:r>
              <a:rPr lang="da-DK" sz="675" b="0" noProof="1">
                <a:solidFill>
                  <a:schemeClr val="bg1">
                    <a:lumMod val="50000"/>
                  </a:schemeClr>
                </a:solidFill>
              </a:rPr>
              <a:t>Denne farve er egnet til print</a:t>
            </a:r>
          </a:p>
        </p:txBody>
      </p:sp>
    </p:spTree>
    <p:extLst>
      <p:ext uri="{BB962C8B-B14F-4D97-AF65-F5344CB8AC3E}">
        <p14:creationId xmlns:p14="http://schemas.microsoft.com/office/powerpoint/2010/main" val="193565675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re tekstbokse mørk">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a-DK"/>
              <a:t>Klik for at indsætte overskrift i en eller to linjer</a:t>
            </a:r>
          </a:p>
        </p:txBody>
      </p:sp>
      <p:sp>
        <p:nvSpPr>
          <p:cNvPr id="15" name="Pladsholder til tekst 2"/>
          <p:cNvSpPr>
            <a:spLocks noGrp="1"/>
          </p:cNvSpPr>
          <p:nvPr>
            <p:ph type="body" sz="quarter" idx="23" hasCustomPrompt="1"/>
          </p:nvPr>
        </p:nvSpPr>
        <p:spPr>
          <a:xfrm>
            <a:off x="318643" y="1014414"/>
            <a:ext cx="2700353" cy="3482579"/>
          </a:xfrm>
          <a:prstGeom prst="roundRect">
            <a:avLst>
              <a:gd name="adj" fmla="val 0"/>
            </a:avLst>
          </a:prstGeom>
          <a:solidFill>
            <a:srgbClr val="666666"/>
          </a:solidFill>
        </p:spPr>
        <p:txBody>
          <a:bodyPr lIns="126000" tIns="126000" rIns="126000" bIns="126000"/>
          <a:lstStyle>
            <a:lvl1pPr>
              <a:defRPr sz="1350">
                <a:solidFill>
                  <a:schemeClr val="bg1"/>
                </a:solidFill>
              </a:defRPr>
            </a:lvl1pPr>
            <a:lvl2pPr marL="172783" indent="-172783">
              <a:spcBef>
                <a:spcPts val="1200"/>
              </a:spcBef>
              <a:defRPr sz="1350">
                <a:solidFill>
                  <a:schemeClr val="bg1"/>
                </a:solidFill>
              </a:defRPr>
            </a:lvl2pPr>
            <a:lvl3pPr marL="404960" indent="-134987">
              <a:defRPr sz="1125">
                <a:solidFill>
                  <a:schemeClr val="bg1"/>
                </a:solidFill>
              </a:defRPr>
            </a:lvl3pPr>
            <a:lvl4pPr marL="539946" indent="-134987">
              <a:defRPr sz="900">
                <a:solidFill>
                  <a:schemeClr val="bg1"/>
                </a:solidFill>
              </a:defRPr>
            </a:lvl4pPr>
            <a:lvl5pPr marL="674933" indent="-134987">
              <a:defRPr sz="750">
                <a:solidFill>
                  <a:schemeClr val="bg1"/>
                </a:solidFill>
              </a:defRPr>
            </a:lvl5pPr>
            <a:lvl6pPr marL="674933" indent="-134987">
              <a:buFont typeface="Arial" panose="020B0604020202020204" pitchFamily="34" charset="0"/>
              <a:buChar char="•"/>
              <a:defRPr>
                <a:solidFill>
                  <a:schemeClr val="bg1"/>
                </a:solidFill>
              </a:defRPr>
            </a:lvl6pPr>
            <a:lvl7pPr marL="674933" indent="-134987">
              <a:buFont typeface="Arial" panose="020B0604020202020204" pitchFamily="34" charset="0"/>
              <a:buChar char="•"/>
              <a:defRPr>
                <a:solidFill>
                  <a:schemeClr val="bg1"/>
                </a:solidFill>
              </a:defRPr>
            </a:lvl7pPr>
            <a:lvl8pPr marL="674933" indent="-134987">
              <a:buFont typeface="Arial" panose="020B0604020202020204" pitchFamily="34" charset="0"/>
              <a:buChar char="•"/>
              <a:defRPr>
                <a:solidFill>
                  <a:schemeClr val="bg1"/>
                </a:solidFill>
              </a:defRPr>
            </a:lvl8pPr>
            <a:lvl9pPr marL="674933" indent="-134987">
              <a:defRPr>
                <a:solidFill>
                  <a:schemeClr val="bg1"/>
                </a:solidFill>
              </a:defRPr>
            </a:lvl9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17" name="Pladsholder til tekst 3"/>
          <p:cNvSpPr>
            <a:spLocks noGrp="1"/>
          </p:cNvSpPr>
          <p:nvPr>
            <p:ph type="body" sz="quarter" idx="28" hasCustomPrompt="1"/>
          </p:nvPr>
        </p:nvSpPr>
        <p:spPr>
          <a:xfrm>
            <a:off x="3213419" y="1015202"/>
            <a:ext cx="2700353" cy="3482579"/>
          </a:xfrm>
          <a:prstGeom prst="roundRect">
            <a:avLst>
              <a:gd name="adj" fmla="val 0"/>
            </a:avLst>
          </a:prstGeom>
          <a:solidFill>
            <a:srgbClr val="666666"/>
          </a:solidFill>
        </p:spPr>
        <p:txBody>
          <a:bodyPr lIns="126000" tIns="126000" rIns="126000" bIns="126000"/>
          <a:lstStyle>
            <a:lvl1pPr>
              <a:defRPr sz="1350">
                <a:solidFill>
                  <a:schemeClr val="bg1"/>
                </a:solidFill>
              </a:defRPr>
            </a:lvl1pPr>
            <a:lvl2pPr marL="172783" indent="-172783">
              <a:spcBef>
                <a:spcPts val="1200"/>
              </a:spcBef>
              <a:defRPr sz="1350">
                <a:solidFill>
                  <a:schemeClr val="bg1"/>
                </a:solidFill>
              </a:defRPr>
            </a:lvl2pPr>
            <a:lvl3pPr marL="404960" indent="-134987">
              <a:defRPr sz="1125">
                <a:solidFill>
                  <a:schemeClr val="bg1"/>
                </a:solidFill>
              </a:defRPr>
            </a:lvl3pPr>
            <a:lvl4pPr marL="539946" indent="-134987">
              <a:defRPr sz="900">
                <a:solidFill>
                  <a:schemeClr val="bg1"/>
                </a:solidFill>
              </a:defRPr>
            </a:lvl4pPr>
            <a:lvl5pPr marL="674933" indent="-134987">
              <a:defRPr sz="750">
                <a:solidFill>
                  <a:schemeClr val="bg1"/>
                </a:solidFill>
              </a:defRPr>
            </a:lvl5pPr>
            <a:lvl6pPr marL="674933" indent="-134987">
              <a:buFont typeface="Arial" panose="020B0604020202020204" pitchFamily="34" charset="0"/>
              <a:buChar char="•"/>
              <a:defRPr>
                <a:solidFill>
                  <a:schemeClr val="bg1"/>
                </a:solidFill>
              </a:defRPr>
            </a:lvl6pPr>
            <a:lvl7pPr marL="674933" indent="-134987">
              <a:buFont typeface="Arial" panose="020B0604020202020204" pitchFamily="34" charset="0"/>
              <a:buChar char="•"/>
              <a:defRPr>
                <a:solidFill>
                  <a:schemeClr val="bg1"/>
                </a:solidFill>
              </a:defRPr>
            </a:lvl7pPr>
            <a:lvl8pPr marL="674933" indent="-134987">
              <a:buFont typeface="Arial" panose="020B0604020202020204" pitchFamily="34" charset="0"/>
              <a:buChar char="•"/>
              <a:defRPr>
                <a:solidFill>
                  <a:schemeClr val="bg1"/>
                </a:solidFill>
              </a:defRPr>
            </a:lvl8pPr>
            <a:lvl9pPr marL="674933" indent="-134987">
              <a:defRPr>
                <a:solidFill>
                  <a:schemeClr val="bg1"/>
                </a:solidFill>
              </a:defRPr>
            </a:lvl9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18" name="Pladsholder til tekst 4"/>
          <p:cNvSpPr>
            <a:spLocks noGrp="1"/>
          </p:cNvSpPr>
          <p:nvPr>
            <p:ph type="body" sz="quarter" idx="29" hasCustomPrompt="1"/>
          </p:nvPr>
        </p:nvSpPr>
        <p:spPr>
          <a:xfrm>
            <a:off x="6124398" y="1015202"/>
            <a:ext cx="2700353" cy="3482579"/>
          </a:xfrm>
          <a:prstGeom prst="roundRect">
            <a:avLst>
              <a:gd name="adj" fmla="val 0"/>
            </a:avLst>
          </a:prstGeom>
          <a:solidFill>
            <a:srgbClr val="666666"/>
          </a:solidFill>
        </p:spPr>
        <p:txBody>
          <a:bodyPr lIns="126000" tIns="126000" rIns="126000" bIns="126000"/>
          <a:lstStyle>
            <a:lvl1pPr>
              <a:defRPr sz="1350">
                <a:solidFill>
                  <a:schemeClr val="bg1"/>
                </a:solidFill>
              </a:defRPr>
            </a:lvl1pPr>
            <a:lvl2pPr marL="172783" indent="-172783">
              <a:spcBef>
                <a:spcPts val="1200"/>
              </a:spcBef>
              <a:defRPr sz="1350">
                <a:solidFill>
                  <a:schemeClr val="bg1"/>
                </a:solidFill>
              </a:defRPr>
            </a:lvl2pPr>
            <a:lvl3pPr marL="404960" indent="-134987">
              <a:defRPr sz="1125">
                <a:solidFill>
                  <a:schemeClr val="bg1"/>
                </a:solidFill>
              </a:defRPr>
            </a:lvl3pPr>
            <a:lvl4pPr marL="539946" indent="-134987">
              <a:defRPr sz="900">
                <a:solidFill>
                  <a:schemeClr val="bg1"/>
                </a:solidFill>
              </a:defRPr>
            </a:lvl4pPr>
            <a:lvl5pPr marL="674933" indent="-134987">
              <a:defRPr sz="750">
                <a:solidFill>
                  <a:schemeClr val="bg1"/>
                </a:solidFill>
              </a:defRPr>
            </a:lvl5pPr>
            <a:lvl6pPr marL="674933" indent="-134987">
              <a:buFont typeface="Arial" panose="020B0604020202020204" pitchFamily="34" charset="0"/>
              <a:buChar char="•"/>
              <a:defRPr>
                <a:solidFill>
                  <a:schemeClr val="bg1"/>
                </a:solidFill>
              </a:defRPr>
            </a:lvl6pPr>
            <a:lvl7pPr marL="674933" indent="-134987">
              <a:buFont typeface="Arial" panose="020B0604020202020204" pitchFamily="34" charset="0"/>
              <a:buChar char="•"/>
              <a:defRPr>
                <a:solidFill>
                  <a:schemeClr val="bg1"/>
                </a:solidFill>
              </a:defRPr>
            </a:lvl7pPr>
            <a:lvl8pPr marL="674933" indent="-134987">
              <a:buFont typeface="Arial" panose="020B0604020202020204" pitchFamily="34" charset="0"/>
              <a:buChar char="•"/>
              <a:defRPr>
                <a:solidFill>
                  <a:schemeClr val="bg1"/>
                </a:solidFill>
              </a:defRPr>
            </a:lvl8pPr>
            <a:lvl9pPr marL="674933" indent="-134987">
              <a:defRPr>
                <a:solidFill>
                  <a:schemeClr val="bg1"/>
                </a:solidFill>
              </a:defRPr>
            </a:lvl9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3" name="Pladsholder til dato 2"/>
          <p:cNvSpPr>
            <a:spLocks noGrp="1"/>
          </p:cNvSpPr>
          <p:nvPr>
            <p:ph type="dt" sz="half" idx="10"/>
          </p:nvPr>
        </p:nvSpPr>
        <p:spPr/>
        <p:txBody>
          <a:bodyPr/>
          <a:lstStyle/>
          <a:p>
            <a:r>
              <a:rPr lang="sv-SE"/>
              <a:t>26/03/2026</a:t>
            </a:r>
            <a:endParaRPr lang="da-DK"/>
          </a:p>
        </p:txBody>
      </p:sp>
      <p:sp>
        <p:nvSpPr>
          <p:cNvPr id="4" name="Pladsholder til sidefod 3" hidden="1"/>
          <p:cNvSpPr>
            <a:spLocks noGrp="1"/>
          </p:cNvSpPr>
          <p:nvPr>
            <p:ph type="ftr" sz="quarter" idx="11"/>
          </p:nvPr>
        </p:nvSpPr>
        <p:spPr/>
        <p:txBody>
          <a:bodyPr/>
          <a:lstStyle/>
          <a:p>
            <a:r>
              <a:rPr lang="en-US"/>
              <a:t>Stakeholder Forum Agenda - Classification: External</a:t>
            </a:r>
            <a:endParaRPr lang="da-DK"/>
          </a:p>
        </p:txBody>
      </p:sp>
      <p:sp>
        <p:nvSpPr>
          <p:cNvPr id="5" name="Pladsholder til diasnummer 4"/>
          <p:cNvSpPr>
            <a:spLocks noGrp="1"/>
          </p:cNvSpPr>
          <p:nvPr>
            <p:ph type="sldNum" sz="quarter" idx="12"/>
          </p:nvPr>
        </p:nvSpPr>
        <p:spPr/>
        <p:txBody>
          <a:bodyPr/>
          <a:lstStyle/>
          <a:p>
            <a:fld id="{667EC89C-17A0-4E64-A6D2-B825673CEEDF}" type="slidenum">
              <a:rPr lang="da-DK" smtClean="0"/>
              <a:pPr/>
              <a:t>‹#›</a:t>
            </a:fld>
            <a:endParaRPr lang="da-DK"/>
          </a:p>
        </p:txBody>
      </p:sp>
      <p:grpSp>
        <p:nvGrpSpPr>
          <p:cNvPr id="23" name="Gruppe 22"/>
          <p:cNvGrpSpPr/>
          <p:nvPr userDrawn="1"/>
        </p:nvGrpSpPr>
        <p:grpSpPr>
          <a:xfrm>
            <a:off x="-1215674" y="1015605"/>
            <a:ext cx="1107114" cy="1826177"/>
            <a:chOff x="-1620688" y="1354138"/>
            <a:chExt cx="1475960" cy="2434902"/>
          </a:xfrm>
        </p:grpSpPr>
        <p:sp>
          <p:nvSpPr>
            <p:cNvPr id="24" name="Tekstboks 23"/>
            <p:cNvSpPr txBox="1"/>
            <p:nvPr userDrawn="1"/>
          </p:nvSpPr>
          <p:spPr>
            <a:xfrm>
              <a:off x="-1620688" y="1354138"/>
              <a:ext cx="1475960" cy="2434902"/>
            </a:xfrm>
            <a:prstGeom prst="rect">
              <a:avLst/>
            </a:prstGeom>
            <a:noFill/>
          </p:spPr>
          <p:txBody>
            <a:bodyPr wrap="square" lIns="0" tIns="0" rIns="0" bIns="0" rtlCol="0">
              <a:noAutofit/>
            </a:bodyPr>
            <a:lstStyle/>
            <a:p>
              <a:pPr algn="r"/>
              <a:r>
                <a:rPr lang="da-DK" sz="675" b="1">
                  <a:solidFill>
                    <a:schemeClr val="bg1">
                      <a:lumMod val="50000"/>
                    </a:schemeClr>
                  </a:solidFill>
                </a:rPr>
                <a:t>Tekst-typografier</a:t>
              </a:r>
            </a:p>
            <a:p>
              <a:pPr algn="r"/>
              <a:r>
                <a:rPr lang="da-DK" sz="675" b="0">
                  <a:solidFill>
                    <a:schemeClr val="bg1">
                      <a:lumMod val="50000"/>
                    </a:schemeClr>
                  </a:solidFill>
                </a:rPr>
                <a:t>Brug </a:t>
              </a:r>
              <a:r>
                <a:rPr lang="da-DK" sz="675" b="1">
                  <a:solidFill>
                    <a:schemeClr val="bg1">
                      <a:lumMod val="50000"/>
                    </a:schemeClr>
                  </a:solidFill>
                </a:rPr>
                <a:t>TAB</a:t>
              </a:r>
              <a:r>
                <a:rPr lang="da-DK" sz="675" b="0">
                  <a:solidFill>
                    <a:schemeClr val="bg1">
                      <a:lumMod val="50000"/>
                    </a:schemeClr>
                  </a:solidFill>
                </a:rPr>
                <a:t> for at gå frem</a:t>
              </a:r>
            </a:p>
            <a:p>
              <a:pPr algn="r"/>
              <a:r>
                <a:rPr lang="da-DK" sz="675" b="0">
                  <a:solidFill>
                    <a:schemeClr val="bg1">
                      <a:lumMod val="50000"/>
                    </a:schemeClr>
                  </a:solidFill>
                </a:rPr>
                <a:t>i tekst-niveauer</a:t>
              </a:r>
            </a:p>
            <a:p>
              <a:pPr algn="r"/>
              <a:endParaRPr lang="da-DK" sz="675" b="0">
                <a:solidFill>
                  <a:schemeClr val="bg1">
                    <a:lumMod val="50000"/>
                  </a:schemeClr>
                </a:solidFill>
              </a:endParaRPr>
            </a:p>
            <a:p>
              <a:pPr algn="l"/>
              <a:r>
                <a:rPr lang="da-DK" sz="675" b="0">
                  <a:solidFill>
                    <a:schemeClr val="bg1">
                      <a:lumMod val="50000"/>
                    </a:schemeClr>
                  </a:solidFill>
                </a:rPr>
                <a:t>Klik for at indsætte tekst</a:t>
              </a:r>
            </a:p>
            <a:p>
              <a:pPr marL="80992" indent="-80992" algn="l">
                <a:buFont typeface="Arial" panose="020B0604020202020204" pitchFamily="34" charset="0"/>
                <a:buChar char="•"/>
              </a:pPr>
              <a:r>
                <a:rPr lang="da-DK" sz="675" b="0">
                  <a:solidFill>
                    <a:schemeClr val="bg1">
                      <a:lumMod val="50000"/>
                    </a:schemeClr>
                  </a:solidFill>
                </a:rPr>
                <a:t>Andet niveau</a:t>
              </a:r>
            </a:p>
            <a:p>
              <a:pPr marL="215978" indent="-80992" algn="l">
                <a:buFont typeface="Arial" panose="020B0604020202020204" pitchFamily="34" charset="0"/>
                <a:buChar char="•"/>
              </a:pPr>
              <a:r>
                <a:rPr lang="da-DK" sz="600" b="0">
                  <a:solidFill>
                    <a:schemeClr val="bg1">
                      <a:lumMod val="50000"/>
                    </a:schemeClr>
                  </a:solidFill>
                </a:rPr>
                <a:t>Tredje niveau</a:t>
              </a:r>
            </a:p>
            <a:p>
              <a:pPr marL="350965" indent="-80992" algn="l">
                <a:buFont typeface="Arial" panose="020B0604020202020204" pitchFamily="34" charset="0"/>
                <a:buChar char="•"/>
              </a:pPr>
              <a:r>
                <a:rPr lang="da-DK" sz="450" b="0">
                  <a:solidFill>
                    <a:schemeClr val="bg1">
                      <a:lumMod val="50000"/>
                    </a:schemeClr>
                  </a:solidFill>
                </a:rPr>
                <a:t>Fjerde niveau</a:t>
              </a:r>
            </a:p>
            <a:p>
              <a:pPr marL="458954" indent="-80992" algn="l">
                <a:buFont typeface="Arial" panose="020B0604020202020204" pitchFamily="34" charset="0"/>
                <a:buChar char="•"/>
              </a:pPr>
              <a:r>
                <a:rPr lang="da-DK" sz="450" b="0">
                  <a:solidFill>
                    <a:schemeClr val="bg1">
                      <a:lumMod val="50000"/>
                    </a:schemeClr>
                  </a:solidFill>
                </a:rPr>
                <a:t>Femte niveau</a:t>
              </a:r>
            </a:p>
            <a:p>
              <a:pPr algn="r"/>
              <a:endParaRPr lang="da-DK" sz="675" b="0">
                <a:solidFill>
                  <a:schemeClr val="bg1">
                    <a:lumMod val="50000"/>
                  </a:schemeClr>
                </a:solidFill>
              </a:endParaRPr>
            </a:p>
            <a:p>
              <a:pPr algn="r"/>
              <a:r>
                <a:rPr lang="da-DK" sz="675" b="0">
                  <a:solidFill>
                    <a:schemeClr val="bg1">
                      <a:lumMod val="50000"/>
                    </a:schemeClr>
                  </a:solidFill>
                </a:rPr>
                <a:t>For at gå tilbage i tekst-niveauer,</a:t>
              </a:r>
            </a:p>
            <a:p>
              <a:pPr algn="r"/>
              <a:r>
                <a:rPr lang="da-DK" sz="675" b="0">
                  <a:solidFill>
                    <a:schemeClr val="bg1">
                      <a:lumMod val="50000"/>
                    </a:schemeClr>
                  </a:solidFill>
                </a:rPr>
                <a:t>brug </a:t>
              </a:r>
              <a:r>
                <a:rPr lang="da-DK" sz="675" b="1">
                  <a:solidFill>
                    <a:schemeClr val="bg1">
                      <a:lumMod val="50000"/>
                    </a:schemeClr>
                  </a:solidFill>
                </a:rPr>
                <a:t>SHIFT + TAB</a:t>
              </a:r>
            </a:p>
            <a:p>
              <a:pPr algn="r"/>
              <a:endParaRPr lang="da-DK" sz="675" b="0">
                <a:solidFill>
                  <a:schemeClr val="bg1">
                    <a:lumMod val="50000"/>
                  </a:schemeClr>
                </a:solidFill>
              </a:endParaRPr>
            </a:p>
            <a:p>
              <a:pPr algn="r"/>
              <a:endParaRPr lang="da-DK" sz="675" b="0">
                <a:solidFill>
                  <a:schemeClr val="bg1">
                    <a:lumMod val="50000"/>
                  </a:schemeClr>
                </a:solidFill>
              </a:endParaRPr>
            </a:p>
            <a:p>
              <a:pPr algn="r"/>
              <a:r>
                <a:rPr lang="da-DK" sz="675" b="0">
                  <a:solidFill>
                    <a:schemeClr val="bg1">
                      <a:lumMod val="50000"/>
                    </a:schemeClr>
                  </a:solidFill>
                </a:rPr>
                <a:t>Alternativt kan</a:t>
              </a:r>
            </a:p>
            <a:p>
              <a:pPr algn="r"/>
              <a:r>
                <a:rPr lang="da-DK" sz="675" b="1">
                  <a:solidFill>
                    <a:schemeClr val="bg1">
                      <a:lumMod val="50000"/>
                    </a:schemeClr>
                  </a:solidFill>
                </a:rPr>
                <a:t>Forøg og Formindsk </a:t>
              </a:r>
            </a:p>
            <a:p>
              <a:pPr algn="r"/>
              <a:r>
                <a:rPr lang="da-DK" sz="675" b="0">
                  <a:solidFill>
                    <a:schemeClr val="bg1">
                      <a:lumMod val="50000"/>
                    </a:schemeClr>
                  </a:solidFill>
                </a:rPr>
                <a:t>listeniveau bruges</a:t>
              </a:r>
            </a:p>
          </p:txBody>
        </p:sp>
        <p:grpSp>
          <p:nvGrpSpPr>
            <p:cNvPr id="25" name="Gruppe 24"/>
            <p:cNvGrpSpPr/>
            <p:nvPr userDrawn="1"/>
          </p:nvGrpSpPr>
          <p:grpSpPr>
            <a:xfrm>
              <a:off x="-503503" y="3048030"/>
              <a:ext cx="358775" cy="236537"/>
              <a:chOff x="-503503" y="3171825"/>
              <a:chExt cx="358775" cy="236537"/>
            </a:xfrm>
          </p:grpSpPr>
          <p:pic>
            <p:nvPicPr>
              <p:cNvPr id="2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3503" y="3171825"/>
                <a:ext cx="358775" cy="2365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7" name="Afrundet rektangel 26"/>
              <p:cNvSpPr/>
              <p:nvPr userDrawn="1"/>
            </p:nvSpPr>
            <p:spPr>
              <a:xfrm>
                <a:off x="-503503" y="3171825"/>
                <a:ext cx="179387" cy="236537"/>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sz="750"/>
              </a:p>
            </p:txBody>
          </p:sp>
        </p:grpSp>
      </p:grpSp>
      <p:sp>
        <p:nvSpPr>
          <p:cNvPr id="28" name="Tekstboks 27"/>
          <p:cNvSpPr txBox="1"/>
          <p:nvPr userDrawn="1"/>
        </p:nvSpPr>
        <p:spPr>
          <a:xfrm>
            <a:off x="-1585485" y="0"/>
            <a:ext cx="1450682" cy="681540"/>
          </a:xfrm>
          <a:prstGeom prst="rect">
            <a:avLst/>
          </a:prstGeom>
          <a:noFill/>
        </p:spPr>
        <p:txBody>
          <a:bodyPr wrap="square" lIns="0" tIns="0" rIns="0" bIns="0" rtlCol="0">
            <a:noAutofit/>
          </a:bodyPr>
          <a:lstStyle/>
          <a:p>
            <a:pPr algn="r"/>
            <a:r>
              <a:rPr lang="da-DK" sz="675" b="1" noProof="1">
                <a:solidFill>
                  <a:schemeClr val="bg1">
                    <a:lumMod val="50000"/>
                  </a:schemeClr>
                </a:solidFill>
              </a:rPr>
              <a:t>Boks:</a:t>
            </a:r>
          </a:p>
          <a:p>
            <a:pPr algn="r"/>
            <a:r>
              <a:rPr lang="da-DK" sz="675" b="0" noProof="1">
                <a:solidFill>
                  <a:schemeClr val="bg1">
                    <a:lumMod val="50000"/>
                  </a:schemeClr>
                </a:solidFill>
              </a:rPr>
              <a:t>Mellemrubrik skrives enten med fed eller store bogstaver i regular</a:t>
            </a:r>
          </a:p>
          <a:p>
            <a:pPr algn="r"/>
            <a:endParaRPr lang="da-DK" sz="675" b="0" noProof="1">
              <a:solidFill>
                <a:schemeClr val="bg1">
                  <a:lumMod val="50000"/>
                </a:schemeClr>
              </a:solidFill>
            </a:endParaRPr>
          </a:p>
          <a:p>
            <a:pPr algn="r"/>
            <a:r>
              <a:rPr lang="da-DK" sz="675" b="0" noProof="1">
                <a:solidFill>
                  <a:schemeClr val="bg1">
                    <a:lumMod val="50000"/>
                  </a:schemeClr>
                </a:solidFill>
              </a:rPr>
              <a:t>Denne farve er mest egnet til skærm eller projektor</a:t>
            </a:r>
          </a:p>
        </p:txBody>
      </p:sp>
    </p:spTree>
    <p:extLst>
      <p:ext uri="{BB962C8B-B14F-4D97-AF65-F5344CB8AC3E}">
        <p14:creationId xmlns:p14="http://schemas.microsoft.com/office/powerpoint/2010/main" val="221093190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re tekstbokse ly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a-DK"/>
              <a:t>Klik for at indsætte overskrift i en eller to linjer</a:t>
            </a:r>
          </a:p>
        </p:txBody>
      </p:sp>
      <p:sp>
        <p:nvSpPr>
          <p:cNvPr id="3" name="Pladsholder til dato 2"/>
          <p:cNvSpPr>
            <a:spLocks noGrp="1"/>
          </p:cNvSpPr>
          <p:nvPr>
            <p:ph type="dt" sz="half" idx="10"/>
          </p:nvPr>
        </p:nvSpPr>
        <p:spPr/>
        <p:txBody>
          <a:bodyPr/>
          <a:lstStyle/>
          <a:p>
            <a:r>
              <a:rPr lang="sv-SE"/>
              <a:t>26/03/2026</a:t>
            </a:r>
            <a:endParaRPr lang="da-DK"/>
          </a:p>
        </p:txBody>
      </p:sp>
      <p:sp>
        <p:nvSpPr>
          <p:cNvPr id="4" name="Pladsholder til sidefod 3"/>
          <p:cNvSpPr>
            <a:spLocks noGrp="1"/>
          </p:cNvSpPr>
          <p:nvPr>
            <p:ph type="ftr" sz="quarter" idx="11"/>
          </p:nvPr>
        </p:nvSpPr>
        <p:spPr/>
        <p:txBody>
          <a:bodyPr/>
          <a:lstStyle/>
          <a:p>
            <a:r>
              <a:rPr lang="en-US"/>
              <a:t>Stakeholder Forum Agenda - Classification: External</a:t>
            </a:r>
            <a:endParaRPr lang="da-DK"/>
          </a:p>
        </p:txBody>
      </p:sp>
      <p:sp>
        <p:nvSpPr>
          <p:cNvPr id="5" name="Pladsholder til diasnummer 4"/>
          <p:cNvSpPr>
            <a:spLocks noGrp="1"/>
          </p:cNvSpPr>
          <p:nvPr>
            <p:ph type="sldNum" sz="quarter" idx="12"/>
          </p:nvPr>
        </p:nvSpPr>
        <p:spPr/>
        <p:txBody>
          <a:bodyPr/>
          <a:lstStyle/>
          <a:p>
            <a:fld id="{667EC89C-17A0-4E64-A6D2-B825673CEEDF}" type="slidenum">
              <a:rPr lang="da-DK" smtClean="0"/>
              <a:pPr/>
              <a:t>‹#›</a:t>
            </a:fld>
            <a:endParaRPr lang="da-DK"/>
          </a:p>
        </p:txBody>
      </p:sp>
      <p:sp>
        <p:nvSpPr>
          <p:cNvPr id="15" name="Pladsholder til tekst 2"/>
          <p:cNvSpPr>
            <a:spLocks noGrp="1"/>
          </p:cNvSpPr>
          <p:nvPr>
            <p:ph type="body" sz="quarter" idx="23" hasCustomPrompt="1"/>
          </p:nvPr>
        </p:nvSpPr>
        <p:spPr>
          <a:xfrm>
            <a:off x="318643" y="1014414"/>
            <a:ext cx="2700353" cy="3482579"/>
          </a:xfrm>
          <a:prstGeom prst="roundRect">
            <a:avLst>
              <a:gd name="adj" fmla="val 0"/>
            </a:avLst>
          </a:prstGeom>
          <a:solidFill>
            <a:schemeClr val="accent5"/>
          </a:solidFill>
        </p:spPr>
        <p:txBody>
          <a:bodyPr lIns="126000" tIns="126000" rIns="126000" bIns="126000"/>
          <a:lstStyle>
            <a:lvl1pPr>
              <a:defRPr sz="1350">
                <a:solidFill>
                  <a:schemeClr val="tx1"/>
                </a:solidFill>
              </a:defRPr>
            </a:lvl1pPr>
            <a:lvl2pPr marL="172783" indent="-172783">
              <a:spcBef>
                <a:spcPts val="1200"/>
              </a:spcBef>
              <a:defRPr sz="1350">
                <a:solidFill>
                  <a:schemeClr val="tx1"/>
                </a:solidFill>
              </a:defRPr>
            </a:lvl2pPr>
            <a:lvl3pPr marL="404960" indent="-134987">
              <a:defRPr sz="1125">
                <a:solidFill>
                  <a:schemeClr val="tx1"/>
                </a:solidFill>
              </a:defRPr>
            </a:lvl3pPr>
            <a:lvl4pPr marL="539946" indent="-134987">
              <a:defRPr sz="900">
                <a:solidFill>
                  <a:schemeClr val="tx1"/>
                </a:solidFill>
              </a:defRPr>
            </a:lvl4pPr>
            <a:lvl5pPr marL="674933" indent="-134987">
              <a:defRPr sz="750">
                <a:solidFill>
                  <a:schemeClr val="tx1"/>
                </a:solidFill>
              </a:defRPr>
            </a:lvl5pPr>
            <a:lvl6pPr marL="674933" indent="-134987">
              <a:buFont typeface="Arial" panose="020B0604020202020204" pitchFamily="34" charset="0"/>
              <a:buChar char="•"/>
              <a:defRPr>
                <a:solidFill>
                  <a:schemeClr val="tx1"/>
                </a:solidFill>
              </a:defRPr>
            </a:lvl6pPr>
            <a:lvl7pPr marL="674933" indent="-134987">
              <a:buFont typeface="Arial" panose="020B0604020202020204" pitchFamily="34" charset="0"/>
              <a:buChar char="•"/>
              <a:defRPr>
                <a:solidFill>
                  <a:schemeClr val="tx1"/>
                </a:solidFill>
              </a:defRPr>
            </a:lvl7pPr>
            <a:lvl8pPr marL="674933" indent="-134987">
              <a:buFont typeface="Arial" panose="020B0604020202020204" pitchFamily="34" charset="0"/>
              <a:buChar char="•"/>
              <a:defRPr>
                <a:solidFill>
                  <a:schemeClr val="tx1"/>
                </a:solidFill>
              </a:defRPr>
            </a:lvl8pPr>
            <a:lvl9pPr marL="674933" indent="-134987">
              <a:defRPr>
                <a:solidFill>
                  <a:schemeClr val="tx1"/>
                </a:solidFill>
              </a:defRPr>
            </a:lvl9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16" name="Pladsholder til tekst 3"/>
          <p:cNvSpPr>
            <a:spLocks noGrp="1"/>
          </p:cNvSpPr>
          <p:nvPr>
            <p:ph type="body" sz="quarter" idx="28" hasCustomPrompt="1"/>
          </p:nvPr>
        </p:nvSpPr>
        <p:spPr>
          <a:xfrm>
            <a:off x="3213419" y="1015202"/>
            <a:ext cx="2700353" cy="3482579"/>
          </a:xfrm>
          <a:prstGeom prst="roundRect">
            <a:avLst>
              <a:gd name="adj" fmla="val 0"/>
            </a:avLst>
          </a:prstGeom>
          <a:solidFill>
            <a:schemeClr val="accent5"/>
          </a:solidFill>
        </p:spPr>
        <p:txBody>
          <a:bodyPr lIns="126000" tIns="126000" rIns="126000" bIns="126000"/>
          <a:lstStyle>
            <a:lvl1pPr>
              <a:defRPr sz="1350">
                <a:solidFill>
                  <a:schemeClr val="tx1"/>
                </a:solidFill>
              </a:defRPr>
            </a:lvl1pPr>
            <a:lvl2pPr marL="172783" indent="-172783">
              <a:spcBef>
                <a:spcPts val="1200"/>
              </a:spcBef>
              <a:defRPr sz="1350">
                <a:solidFill>
                  <a:schemeClr val="tx1"/>
                </a:solidFill>
              </a:defRPr>
            </a:lvl2pPr>
            <a:lvl3pPr marL="404960" indent="-134987">
              <a:defRPr sz="1125">
                <a:solidFill>
                  <a:schemeClr val="tx1"/>
                </a:solidFill>
              </a:defRPr>
            </a:lvl3pPr>
            <a:lvl4pPr marL="539946" indent="-134987">
              <a:defRPr sz="900">
                <a:solidFill>
                  <a:schemeClr val="tx1"/>
                </a:solidFill>
              </a:defRPr>
            </a:lvl4pPr>
            <a:lvl5pPr marL="674933" indent="-134987">
              <a:defRPr sz="750">
                <a:solidFill>
                  <a:schemeClr val="tx1"/>
                </a:solidFill>
              </a:defRPr>
            </a:lvl5pPr>
            <a:lvl6pPr marL="674933" indent="-134987">
              <a:buFont typeface="Arial" panose="020B0604020202020204" pitchFamily="34" charset="0"/>
              <a:buChar char="•"/>
              <a:defRPr>
                <a:solidFill>
                  <a:schemeClr val="tx1"/>
                </a:solidFill>
              </a:defRPr>
            </a:lvl6pPr>
            <a:lvl7pPr marL="674933" indent="-134987">
              <a:buFont typeface="Arial" panose="020B0604020202020204" pitchFamily="34" charset="0"/>
              <a:buChar char="•"/>
              <a:defRPr>
                <a:solidFill>
                  <a:schemeClr val="tx1"/>
                </a:solidFill>
              </a:defRPr>
            </a:lvl7pPr>
            <a:lvl8pPr marL="674933" indent="-134987">
              <a:buFont typeface="Arial" panose="020B0604020202020204" pitchFamily="34" charset="0"/>
              <a:buChar char="•"/>
              <a:defRPr>
                <a:solidFill>
                  <a:schemeClr val="tx1"/>
                </a:solidFill>
              </a:defRPr>
            </a:lvl8pPr>
            <a:lvl9pPr marL="674933" indent="-134987">
              <a:defRPr>
                <a:solidFill>
                  <a:schemeClr val="tx1"/>
                </a:solidFill>
              </a:defRPr>
            </a:lvl9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17" name="Pladsholder til tekst 4"/>
          <p:cNvSpPr>
            <a:spLocks noGrp="1"/>
          </p:cNvSpPr>
          <p:nvPr>
            <p:ph type="body" sz="quarter" idx="29" hasCustomPrompt="1"/>
          </p:nvPr>
        </p:nvSpPr>
        <p:spPr>
          <a:xfrm>
            <a:off x="6124398" y="1015202"/>
            <a:ext cx="2700353" cy="3482579"/>
          </a:xfrm>
          <a:prstGeom prst="roundRect">
            <a:avLst>
              <a:gd name="adj" fmla="val 0"/>
            </a:avLst>
          </a:prstGeom>
          <a:solidFill>
            <a:schemeClr val="accent5"/>
          </a:solidFill>
        </p:spPr>
        <p:txBody>
          <a:bodyPr lIns="126000" tIns="126000" rIns="126000" bIns="126000"/>
          <a:lstStyle>
            <a:lvl1pPr>
              <a:defRPr sz="1350">
                <a:solidFill>
                  <a:schemeClr val="tx1"/>
                </a:solidFill>
              </a:defRPr>
            </a:lvl1pPr>
            <a:lvl2pPr marL="172783" indent="-172783">
              <a:spcBef>
                <a:spcPts val="1200"/>
              </a:spcBef>
              <a:defRPr sz="1350">
                <a:solidFill>
                  <a:schemeClr val="tx1"/>
                </a:solidFill>
              </a:defRPr>
            </a:lvl2pPr>
            <a:lvl3pPr marL="404960" indent="-134987">
              <a:defRPr sz="1125">
                <a:solidFill>
                  <a:schemeClr val="tx1"/>
                </a:solidFill>
              </a:defRPr>
            </a:lvl3pPr>
            <a:lvl4pPr marL="539946" indent="-134987">
              <a:defRPr sz="900">
                <a:solidFill>
                  <a:schemeClr val="tx1"/>
                </a:solidFill>
              </a:defRPr>
            </a:lvl4pPr>
            <a:lvl5pPr marL="674933" indent="-134987">
              <a:defRPr sz="750">
                <a:solidFill>
                  <a:schemeClr val="tx1"/>
                </a:solidFill>
              </a:defRPr>
            </a:lvl5pPr>
            <a:lvl6pPr marL="674933" indent="-134987">
              <a:buFont typeface="Arial" panose="020B0604020202020204" pitchFamily="34" charset="0"/>
              <a:buChar char="•"/>
              <a:defRPr>
                <a:solidFill>
                  <a:schemeClr val="tx1"/>
                </a:solidFill>
              </a:defRPr>
            </a:lvl6pPr>
            <a:lvl7pPr marL="674933" indent="-134987">
              <a:buFont typeface="Arial" panose="020B0604020202020204" pitchFamily="34" charset="0"/>
              <a:buChar char="•"/>
              <a:defRPr>
                <a:solidFill>
                  <a:schemeClr val="tx1"/>
                </a:solidFill>
              </a:defRPr>
            </a:lvl7pPr>
            <a:lvl8pPr marL="674933" indent="-134987">
              <a:buFont typeface="Arial" panose="020B0604020202020204" pitchFamily="34" charset="0"/>
              <a:buChar char="•"/>
              <a:defRPr>
                <a:solidFill>
                  <a:schemeClr val="tx1"/>
                </a:solidFill>
              </a:defRPr>
            </a:lvl8pPr>
            <a:lvl9pPr marL="674933" indent="-134987">
              <a:defRPr>
                <a:solidFill>
                  <a:schemeClr val="tx1"/>
                </a:solidFill>
              </a:defRPr>
            </a:lvl9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grpSp>
        <p:nvGrpSpPr>
          <p:cNvPr id="23" name="Gruppe 22"/>
          <p:cNvGrpSpPr/>
          <p:nvPr userDrawn="1"/>
        </p:nvGrpSpPr>
        <p:grpSpPr>
          <a:xfrm>
            <a:off x="-1215674" y="1015605"/>
            <a:ext cx="1107114" cy="1826177"/>
            <a:chOff x="-1620688" y="1354138"/>
            <a:chExt cx="1475960" cy="2434902"/>
          </a:xfrm>
        </p:grpSpPr>
        <p:sp>
          <p:nvSpPr>
            <p:cNvPr id="24" name="Tekstboks 23"/>
            <p:cNvSpPr txBox="1"/>
            <p:nvPr userDrawn="1"/>
          </p:nvSpPr>
          <p:spPr>
            <a:xfrm>
              <a:off x="-1620688" y="1354138"/>
              <a:ext cx="1475960" cy="2434902"/>
            </a:xfrm>
            <a:prstGeom prst="rect">
              <a:avLst/>
            </a:prstGeom>
            <a:noFill/>
          </p:spPr>
          <p:txBody>
            <a:bodyPr wrap="square" lIns="0" tIns="0" rIns="0" bIns="0" rtlCol="0">
              <a:noAutofit/>
            </a:bodyPr>
            <a:lstStyle/>
            <a:p>
              <a:pPr algn="r"/>
              <a:r>
                <a:rPr lang="da-DK" sz="675" b="1">
                  <a:solidFill>
                    <a:schemeClr val="bg1">
                      <a:lumMod val="50000"/>
                    </a:schemeClr>
                  </a:solidFill>
                </a:rPr>
                <a:t>Tekst-typografier</a:t>
              </a:r>
            </a:p>
            <a:p>
              <a:pPr algn="r"/>
              <a:r>
                <a:rPr lang="da-DK" sz="675" b="0">
                  <a:solidFill>
                    <a:schemeClr val="bg1">
                      <a:lumMod val="50000"/>
                    </a:schemeClr>
                  </a:solidFill>
                </a:rPr>
                <a:t>Brug </a:t>
              </a:r>
              <a:r>
                <a:rPr lang="da-DK" sz="675" b="1">
                  <a:solidFill>
                    <a:schemeClr val="bg1">
                      <a:lumMod val="50000"/>
                    </a:schemeClr>
                  </a:solidFill>
                </a:rPr>
                <a:t>TAB</a:t>
              </a:r>
              <a:r>
                <a:rPr lang="da-DK" sz="675" b="0">
                  <a:solidFill>
                    <a:schemeClr val="bg1">
                      <a:lumMod val="50000"/>
                    </a:schemeClr>
                  </a:solidFill>
                </a:rPr>
                <a:t> for at gå frem</a:t>
              </a:r>
            </a:p>
            <a:p>
              <a:pPr algn="r"/>
              <a:r>
                <a:rPr lang="da-DK" sz="675" b="0">
                  <a:solidFill>
                    <a:schemeClr val="bg1">
                      <a:lumMod val="50000"/>
                    </a:schemeClr>
                  </a:solidFill>
                </a:rPr>
                <a:t>i tekst-niveauer</a:t>
              </a:r>
            </a:p>
            <a:p>
              <a:pPr algn="r"/>
              <a:endParaRPr lang="da-DK" sz="675" b="0">
                <a:solidFill>
                  <a:schemeClr val="bg1">
                    <a:lumMod val="50000"/>
                  </a:schemeClr>
                </a:solidFill>
              </a:endParaRPr>
            </a:p>
            <a:p>
              <a:pPr algn="l"/>
              <a:r>
                <a:rPr lang="da-DK" sz="675" b="0">
                  <a:solidFill>
                    <a:schemeClr val="bg1">
                      <a:lumMod val="50000"/>
                    </a:schemeClr>
                  </a:solidFill>
                </a:rPr>
                <a:t>Klik for at indsætte tekst</a:t>
              </a:r>
            </a:p>
            <a:p>
              <a:pPr marL="80992" indent="-80992" algn="l">
                <a:buFont typeface="Arial" panose="020B0604020202020204" pitchFamily="34" charset="0"/>
                <a:buChar char="•"/>
              </a:pPr>
              <a:r>
                <a:rPr lang="da-DK" sz="675" b="0">
                  <a:solidFill>
                    <a:schemeClr val="bg1">
                      <a:lumMod val="50000"/>
                    </a:schemeClr>
                  </a:solidFill>
                </a:rPr>
                <a:t>Andet niveau</a:t>
              </a:r>
            </a:p>
            <a:p>
              <a:pPr marL="215978" indent="-80992" algn="l">
                <a:buFont typeface="Arial" panose="020B0604020202020204" pitchFamily="34" charset="0"/>
                <a:buChar char="•"/>
              </a:pPr>
              <a:r>
                <a:rPr lang="da-DK" sz="600" b="0">
                  <a:solidFill>
                    <a:schemeClr val="bg1">
                      <a:lumMod val="50000"/>
                    </a:schemeClr>
                  </a:solidFill>
                </a:rPr>
                <a:t>Tredje niveau</a:t>
              </a:r>
            </a:p>
            <a:p>
              <a:pPr marL="350965" indent="-80992" algn="l">
                <a:buFont typeface="Arial" panose="020B0604020202020204" pitchFamily="34" charset="0"/>
                <a:buChar char="•"/>
              </a:pPr>
              <a:r>
                <a:rPr lang="da-DK" sz="450" b="0">
                  <a:solidFill>
                    <a:schemeClr val="bg1">
                      <a:lumMod val="50000"/>
                    </a:schemeClr>
                  </a:solidFill>
                </a:rPr>
                <a:t>Fjerde niveau</a:t>
              </a:r>
            </a:p>
            <a:p>
              <a:pPr marL="458954" indent="-80992" algn="l">
                <a:buFont typeface="Arial" panose="020B0604020202020204" pitchFamily="34" charset="0"/>
                <a:buChar char="•"/>
              </a:pPr>
              <a:r>
                <a:rPr lang="da-DK" sz="450" b="0">
                  <a:solidFill>
                    <a:schemeClr val="bg1">
                      <a:lumMod val="50000"/>
                    </a:schemeClr>
                  </a:solidFill>
                </a:rPr>
                <a:t>Femte niveau</a:t>
              </a:r>
            </a:p>
            <a:p>
              <a:pPr algn="r"/>
              <a:endParaRPr lang="da-DK" sz="675" b="0">
                <a:solidFill>
                  <a:schemeClr val="bg1">
                    <a:lumMod val="50000"/>
                  </a:schemeClr>
                </a:solidFill>
              </a:endParaRPr>
            </a:p>
            <a:p>
              <a:pPr algn="r"/>
              <a:r>
                <a:rPr lang="da-DK" sz="675" b="0">
                  <a:solidFill>
                    <a:schemeClr val="bg1">
                      <a:lumMod val="50000"/>
                    </a:schemeClr>
                  </a:solidFill>
                </a:rPr>
                <a:t>For at gå tilbage i tekst-niveauer,</a:t>
              </a:r>
            </a:p>
            <a:p>
              <a:pPr algn="r"/>
              <a:r>
                <a:rPr lang="da-DK" sz="675" b="0">
                  <a:solidFill>
                    <a:schemeClr val="bg1">
                      <a:lumMod val="50000"/>
                    </a:schemeClr>
                  </a:solidFill>
                </a:rPr>
                <a:t>brug </a:t>
              </a:r>
              <a:r>
                <a:rPr lang="da-DK" sz="675" b="1">
                  <a:solidFill>
                    <a:schemeClr val="bg1">
                      <a:lumMod val="50000"/>
                    </a:schemeClr>
                  </a:solidFill>
                </a:rPr>
                <a:t>SHIFT + TAB</a:t>
              </a:r>
            </a:p>
            <a:p>
              <a:pPr algn="r"/>
              <a:endParaRPr lang="da-DK" sz="675" b="0">
                <a:solidFill>
                  <a:schemeClr val="bg1">
                    <a:lumMod val="50000"/>
                  </a:schemeClr>
                </a:solidFill>
              </a:endParaRPr>
            </a:p>
            <a:p>
              <a:pPr algn="r"/>
              <a:endParaRPr lang="da-DK" sz="675" b="0">
                <a:solidFill>
                  <a:schemeClr val="bg1">
                    <a:lumMod val="50000"/>
                  </a:schemeClr>
                </a:solidFill>
              </a:endParaRPr>
            </a:p>
            <a:p>
              <a:pPr algn="r"/>
              <a:r>
                <a:rPr lang="da-DK" sz="675" b="0">
                  <a:solidFill>
                    <a:schemeClr val="bg1">
                      <a:lumMod val="50000"/>
                    </a:schemeClr>
                  </a:solidFill>
                </a:rPr>
                <a:t>Alternativt kan</a:t>
              </a:r>
            </a:p>
            <a:p>
              <a:pPr algn="r"/>
              <a:r>
                <a:rPr lang="da-DK" sz="675" b="1">
                  <a:solidFill>
                    <a:schemeClr val="bg1">
                      <a:lumMod val="50000"/>
                    </a:schemeClr>
                  </a:solidFill>
                </a:rPr>
                <a:t>Forøg og Formindsk </a:t>
              </a:r>
            </a:p>
            <a:p>
              <a:pPr algn="r"/>
              <a:r>
                <a:rPr lang="da-DK" sz="675" b="0">
                  <a:solidFill>
                    <a:schemeClr val="bg1">
                      <a:lumMod val="50000"/>
                    </a:schemeClr>
                  </a:solidFill>
                </a:rPr>
                <a:t>listeniveau bruges</a:t>
              </a:r>
            </a:p>
          </p:txBody>
        </p:sp>
        <p:grpSp>
          <p:nvGrpSpPr>
            <p:cNvPr id="25" name="Gruppe 24"/>
            <p:cNvGrpSpPr/>
            <p:nvPr userDrawn="1"/>
          </p:nvGrpSpPr>
          <p:grpSpPr>
            <a:xfrm>
              <a:off x="-503503" y="3048030"/>
              <a:ext cx="358775" cy="236537"/>
              <a:chOff x="-503503" y="3171825"/>
              <a:chExt cx="358775" cy="236537"/>
            </a:xfrm>
          </p:grpSpPr>
          <p:pic>
            <p:nvPicPr>
              <p:cNvPr id="2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3503" y="3171825"/>
                <a:ext cx="358775" cy="2365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7" name="Afrundet rektangel 26"/>
              <p:cNvSpPr/>
              <p:nvPr userDrawn="1"/>
            </p:nvSpPr>
            <p:spPr>
              <a:xfrm>
                <a:off x="-503503" y="3171825"/>
                <a:ext cx="179387" cy="236537"/>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sz="750"/>
              </a:p>
            </p:txBody>
          </p:sp>
        </p:grpSp>
      </p:grpSp>
      <p:sp>
        <p:nvSpPr>
          <p:cNvPr id="28" name="Tekstboks 27"/>
          <p:cNvSpPr txBox="1"/>
          <p:nvPr userDrawn="1"/>
        </p:nvSpPr>
        <p:spPr>
          <a:xfrm>
            <a:off x="-1585485" y="0"/>
            <a:ext cx="1450682" cy="573528"/>
          </a:xfrm>
          <a:prstGeom prst="rect">
            <a:avLst/>
          </a:prstGeom>
          <a:noFill/>
        </p:spPr>
        <p:txBody>
          <a:bodyPr wrap="square" lIns="0" tIns="0" rIns="0" bIns="0" rtlCol="0">
            <a:noAutofit/>
          </a:bodyPr>
          <a:lstStyle/>
          <a:p>
            <a:pPr algn="r"/>
            <a:r>
              <a:rPr lang="da-DK" sz="675" b="1" noProof="1">
                <a:solidFill>
                  <a:schemeClr val="bg1">
                    <a:lumMod val="50000"/>
                  </a:schemeClr>
                </a:solidFill>
              </a:rPr>
              <a:t>Boks:</a:t>
            </a:r>
          </a:p>
          <a:p>
            <a:pPr algn="r"/>
            <a:r>
              <a:rPr lang="da-DK" sz="675" b="0" noProof="1">
                <a:solidFill>
                  <a:schemeClr val="bg1">
                    <a:lumMod val="50000"/>
                  </a:schemeClr>
                </a:solidFill>
              </a:rPr>
              <a:t>Mellemrubrik skrives enten med fed eller store bogstaver i regular</a:t>
            </a:r>
          </a:p>
          <a:p>
            <a:pPr algn="r"/>
            <a:endParaRPr lang="da-DK" sz="675" b="0" noProof="1">
              <a:solidFill>
                <a:schemeClr val="bg1">
                  <a:lumMod val="50000"/>
                </a:schemeClr>
              </a:solidFill>
            </a:endParaRPr>
          </a:p>
          <a:p>
            <a:pPr algn="r"/>
            <a:r>
              <a:rPr lang="da-DK" sz="675" b="0" noProof="1">
                <a:solidFill>
                  <a:schemeClr val="bg1">
                    <a:lumMod val="50000"/>
                  </a:schemeClr>
                </a:solidFill>
              </a:rPr>
              <a:t>Denne farve er egnet til print</a:t>
            </a:r>
          </a:p>
        </p:txBody>
      </p:sp>
    </p:spTree>
    <p:extLst>
      <p:ext uri="{BB962C8B-B14F-4D97-AF65-F5344CB8AC3E}">
        <p14:creationId xmlns:p14="http://schemas.microsoft.com/office/powerpoint/2010/main" val="101319166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Fire tekstbokse mørk">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a-DK"/>
              <a:t>Klik for at indsætte overskrift i en eller to linjer</a:t>
            </a:r>
          </a:p>
        </p:txBody>
      </p:sp>
      <p:sp>
        <p:nvSpPr>
          <p:cNvPr id="15" name="Pladsholder til tekst 2"/>
          <p:cNvSpPr>
            <a:spLocks noGrp="1"/>
          </p:cNvSpPr>
          <p:nvPr>
            <p:ph type="body" sz="quarter" idx="23" hasCustomPrompt="1"/>
          </p:nvPr>
        </p:nvSpPr>
        <p:spPr>
          <a:xfrm>
            <a:off x="318643" y="1014414"/>
            <a:ext cx="1998260" cy="3482579"/>
          </a:xfrm>
          <a:prstGeom prst="roundRect">
            <a:avLst>
              <a:gd name="adj" fmla="val 0"/>
            </a:avLst>
          </a:prstGeom>
          <a:solidFill>
            <a:srgbClr val="666666"/>
          </a:solidFill>
        </p:spPr>
        <p:txBody>
          <a:bodyPr lIns="126000" tIns="126000" rIns="126000" bIns="126000"/>
          <a:lstStyle>
            <a:lvl1pPr>
              <a:defRPr sz="1350">
                <a:solidFill>
                  <a:schemeClr val="bg1"/>
                </a:solidFill>
              </a:defRPr>
            </a:lvl1pPr>
            <a:lvl2pPr marL="172783" indent="-172783">
              <a:spcBef>
                <a:spcPts val="1200"/>
              </a:spcBef>
              <a:defRPr sz="1350">
                <a:solidFill>
                  <a:schemeClr val="bg1"/>
                </a:solidFill>
              </a:defRPr>
            </a:lvl2pPr>
            <a:lvl3pPr marL="404960" indent="-134987">
              <a:defRPr sz="1125">
                <a:solidFill>
                  <a:schemeClr val="bg1"/>
                </a:solidFill>
              </a:defRPr>
            </a:lvl3pPr>
            <a:lvl4pPr marL="539946" indent="-134987">
              <a:defRPr sz="900">
                <a:solidFill>
                  <a:schemeClr val="bg1"/>
                </a:solidFill>
              </a:defRPr>
            </a:lvl4pPr>
            <a:lvl5pPr marL="674933" indent="-134987">
              <a:defRPr sz="750">
                <a:solidFill>
                  <a:schemeClr val="bg1"/>
                </a:solidFill>
              </a:defRPr>
            </a:lvl5pPr>
            <a:lvl6pPr marL="674933" indent="-134987">
              <a:buFont typeface="Arial" panose="020B0604020202020204" pitchFamily="34" charset="0"/>
              <a:buChar char="•"/>
              <a:defRPr>
                <a:solidFill>
                  <a:schemeClr val="bg1"/>
                </a:solidFill>
              </a:defRPr>
            </a:lvl6pPr>
            <a:lvl7pPr marL="674933" indent="-134987">
              <a:buFont typeface="Arial" panose="020B0604020202020204" pitchFamily="34" charset="0"/>
              <a:buChar char="•"/>
              <a:defRPr>
                <a:solidFill>
                  <a:schemeClr val="bg1"/>
                </a:solidFill>
              </a:defRPr>
            </a:lvl7pPr>
            <a:lvl8pPr marL="674933" indent="-134987">
              <a:buFont typeface="Arial" panose="020B0604020202020204" pitchFamily="34" charset="0"/>
              <a:buChar char="•"/>
              <a:defRPr>
                <a:solidFill>
                  <a:schemeClr val="bg1"/>
                </a:solidFill>
              </a:defRPr>
            </a:lvl8pPr>
            <a:lvl9pPr marL="674933" indent="-134987">
              <a:defRPr>
                <a:solidFill>
                  <a:schemeClr val="bg1"/>
                </a:solidFill>
              </a:defRPr>
            </a:lvl9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17" name="Pladsholder til tekst 3"/>
          <p:cNvSpPr>
            <a:spLocks noGrp="1"/>
          </p:cNvSpPr>
          <p:nvPr>
            <p:ph type="body" sz="quarter" idx="28" hasCustomPrompt="1"/>
          </p:nvPr>
        </p:nvSpPr>
        <p:spPr>
          <a:xfrm>
            <a:off x="2492425" y="1015202"/>
            <a:ext cx="1998260" cy="3482579"/>
          </a:xfrm>
          <a:prstGeom prst="roundRect">
            <a:avLst>
              <a:gd name="adj" fmla="val 0"/>
            </a:avLst>
          </a:prstGeom>
          <a:solidFill>
            <a:srgbClr val="666666"/>
          </a:solidFill>
        </p:spPr>
        <p:txBody>
          <a:bodyPr lIns="126000" tIns="126000" rIns="126000" bIns="126000"/>
          <a:lstStyle>
            <a:lvl1pPr>
              <a:defRPr sz="1350">
                <a:solidFill>
                  <a:schemeClr val="bg1"/>
                </a:solidFill>
              </a:defRPr>
            </a:lvl1pPr>
            <a:lvl2pPr marL="172783" indent="-172783">
              <a:spcBef>
                <a:spcPts val="1200"/>
              </a:spcBef>
              <a:defRPr sz="1350">
                <a:solidFill>
                  <a:schemeClr val="bg1"/>
                </a:solidFill>
              </a:defRPr>
            </a:lvl2pPr>
            <a:lvl3pPr marL="404960" indent="-134987">
              <a:defRPr sz="1125">
                <a:solidFill>
                  <a:schemeClr val="bg1"/>
                </a:solidFill>
              </a:defRPr>
            </a:lvl3pPr>
            <a:lvl4pPr marL="539946" indent="-134987">
              <a:defRPr sz="900">
                <a:solidFill>
                  <a:schemeClr val="bg1"/>
                </a:solidFill>
              </a:defRPr>
            </a:lvl4pPr>
            <a:lvl5pPr marL="674933" indent="-134987">
              <a:defRPr sz="750">
                <a:solidFill>
                  <a:schemeClr val="bg1"/>
                </a:solidFill>
              </a:defRPr>
            </a:lvl5pPr>
            <a:lvl6pPr marL="674933" indent="-134987">
              <a:buFont typeface="Arial" panose="020B0604020202020204" pitchFamily="34" charset="0"/>
              <a:buChar char="•"/>
              <a:defRPr>
                <a:solidFill>
                  <a:schemeClr val="bg1"/>
                </a:solidFill>
              </a:defRPr>
            </a:lvl6pPr>
            <a:lvl7pPr marL="674933" indent="-134987">
              <a:buFont typeface="Arial" panose="020B0604020202020204" pitchFamily="34" charset="0"/>
              <a:buChar char="•"/>
              <a:defRPr>
                <a:solidFill>
                  <a:schemeClr val="bg1"/>
                </a:solidFill>
              </a:defRPr>
            </a:lvl7pPr>
            <a:lvl8pPr marL="674933" indent="-134987">
              <a:buFont typeface="Arial" panose="020B0604020202020204" pitchFamily="34" charset="0"/>
              <a:buChar char="•"/>
              <a:defRPr>
                <a:solidFill>
                  <a:schemeClr val="bg1"/>
                </a:solidFill>
              </a:defRPr>
            </a:lvl8pPr>
            <a:lvl9pPr marL="674933" indent="-134987">
              <a:defRPr>
                <a:solidFill>
                  <a:schemeClr val="bg1"/>
                </a:solidFill>
              </a:defRPr>
            </a:lvl9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18" name="Pladsholder til tekst 4"/>
          <p:cNvSpPr>
            <a:spLocks noGrp="1"/>
          </p:cNvSpPr>
          <p:nvPr>
            <p:ph type="body" sz="quarter" idx="29" hasCustomPrompt="1"/>
          </p:nvPr>
        </p:nvSpPr>
        <p:spPr>
          <a:xfrm>
            <a:off x="4666209" y="1015202"/>
            <a:ext cx="1998260" cy="3482579"/>
          </a:xfrm>
          <a:prstGeom prst="roundRect">
            <a:avLst>
              <a:gd name="adj" fmla="val 0"/>
            </a:avLst>
          </a:prstGeom>
          <a:solidFill>
            <a:srgbClr val="666666"/>
          </a:solidFill>
        </p:spPr>
        <p:txBody>
          <a:bodyPr lIns="126000" tIns="126000" rIns="126000" bIns="126000"/>
          <a:lstStyle>
            <a:lvl1pPr>
              <a:defRPr sz="1350">
                <a:solidFill>
                  <a:schemeClr val="bg1"/>
                </a:solidFill>
              </a:defRPr>
            </a:lvl1pPr>
            <a:lvl2pPr marL="172783" indent="-172783">
              <a:spcBef>
                <a:spcPts val="1200"/>
              </a:spcBef>
              <a:defRPr sz="1350">
                <a:solidFill>
                  <a:schemeClr val="bg1"/>
                </a:solidFill>
              </a:defRPr>
            </a:lvl2pPr>
            <a:lvl3pPr marL="404960" indent="-134987">
              <a:defRPr sz="1125">
                <a:solidFill>
                  <a:schemeClr val="bg1"/>
                </a:solidFill>
              </a:defRPr>
            </a:lvl3pPr>
            <a:lvl4pPr marL="539946" indent="-134987">
              <a:defRPr sz="900">
                <a:solidFill>
                  <a:schemeClr val="bg1"/>
                </a:solidFill>
              </a:defRPr>
            </a:lvl4pPr>
            <a:lvl5pPr marL="674933" indent="-134987">
              <a:defRPr sz="750">
                <a:solidFill>
                  <a:schemeClr val="bg1"/>
                </a:solidFill>
              </a:defRPr>
            </a:lvl5pPr>
            <a:lvl6pPr marL="674933" indent="-134987">
              <a:buFont typeface="Arial" panose="020B0604020202020204" pitchFamily="34" charset="0"/>
              <a:buChar char="•"/>
              <a:defRPr>
                <a:solidFill>
                  <a:schemeClr val="bg1"/>
                </a:solidFill>
              </a:defRPr>
            </a:lvl6pPr>
            <a:lvl7pPr marL="674933" indent="-134987">
              <a:buFont typeface="Arial" panose="020B0604020202020204" pitchFamily="34" charset="0"/>
              <a:buChar char="•"/>
              <a:defRPr>
                <a:solidFill>
                  <a:schemeClr val="bg1"/>
                </a:solidFill>
              </a:defRPr>
            </a:lvl7pPr>
            <a:lvl8pPr marL="674933" indent="-134987">
              <a:buFont typeface="Arial" panose="020B0604020202020204" pitchFamily="34" charset="0"/>
              <a:buChar char="•"/>
              <a:defRPr>
                <a:solidFill>
                  <a:schemeClr val="bg1"/>
                </a:solidFill>
              </a:defRPr>
            </a:lvl8pPr>
            <a:lvl9pPr marL="674933" indent="-134987">
              <a:defRPr>
                <a:solidFill>
                  <a:schemeClr val="bg1"/>
                </a:solidFill>
              </a:defRPr>
            </a:lvl9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16" name="Pladsholder til tekst 5"/>
          <p:cNvSpPr>
            <a:spLocks noGrp="1"/>
          </p:cNvSpPr>
          <p:nvPr>
            <p:ph type="body" sz="quarter" idx="30" hasCustomPrompt="1"/>
          </p:nvPr>
        </p:nvSpPr>
        <p:spPr>
          <a:xfrm>
            <a:off x="6826489" y="1016796"/>
            <a:ext cx="1998260" cy="3482579"/>
          </a:xfrm>
          <a:prstGeom prst="roundRect">
            <a:avLst>
              <a:gd name="adj" fmla="val 0"/>
            </a:avLst>
          </a:prstGeom>
          <a:solidFill>
            <a:srgbClr val="666666"/>
          </a:solidFill>
        </p:spPr>
        <p:txBody>
          <a:bodyPr lIns="126000" tIns="126000" rIns="126000" bIns="126000"/>
          <a:lstStyle>
            <a:lvl1pPr>
              <a:defRPr sz="1350">
                <a:solidFill>
                  <a:schemeClr val="bg1"/>
                </a:solidFill>
              </a:defRPr>
            </a:lvl1pPr>
            <a:lvl2pPr marL="172783" indent="-172783">
              <a:spcBef>
                <a:spcPts val="1200"/>
              </a:spcBef>
              <a:defRPr sz="1350">
                <a:solidFill>
                  <a:schemeClr val="bg1"/>
                </a:solidFill>
              </a:defRPr>
            </a:lvl2pPr>
            <a:lvl3pPr marL="404960" indent="-134987">
              <a:defRPr sz="1125">
                <a:solidFill>
                  <a:schemeClr val="bg1"/>
                </a:solidFill>
              </a:defRPr>
            </a:lvl3pPr>
            <a:lvl4pPr marL="539946" indent="-134987">
              <a:defRPr sz="900">
                <a:solidFill>
                  <a:schemeClr val="bg1"/>
                </a:solidFill>
              </a:defRPr>
            </a:lvl4pPr>
            <a:lvl5pPr marL="674933" indent="-134987">
              <a:defRPr sz="750">
                <a:solidFill>
                  <a:schemeClr val="bg1"/>
                </a:solidFill>
              </a:defRPr>
            </a:lvl5pPr>
            <a:lvl6pPr marL="674933" indent="-134987">
              <a:buFont typeface="Arial" panose="020B0604020202020204" pitchFamily="34" charset="0"/>
              <a:buChar char="•"/>
              <a:defRPr>
                <a:solidFill>
                  <a:schemeClr val="bg1"/>
                </a:solidFill>
              </a:defRPr>
            </a:lvl6pPr>
            <a:lvl7pPr marL="674933" indent="-134987">
              <a:buFont typeface="Arial" panose="020B0604020202020204" pitchFamily="34" charset="0"/>
              <a:buChar char="•"/>
              <a:defRPr>
                <a:solidFill>
                  <a:schemeClr val="bg1"/>
                </a:solidFill>
              </a:defRPr>
            </a:lvl7pPr>
            <a:lvl8pPr marL="674933" indent="-134987">
              <a:buFont typeface="Arial" panose="020B0604020202020204" pitchFamily="34" charset="0"/>
              <a:buChar char="•"/>
              <a:defRPr>
                <a:solidFill>
                  <a:schemeClr val="bg1"/>
                </a:solidFill>
              </a:defRPr>
            </a:lvl8pPr>
            <a:lvl9pPr marL="674933" indent="-134987">
              <a:defRPr>
                <a:solidFill>
                  <a:schemeClr val="bg1"/>
                </a:solidFill>
              </a:defRPr>
            </a:lvl9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3" name="Pladsholder til dato 2"/>
          <p:cNvSpPr>
            <a:spLocks noGrp="1"/>
          </p:cNvSpPr>
          <p:nvPr>
            <p:ph type="dt" sz="half" idx="10"/>
          </p:nvPr>
        </p:nvSpPr>
        <p:spPr/>
        <p:txBody>
          <a:bodyPr/>
          <a:lstStyle/>
          <a:p>
            <a:r>
              <a:rPr lang="sv-SE"/>
              <a:t>26/03/2026</a:t>
            </a:r>
            <a:endParaRPr lang="da-DK"/>
          </a:p>
        </p:txBody>
      </p:sp>
      <p:sp>
        <p:nvSpPr>
          <p:cNvPr id="4" name="Pladsholder til sidefod 3" hidden="1"/>
          <p:cNvSpPr>
            <a:spLocks noGrp="1"/>
          </p:cNvSpPr>
          <p:nvPr>
            <p:ph type="ftr" sz="quarter" idx="11"/>
          </p:nvPr>
        </p:nvSpPr>
        <p:spPr/>
        <p:txBody>
          <a:bodyPr/>
          <a:lstStyle/>
          <a:p>
            <a:r>
              <a:rPr lang="en-US"/>
              <a:t>Stakeholder Forum Agenda - Classification: External</a:t>
            </a:r>
            <a:endParaRPr lang="da-DK"/>
          </a:p>
        </p:txBody>
      </p:sp>
      <p:sp>
        <p:nvSpPr>
          <p:cNvPr id="5" name="Pladsholder til diasnummer 4"/>
          <p:cNvSpPr>
            <a:spLocks noGrp="1"/>
          </p:cNvSpPr>
          <p:nvPr>
            <p:ph type="sldNum" sz="quarter" idx="12"/>
          </p:nvPr>
        </p:nvSpPr>
        <p:spPr/>
        <p:txBody>
          <a:bodyPr/>
          <a:lstStyle/>
          <a:p>
            <a:fld id="{667EC89C-17A0-4E64-A6D2-B825673CEEDF}" type="slidenum">
              <a:rPr lang="da-DK" smtClean="0"/>
              <a:pPr/>
              <a:t>‹#›</a:t>
            </a:fld>
            <a:endParaRPr lang="da-DK"/>
          </a:p>
        </p:txBody>
      </p:sp>
      <p:grpSp>
        <p:nvGrpSpPr>
          <p:cNvPr id="24" name="Gruppe 23"/>
          <p:cNvGrpSpPr/>
          <p:nvPr userDrawn="1"/>
        </p:nvGrpSpPr>
        <p:grpSpPr>
          <a:xfrm>
            <a:off x="-1215674" y="1015605"/>
            <a:ext cx="1107114" cy="1826177"/>
            <a:chOff x="-1620688" y="1354138"/>
            <a:chExt cx="1475960" cy="2434902"/>
          </a:xfrm>
        </p:grpSpPr>
        <p:sp>
          <p:nvSpPr>
            <p:cNvPr id="25" name="Tekstboks 24"/>
            <p:cNvSpPr txBox="1"/>
            <p:nvPr userDrawn="1"/>
          </p:nvSpPr>
          <p:spPr>
            <a:xfrm>
              <a:off x="-1620688" y="1354138"/>
              <a:ext cx="1475960" cy="2434902"/>
            </a:xfrm>
            <a:prstGeom prst="rect">
              <a:avLst/>
            </a:prstGeom>
            <a:noFill/>
          </p:spPr>
          <p:txBody>
            <a:bodyPr wrap="square" lIns="0" tIns="0" rIns="0" bIns="0" rtlCol="0">
              <a:noAutofit/>
            </a:bodyPr>
            <a:lstStyle/>
            <a:p>
              <a:pPr algn="r"/>
              <a:r>
                <a:rPr lang="da-DK" sz="675" b="1">
                  <a:solidFill>
                    <a:schemeClr val="bg1">
                      <a:lumMod val="50000"/>
                    </a:schemeClr>
                  </a:solidFill>
                </a:rPr>
                <a:t>Tekst-typografier</a:t>
              </a:r>
            </a:p>
            <a:p>
              <a:pPr algn="r"/>
              <a:r>
                <a:rPr lang="da-DK" sz="675" b="0">
                  <a:solidFill>
                    <a:schemeClr val="bg1">
                      <a:lumMod val="50000"/>
                    </a:schemeClr>
                  </a:solidFill>
                </a:rPr>
                <a:t>Brug </a:t>
              </a:r>
              <a:r>
                <a:rPr lang="da-DK" sz="675" b="1">
                  <a:solidFill>
                    <a:schemeClr val="bg1">
                      <a:lumMod val="50000"/>
                    </a:schemeClr>
                  </a:solidFill>
                </a:rPr>
                <a:t>TAB</a:t>
              </a:r>
              <a:r>
                <a:rPr lang="da-DK" sz="675" b="0">
                  <a:solidFill>
                    <a:schemeClr val="bg1">
                      <a:lumMod val="50000"/>
                    </a:schemeClr>
                  </a:solidFill>
                </a:rPr>
                <a:t> for at gå frem</a:t>
              </a:r>
            </a:p>
            <a:p>
              <a:pPr algn="r"/>
              <a:r>
                <a:rPr lang="da-DK" sz="675" b="0">
                  <a:solidFill>
                    <a:schemeClr val="bg1">
                      <a:lumMod val="50000"/>
                    </a:schemeClr>
                  </a:solidFill>
                </a:rPr>
                <a:t>i tekst-niveauer</a:t>
              </a:r>
            </a:p>
            <a:p>
              <a:pPr algn="r"/>
              <a:endParaRPr lang="da-DK" sz="675" b="0">
                <a:solidFill>
                  <a:schemeClr val="bg1">
                    <a:lumMod val="50000"/>
                  </a:schemeClr>
                </a:solidFill>
              </a:endParaRPr>
            </a:p>
            <a:p>
              <a:pPr algn="l"/>
              <a:r>
                <a:rPr lang="da-DK" sz="675" b="0">
                  <a:solidFill>
                    <a:schemeClr val="bg1">
                      <a:lumMod val="50000"/>
                    </a:schemeClr>
                  </a:solidFill>
                </a:rPr>
                <a:t>Klik for at indsætte tekst</a:t>
              </a:r>
            </a:p>
            <a:p>
              <a:pPr marL="80992" indent="-80992" algn="l">
                <a:buFont typeface="Arial" panose="020B0604020202020204" pitchFamily="34" charset="0"/>
                <a:buChar char="•"/>
              </a:pPr>
              <a:r>
                <a:rPr lang="da-DK" sz="675" b="0">
                  <a:solidFill>
                    <a:schemeClr val="bg1">
                      <a:lumMod val="50000"/>
                    </a:schemeClr>
                  </a:solidFill>
                </a:rPr>
                <a:t>Andet niveau</a:t>
              </a:r>
            </a:p>
            <a:p>
              <a:pPr marL="215978" indent="-80992" algn="l">
                <a:buFont typeface="Arial" panose="020B0604020202020204" pitchFamily="34" charset="0"/>
                <a:buChar char="•"/>
              </a:pPr>
              <a:r>
                <a:rPr lang="da-DK" sz="600" b="0">
                  <a:solidFill>
                    <a:schemeClr val="bg1">
                      <a:lumMod val="50000"/>
                    </a:schemeClr>
                  </a:solidFill>
                </a:rPr>
                <a:t>Tredje niveau</a:t>
              </a:r>
            </a:p>
            <a:p>
              <a:pPr marL="350965" indent="-80992" algn="l">
                <a:buFont typeface="Arial" panose="020B0604020202020204" pitchFamily="34" charset="0"/>
                <a:buChar char="•"/>
              </a:pPr>
              <a:r>
                <a:rPr lang="da-DK" sz="450" b="0">
                  <a:solidFill>
                    <a:schemeClr val="bg1">
                      <a:lumMod val="50000"/>
                    </a:schemeClr>
                  </a:solidFill>
                </a:rPr>
                <a:t>Fjerde niveau</a:t>
              </a:r>
            </a:p>
            <a:p>
              <a:pPr marL="458954" indent="-80992" algn="l">
                <a:buFont typeface="Arial" panose="020B0604020202020204" pitchFamily="34" charset="0"/>
                <a:buChar char="•"/>
              </a:pPr>
              <a:r>
                <a:rPr lang="da-DK" sz="450" b="0">
                  <a:solidFill>
                    <a:schemeClr val="bg1">
                      <a:lumMod val="50000"/>
                    </a:schemeClr>
                  </a:solidFill>
                </a:rPr>
                <a:t>Femte niveau</a:t>
              </a:r>
            </a:p>
            <a:p>
              <a:pPr algn="r"/>
              <a:endParaRPr lang="da-DK" sz="675" b="0">
                <a:solidFill>
                  <a:schemeClr val="bg1">
                    <a:lumMod val="50000"/>
                  </a:schemeClr>
                </a:solidFill>
              </a:endParaRPr>
            </a:p>
            <a:p>
              <a:pPr algn="r"/>
              <a:r>
                <a:rPr lang="da-DK" sz="675" b="0">
                  <a:solidFill>
                    <a:schemeClr val="bg1">
                      <a:lumMod val="50000"/>
                    </a:schemeClr>
                  </a:solidFill>
                </a:rPr>
                <a:t>For at gå tilbage i tekst-niveauer,</a:t>
              </a:r>
            </a:p>
            <a:p>
              <a:pPr algn="r"/>
              <a:r>
                <a:rPr lang="da-DK" sz="675" b="0">
                  <a:solidFill>
                    <a:schemeClr val="bg1">
                      <a:lumMod val="50000"/>
                    </a:schemeClr>
                  </a:solidFill>
                </a:rPr>
                <a:t>brug </a:t>
              </a:r>
              <a:r>
                <a:rPr lang="da-DK" sz="675" b="1">
                  <a:solidFill>
                    <a:schemeClr val="bg1">
                      <a:lumMod val="50000"/>
                    </a:schemeClr>
                  </a:solidFill>
                </a:rPr>
                <a:t>SHIFT + TAB</a:t>
              </a:r>
            </a:p>
            <a:p>
              <a:pPr algn="r"/>
              <a:endParaRPr lang="da-DK" sz="675" b="0">
                <a:solidFill>
                  <a:schemeClr val="bg1">
                    <a:lumMod val="50000"/>
                  </a:schemeClr>
                </a:solidFill>
              </a:endParaRPr>
            </a:p>
            <a:p>
              <a:pPr algn="r"/>
              <a:endParaRPr lang="da-DK" sz="675" b="0">
                <a:solidFill>
                  <a:schemeClr val="bg1">
                    <a:lumMod val="50000"/>
                  </a:schemeClr>
                </a:solidFill>
              </a:endParaRPr>
            </a:p>
            <a:p>
              <a:pPr algn="r"/>
              <a:r>
                <a:rPr lang="da-DK" sz="675" b="0">
                  <a:solidFill>
                    <a:schemeClr val="bg1">
                      <a:lumMod val="50000"/>
                    </a:schemeClr>
                  </a:solidFill>
                </a:rPr>
                <a:t>Alternativt kan</a:t>
              </a:r>
            </a:p>
            <a:p>
              <a:pPr algn="r"/>
              <a:r>
                <a:rPr lang="da-DK" sz="675" b="1">
                  <a:solidFill>
                    <a:schemeClr val="bg1">
                      <a:lumMod val="50000"/>
                    </a:schemeClr>
                  </a:solidFill>
                </a:rPr>
                <a:t>Forøg og Formindsk </a:t>
              </a:r>
            </a:p>
            <a:p>
              <a:pPr algn="r"/>
              <a:r>
                <a:rPr lang="da-DK" sz="675" b="0">
                  <a:solidFill>
                    <a:schemeClr val="bg1">
                      <a:lumMod val="50000"/>
                    </a:schemeClr>
                  </a:solidFill>
                </a:rPr>
                <a:t>listeniveau bruges</a:t>
              </a:r>
            </a:p>
          </p:txBody>
        </p:sp>
        <p:grpSp>
          <p:nvGrpSpPr>
            <p:cNvPr id="26" name="Gruppe 25"/>
            <p:cNvGrpSpPr/>
            <p:nvPr userDrawn="1"/>
          </p:nvGrpSpPr>
          <p:grpSpPr>
            <a:xfrm>
              <a:off x="-503503" y="3048030"/>
              <a:ext cx="358775" cy="236537"/>
              <a:chOff x="-503503" y="3171825"/>
              <a:chExt cx="358775" cy="236537"/>
            </a:xfrm>
          </p:grpSpPr>
          <p:pic>
            <p:nvPicPr>
              <p:cNvPr id="2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3503" y="3171825"/>
                <a:ext cx="358775" cy="2365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 name="Afrundet rektangel 27"/>
              <p:cNvSpPr/>
              <p:nvPr userDrawn="1"/>
            </p:nvSpPr>
            <p:spPr>
              <a:xfrm>
                <a:off x="-503503" y="3171825"/>
                <a:ext cx="179387" cy="236537"/>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sz="750"/>
              </a:p>
            </p:txBody>
          </p:sp>
        </p:grpSp>
      </p:grpSp>
      <p:sp>
        <p:nvSpPr>
          <p:cNvPr id="29" name="Tekstboks 28"/>
          <p:cNvSpPr txBox="1"/>
          <p:nvPr userDrawn="1"/>
        </p:nvSpPr>
        <p:spPr>
          <a:xfrm>
            <a:off x="-1585485" y="0"/>
            <a:ext cx="1450682" cy="681540"/>
          </a:xfrm>
          <a:prstGeom prst="rect">
            <a:avLst/>
          </a:prstGeom>
          <a:noFill/>
        </p:spPr>
        <p:txBody>
          <a:bodyPr wrap="square" lIns="0" tIns="0" rIns="0" bIns="0" rtlCol="0">
            <a:noAutofit/>
          </a:bodyPr>
          <a:lstStyle/>
          <a:p>
            <a:pPr algn="r"/>
            <a:r>
              <a:rPr lang="da-DK" sz="675" b="1" noProof="1">
                <a:solidFill>
                  <a:schemeClr val="bg1">
                    <a:lumMod val="50000"/>
                  </a:schemeClr>
                </a:solidFill>
              </a:rPr>
              <a:t>Boks:</a:t>
            </a:r>
          </a:p>
          <a:p>
            <a:pPr algn="r"/>
            <a:r>
              <a:rPr lang="da-DK" sz="675" b="0" noProof="1">
                <a:solidFill>
                  <a:schemeClr val="bg1">
                    <a:lumMod val="50000"/>
                  </a:schemeClr>
                </a:solidFill>
              </a:rPr>
              <a:t>Mellemrubrik skrives enten med fed eller store bogstaver i regular</a:t>
            </a:r>
          </a:p>
          <a:p>
            <a:pPr algn="r"/>
            <a:endParaRPr lang="da-DK" sz="675" b="0" noProof="1">
              <a:solidFill>
                <a:schemeClr val="bg1">
                  <a:lumMod val="50000"/>
                </a:schemeClr>
              </a:solidFill>
            </a:endParaRPr>
          </a:p>
          <a:p>
            <a:pPr algn="r"/>
            <a:r>
              <a:rPr lang="da-DK" sz="675" b="0" noProof="1">
                <a:solidFill>
                  <a:schemeClr val="bg1">
                    <a:lumMod val="50000"/>
                  </a:schemeClr>
                </a:solidFill>
              </a:rPr>
              <a:t>Denne farve er mest egnet til skærm eller projektor</a:t>
            </a:r>
          </a:p>
        </p:txBody>
      </p:sp>
    </p:spTree>
    <p:extLst>
      <p:ext uri="{BB962C8B-B14F-4D97-AF65-F5344CB8AC3E}">
        <p14:creationId xmlns:p14="http://schemas.microsoft.com/office/powerpoint/2010/main" val="21740848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1 Red">
    <p:spTree>
      <p:nvGrpSpPr>
        <p:cNvPr id="1" name=""/>
        <p:cNvGrpSpPr/>
        <p:nvPr/>
      </p:nvGrpSpPr>
      <p:grpSpPr>
        <a:xfrm>
          <a:off x="0" y="0"/>
          <a:ext cx="0" cy="0"/>
          <a:chOff x="0" y="0"/>
          <a:chExt cx="0" cy="0"/>
        </a:xfrm>
      </p:grpSpPr>
      <p:sp>
        <p:nvSpPr>
          <p:cNvPr id="20" name="Rektangel 19"/>
          <p:cNvSpPr/>
          <p:nvPr userDrawn="1"/>
        </p:nvSpPr>
        <p:spPr>
          <a:xfrm>
            <a:off x="4572000" y="0"/>
            <a:ext cx="4572000" cy="5143500"/>
          </a:xfrm>
          <a:prstGeom prst="rect">
            <a:avLst/>
          </a:prstGeom>
          <a:solidFill>
            <a:schemeClr val="accent1"/>
          </a:solidFill>
          <a:ln>
            <a:noFill/>
          </a:ln>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sv-SE"/>
          </a:p>
        </p:txBody>
      </p:sp>
      <p:grpSp>
        <p:nvGrpSpPr>
          <p:cNvPr id="22" name="Grupp 21">
            <a:extLst>
              <a:ext uri="{FF2B5EF4-FFF2-40B4-BE49-F238E27FC236}">
                <a16:creationId xmlns:a16="http://schemas.microsoft.com/office/drawing/2014/main" id="{58A4F037-5372-4F50-AB2C-80E4F015FDE0}"/>
              </a:ext>
            </a:extLst>
          </p:cNvPr>
          <p:cNvGrpSpPr/>
          <p:nvPr userDrawn="1"/>
        </p:nvGrpSpPr>
        <p:grpSpPr>
          <a:xfrm>
            <a:off x="4099911" y="-1785593"/>
            <a:ext cx="8908892" cy="8714685"/>
            <a:chOff x="3589405" y="387640"/>
            <a:chExt cx="5873827" cy="5872463"/>
          </a:xfrm>
          <a:solidFill>
            <a:schemeClr val="bg1">
              <a:alpha val="10000"/>
            </a:schemeClr>
          </a:solidFill>
        </p:grpSpPr>
        <p:sp>
          <p:nvSpPr>
            <p:cNvPr id="23" name="Freeform 5">
              <a:extLst>
                <a:ext uri="{FF2B5EF4-FFF2-40B4-BE49-F238E27FC236}">
                  <a16:creationId xmlns:a16="http://schemas.microsoft.com/office/drawing/2014/main" id="{7C1D4E85-F2CE-4336-8CC8-25E235311297}"/>
                </a:ext>
              </a:extLst>
            </p:cNvPr>
            <p:cNvSpPr>
              <a:spLocks/>
            </p:cNvSpPr>
            <p:nvPr/>
          </p:nvSpPr>
          <p:spPr bwMode="auto">
            <a:xfrm>
              <a:off x="3871774" y="678194"/>
              <a:ext cx="1392749" cy="1400934"/>
            </a:xfrm>
            <a:custGeom>
              <a:avLst/>
              <a:gdLst>
                <a:gd name="T0" fmla="*/ 2096 w 2096"/>
                <a:gd name="T1" fmla="*/ 0 h 2108"/>
                <a:gd name="T2" fmla="*/ 877 w 2096"/>
                <a:gd name="T3" fmla="*/ 863 h 2108"/>
                <a:gd name="T4" fmla="*/ 0 w 2096"/>
                <a:gd name="T5" fmla="*/ 2108 h 2108"/>
                <a:gd name="T6" fmla="*/ 981 w 2096"/>
                <a:gd name="T7" fmla="*/ 948 h 2108"/>
                <a:gd name="T8" fmla="*/ 2096 w 2096"/>
                <a:gd name="T9" fmla="*/ 0 h 2108"/>
              </a:gdLst>
              <a:ahLst/>
              <a:cxnLst>
                <a:cxn ang="0">
                  <a:pos x="T0" y="T1"/>
                </a:cxn>
                <a:cxn ang="0">
                  <a:pos x="T2" y="T3"/>
                </a:cxn>
                <a:cxn ang="0">
                  <a:pos x="T4" y="T5"/>
                </a:cxn>
                <a:cxn ang="0">
                  <a:pos x="T6" y="T7"/>
                </a:cxn>
                <a:cxn ang="0">
                  <a:pos x="T8" y="T9"/>
                </a:cxn>
              </a:cxnLst>
              <a:rect l="0" t="0" r="r" b="b"/>
              <a:pathLst>
                <a:path w="2096" h="2108">
                  <a:moveTo>
                    <a:pt x="2096" y="0"/>
                  </a:moveTo>
                  <a:cubicBezTo>
                    <a:pt x="1655" y="211"/>
                    <a:pt x="1242" y="498"/>
                    <a:pt x="877" y="863"/>
                  </a:cubicBezTo>
                  <a:cubicBezTo>
                    <a:pt x="504" y="1235"/>
                    <a:pt x="213" y="1658"/>
                    <a:pt x="0" y="2108"/>
                  </a:cubicBezTo>
                  <a:cubicBezTo>
                    <a:pt x="254" y="1741"/>
                    <a:pt x="588" y="1343"/>
                    <a:pt x="981" y="948"/>
                  </a:cubicBezTo>
                  <a:cubicBezTo>
                    <a:pt x="1360" y="571"/>
                    <a:pt x="1741" y="249"/>
                    <a:pt x="209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4" name="Freeform 6">
              <a:extLst>
                <a:ext uri="{FF2B5EF4-FFF2-40B4-BE49-F238E27FC236}">
                  <a16:creationId xmlns:a16="http://schemas.microsoft.com/office/drawing/2014/main" id="{AAC8634F-3E34-4168-8D60-19B3A00C0D81}"/>
                </a:ext>
              </a:extLst>
            </p:cNvPr>
            <p:cNvSpPr>
              <a:spLocks/>
            </p:cNvSpPr>
            <p:nvPr/>
          </p:nvSpPr>
          <p:spPr bwMode="auto">
            <a:xfrm>
              <a:off x="3635784" y="435383"/>
              <a:ext cx="2381724" cy="2399457"/>
            </a:xfrm>
            <a:custGeom>
              <a:avLst/>
              <a:gdLst>
                <a:gd name="T0" fmla="*/ 446 w 3585"/>
                <a:gd name="T1" fmla="*/ 2866 h 3609"/>
                <a:gd name="T2" fmla="*/ 484 w 3585"/>
                <a:gd name="T3" fmla="*/ 2811 h 3609"/>
                <a:gd name="T4" fmla="*/ 1565 w 3585"/>
                <a:gd name="T5" fmla="*/ 1541 h 3609"/>
                <a:gd name="T6" fmla="*/ 2835 w 3585"/>
                <a:gd name="T7" fmla="*/ 460 h 3609"/>
                <a:gd name="T8" fmla="*/ 2891 w 3585"/>
                <a:gd name="T9" fmla="*/ 422 h 3609"/>
                <a:gd name="T10" fmla="*/ 2945 w 3585"/>
                <a:gd name="T11" fmla="*/ 385 h 3609"/>
                <a:gd name="T12" fmla="*/ 3585 w 3585"/>
                <a:gd name="T13" fmla="*/ 0 h 3609"/>
                <a:gd name="T14" fmla="*/ 3071 w 3585"/>
                <a:gd name="T15" fmla="*/ 123 h 3609"/>
                <a:gd name="T16" fmla="*/ 2863 w 3585"/>
                <a:gd name="T17" fmla="*/ 239 h 3609"/>
                <a:gd name="T18" fmla="*/ 2809 w 3585"/>
                <a:gd name="T19" fmla="*/ 272 h 3609"/>
                <a:gd name="T20" fmla="*/ 2752 w 3585"/>
                <a:gd name="T21" fmla="*/ 307 h 3609"/>
                <a:gd name="T22" fmla="*/ 1420 w 3585"/>
                <a:gd name="T23" fmla="*/ 1396 h 3609"/>
                <a:gd name="T24" fmla="*/ 331 w 3585"/>
                <a:gd name="T25" fmla="*/ 2728 h 3609"/>
                <a:gd name="T26" fmla="*/ 296 w 3585"/>
                <a:gd name="T27" fmla="*/ 2785 h 3609"/>
                <a:gd name="T28" fmla="*/ 263 w 3585"/>
                <a:gd name="T29" fmla="*/ 2839 h 3609"/>
                <a:gd name="T30" fmla="*/ 113 w 3585"/>
                <a:gd name="T31" fmla="*/ 3114 h 3609"/>
                <a:gd name="T32" fmla="*/ 0 w 3585"/>
                <a:gd name="T33" fmla="*/ 3609 h 3609"/>
                <a:gd name="T34" fmla="*/ 408 w 3585"/>
                <a:gd name="T35" fmla="*/ 2921 h 3609"/>
                <a:gd name="T36" fmla="*/ 446 w 3585"/>
                <a:gd name="T37" fmla="*/ 2866 h 3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85" h="3609">
                  <a:moveTo>
                    <a:pt x="446" y="2866"/>
                  </a:moveTo>
                  <a:cubicBezTo>
                    <a:pt x="459" y="2848"/>
                    <a:pt x="471" y="2830"/>
                    <a:pt x="484" y="2811"/>
                  </a:cubicBezTo>
                  <a:cubicBezTo>
                    <a:pt x="775" y="2399"/>
                    <a:pt x="1141" y="1966"/>
                    <a:pt x="1565" y="1541"/>
                  </a:cubicBezTo>
                  <a:cubicBezTo>
                    <a:pt x="1990" y="1117"/>
                    <a:pt x="2423" y="751"/>
                    <a:pt x="2835" y="460"/>
                  </a:cubicBezTo>
                  <a:cubicBezTo>
                    <a:pt x="2854" y="447"/>
                    <a:pt x="2872" y="435"/>
                    <a:pt x="2891" y="422"/>
                  </a:cubicBezTo>
                  <a:cubicBezTo>
                    <a:pt x="2909" y="409"/>
                    <a:pt x="2927" y="397"/>
                    <a:pt x="2945" y="385"/>
                  </a:cubicBezTo>
                  <a:cubicBezTo>
                    <a:pt x="3167" y="233"/>
                    <a:pt x="3382" y="104"/>
                    <a:pt x="3585" y="0"/>
                  </a:cubicBezTo>
                  <a:cubicBezTo>
                    <a:pt x="3412" y="31"/>
                    <a:pt x="3240" y="72"/>
                    <a:pt x="3071" y="123"/>
                  </a:cubicBezTo>
                  <a:cubicBezTo>
                    <a:pt x="3004" y="158"/>
                    <a:pt x="2935" y="196"/>
                    <a:pt x="2863" y="239"/>
                  </a:cubicBezTo>
                  <a:cubicBezTo>
                    <a:pt x="2845" y="249"/>
                    <a:pt x="2827" y="261"/>
                    <a:pt x="2809" y="272"/>
                  </a:cubicBezTo>
                  <a:cubicBezTo>
                    <a:pt x="2790" y="284"/>
                    <a:pt x="2771" y="294"/>
                    <a:pt x="2752" y="307"/>
                  </a:cubicBezTo>
                  <a:cubicBezTo>
                    <a:pt x="2343" y="565"/>
                    <a:pt x="1875" y="939"/>
                    <a:pt x="1420" y="1396"/>
                  </a:cubicBezTo>
                  <a:cubicBezTo>
                    <a:pt x="963" y="1851"/>
                    <a:pt x="589" y="2319"/>
                    <a:pt x="331" y="2728"/>
                  </a:cubicBezTo>
                  <a:cubicBezTo>
                    <a:pt x="318" y="2747"/>
                    <a:pt x="308" y="2766"/>
                    <a:pt x="296" y="2785"/>
                  </a:cubicBezTo>
                  <a:cubicBezTo>
                    <a:pt x="285" y="2803"/>
                    <a:pt x="273" y="2821"/>
                    <a:pt x="263" y="2839"/>
                  </a:cubicBezTo>
                  <a:cubicBezTo>
                    <a:pt x="205" y="2935"/>
                    <a:pt x="156" y="3027"/>
                    <a:pt x="113" y="3114"/>
                  </a:cubicBezTo>
                  <a:cubicBezTo>
                    <a:pt x="65" y="3277"/>
                    <a:pt x="28" y="3443"/>
                    <a:pt x="0" y="3609"/>
                  </a:cubicBezTo>
                  <a:cubicBezTo>
                    <a:pt x="107" y="3392"/>
                    <a:pt x="245" y="3161"/>
                    <a:pt x="408" y="2921"/>
                  </a:cubicBezTo>
                  <a:cubicBezTo>
                    <a:pt x="421" y="2903"/>
                    <a:pt x="433" y="2885"/>
                    <a:pt x="446" y="28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5" name="Freeform 7">
              <a:extLst>
                <a:ext uri="{FF2B5EF4-FFF2-40B4-BE49-F238E27FC236}">
                  <a16:creationId xmlns:a16="http://schemas.microsoft.com/office/drawing/2014/main" id="{1044E1AF-5D57-4C57-A718-661729CA160C}"/>
                </a:ext>
              </a:extLst>
            </p:cNvPr>
            <p:cNvSpPr>
              <a:spLocks/>
            </p:cNvSpPr>
            <p:nvPr/>
          </p:nvSpPr>
          <p:spPr bwMode="auto">
            <a:xfrm>
              <a:off x="3589405" y="387640"/>
              <a:ext cx="3051498" cy="3077416"/>
            </a:xfrm>
            <a:custGeom>
              <a:avLst/>
              <a:gdLst>
                <a:gd name="T0" fmla="*/ 267 w 4592"/>
                <a:gd name="T1" fmla="*/ 4024 h 4629"/>
                <a:gd name="T2" fmla="*/ 1026 w 4592"/>
                <a:gd name="T3" fmla="*/ 2858 h 4629"/>
                <a:gd name="T4" fmla="*/ 1121 w 4592"/>
                <a:gd name="T5" fmla="*/ 2738 h 4629"/>
                <a:gd name="T6" fmla="*/ 1236 w 4592"/>
                <a:gd name="T7" fmla="*/ 2597 h 4629"/>
                <a:gd name="T8" fmla="*/ 1896 w 4592"/>
                <a:gd name="T9" fmla="*/ 1875 h 4629"/>
                <a:gd name="T10" fmla="*/ 2618 w 4592"/>
                <a:gd name="T11" fmla="*/ 1215 h 4629"/>
                <a:gd name="T12" fmla="*/ 2759 w 4592"/>
                <a:gd name="T13" fmla="*/ 1101 h 4629"/>
                <a:gd name="T14" fmla="*/ 2878 w 4592"/>
                <a:gd name="T15" fmla="*/ 1006 h 4629"/>
                <a:gd name="T16" fmla="*/ 4045 w 4592"/>
                <a:gd name="T17" fmla="*/ 246 h 4629"/>
                <a:gd name="T18" fmla="*/ 4104 w 4592"/>
                <a:gd name="T19" fmla="*/ 217 h 4629"/>
                <a:gd name="T20" fmla="*/ 4159 w 4592"/>
                <a:gd name="T21" fmla="*/ 189 h 4629"/>
                <a:gd name="T22" fmla="*/ 4592 w 4592"/>
                <a:gd name="T23" fmla="*/ 6 h 4629"/>
                <a:gd name="T24" fmla="*/ 4098 w 4592"/>
                <a:gd name="T25" fmla="*/ 16 h 4629"/>
                <a:gd name="T26" fmla="*/ 4059 w 4592"/>
                <a:gd name="T27" fmla="*/ 19 h 4629"/>
                <a:gd name="T28" fmla="*/ 4034 w 4592"/>
                <a:gd name="T29" fmla="*/ 29 h 4629"/>
                <a:gd name="T30" fmla="*/ 3987 w 4592"/>
                <a:gd name="T31" fmla="*/ 49 h 4629"/>
                <a:gd name="T32" fmla="*/ 3976 w 4592"/>
                <a:gd name="T33" fmla="*/ 53 h 4629"/>
                <a:gd name="T34" fmla="*/ 3018 w 4592"/>
                <a:gd name="T35" fmla="*/ 598 h 4629"/>
                <a:gd name="T36" fmla="*/ 2950 w 4592"/>
                <a:gd name="T37" fmla="*/ 644 h 4629"/>
                <a:gd name="T38" fmla="*/ 2877 w 4592"/>
                <a:gd name="T39" fmla="*/ 698 h 4629"/>
                <a:gd name="T40" fmla="*/ 1717 w 4592"/>
                <a:gd name="T41" fmla="*/ 1696 h 4629"/>
                <a:gd name="T42" fmla="*/ 718 w 4592"/>
                <a:gd name="T43" fmla="*/ 2856 h 4629"/>
                <a:gd name="T44" fmla="*/ 665 w 4592"/>
                <a:gd name="T45" fmla="*/ 2929 h 4629"/>
                <a:gd name="T46" fmla="*/ 618 w 4592"/>
                <a:gd name="T47" fmla="*/ 2997 h 4629"/>
                <a:gd name="T48" fmla="*/ 74 w 4592"/>
                <a:gd name="T49" fmla="*/ 3955 h 4629"/>
                <a:gd name="T50" fmla="*/ 50 w 4592"/>
                <a:gd name="T51" fmla="*/ 4013 h 4629"/>
                <a:gd name="T52" fmla="*/ 28 w 4592"/>
                <a:gd name="T53" fmla="*/ 4070 h 4629"/>
                <a:gd name="T54" fmla="*/ 17 w 4592"/>
                <a:gd name="T55" fmla="*/ 4101 h 4629"/>
                <a:gd name="T56" fmla="*/ 8 w 4592"/>
                <a:gd name="T57" fmla="*/ 4629 h 4629"/>
                <a:gd name="T58" fmla="*/ 210 w 4592"/>
                <a:gd name="T59" fmla="*/ 4138 h 4629"/>
                <a:gd name="T60" fmla="*/ 238 w 4592"/>
                <a:gd name="T61" fmla="*/ 4083 h 4629"/>
                <a:gd name="T62" fmla="*/ 267 w 4592"/>
                <a:gd name="T63" fmla="*/ 4024 h 4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92" h="4629">
                  <a:moveTo>
                    <a:pt x="267" y="4024"/>
                  </a:moveTo>
                  <a:cubicBezTo>
                    <a:pt x="457" y="3655"/>
                    <a:pt x="713" y="3259"/>
                    <a:pt x="1026" y="2858"/>
                  </a:cubicBezTo>
                  <a:cubicBezTo>
                    <a:pt x="1057" y="2818"/>
                    <a:pt x="1089" y="2778"/>
                    <a:pt x="1121" y="2738"/>
                  </a:cubicBezTo>
                  <a:cubicBezTo>
                    <a:pt x="1159" y="2691"/>
                    <a:pt x="1197" y="2644"/>
                    <a:pt x="1236" y="2597"/>
                  </a:cubicBezTo>
                  <a:cubicBezTo>
                    <a:pt x="1437" y="2356"/>
                    <a:pt x="1658" y="2114"/>
                    <a:pt x="1896" y="1875"/>
                  </a:cubicBezTo>
                  <a:cubicBezTo>
                    <a:pt x="2134" y="1637"/>
                    <a:pt x="2376" y="1417"/>
                    <a:pt x="2618" y="1215"/>
                  </a:cubicBezTo>
                  <a:cubicBezTo>
                    <a:pt x="2665" y="1176"/>
                    <a:pt x="2712" y="1138"/>
                    <a:pt x="2759" y="1101"/>
                  </a:cubicBezTo>
                  <a:cubicBezTo>
                    <a:pt x="2799" y="1068"/>
                    <a:pt x="2839" y="1037"/>
                    <a:pt x="2878" y="1006"/>
                  </a:cubicBezTo>
                  <a:cubicBezTo>
                    <a:pt x="3280" y="693"/>
                    <a:pt x="3675" y="437"/>
                    <a:pt x="4045" y="246"/>
                  </a:cubicBezTo>
                  <a:cubicBezTo>
                    <a:pt x="4065" y="236"/>
                    <a:pt x="4084" y="226"/>
                    <a:pt x="4104" y="217"/>
                  </a:cubicBezTo>
                  <a:cubicBezTo>
                    <a:pt x="4122" y="208"/>
                    <a:pt x="4141" y="198"/>
                    <a:pt x="4159" y="189"/>
                  </a:cubicBezTo>
                  <a:cubicBezTo>
                    <a:pt x="4309" y="116"/>
                    <a:pt x="4453" y="55"/>
                    <a:pt x="4592" y="6"/>
                  </a:cubicBezTo>
                  <a:cubicBezTo>
                    <a:pt x="4427" y="0"/>
                    <a:pt x="4262" y="3"/>
                    <a:pt x="4098" y="16"/>
                  </a:cubicBezTo>
                  <a:cubicBezTo>
                    <a:pt x="4085" y="17"/>
                    <a:pt x="4072" y="18"/>
                    <a:pt x="4059" y="19"/>
                  </a:cubicBezTo>
                  <a:cubicBezTo>
                    <a:pt x="4051" y="22"/>
                    <a:pt x="4043" y="26"/>
                    <a:pt x="4034" y="29"/>
                  </a:cubicBezTo>
                  <a:cubicBezTo>
                    <a:pt x="4019" y="35"/>
                    <a:pt x="4003" y="42"/>
                    <a:pt x="3987" y="49"/>
                  </a:cubicBezTo>
                  <a:cubicBezTo>
                    <a:pt x="3983" y="50"/>
                    <a:pt x="3980" y="51"/>
                    <a:pt x="3976" y="53"/>
                  </a:cubicBezTo>
                  <a:cubicBezTo>
                    <a:pt x="3689" y="174"/>
                    <a:pt x="3362" y="358"/>
                    <a:pt x="3018" y="598"/>
                  </a:cubicBezTo>
                  <a:cubicBezTo>
                    <a:pt x="2995" y="613"/>
                    <a:pt x="2973" y="628"/>
                    <a:pt x="2950" y="644"/>
                  </a:cubicBezTo>
                  <a:cubicBezTo>
                    <a:pt x="2926" y="661"/>
                    <a:pt x="2902" y="680"/>
                    <a:pt x="2877" y="698"/>
                  </a:cubicBezTo>
                  <a:cubicBezTo>
                    <a:pt x="2499" y="973"/>
                    <a:pt x="2103" y="1309"/>
                    <a:pt x="1717" y="1696"/>
                  </a:cubicBezTo>
                  <a:cubicBezTo>
                    <a:pt x="1330" y="2082"/>
                    <a:pt x="994" y="2478"/>
                    <a:pt x="718" y="2856"/>
                  </a:cubicBezTo>
                  <a:cubicBezTo>
                    <a:pt x="701" y="2881"/>
                    <a:pt x="682" y="2905"/>
                    <a:pt x="665" y="2929"/>
                  </a:cubicBezTo>
                  <a:cubicBezTo>
                    <a:pt x="649" y="2952"/>
                    <a:pt x="634" y="2974"/>
                    <a:pt x="618" y="2997"/>
                  </a:cubicBezTo>
                  <a:cubicBezTo>
                    <a:pt x="379" y="3341"/>
                    <a:pt x="195" y="3668"/>
                    <a:pt x="74" y="3955"/>
                  </a:cubicBezTo>
                  <a:cubicBezTo>
                    <a:pt x="66" y="3975"/>
                    <a:pt x="57" y="3994"/>
                    <a:pt x="50" y="4013"/>
                  </a:cubicBezTo>
                  <a:cubicBezTo>
                    <a:pt x="42" y="4032"/>
                    <a:pt x="35" y="4051"/>
                    <a:pt x="28" y="4070"/>
                  </a:cubicBezTo>
                  <a:cubicBezTo>
                    <a:pt x="24" y="4080"/>
                    <a:pt x="21" y="4090"/>
                    <a:pt x="17" y="4101"/>
                  </a:cubicBezTo>
                  <a:cubicBezTo>
                    <a:pt x="4" y="4276"/>
                    <a:pt x="0" y="4452"/>
                    <a:pt x="8" y="4629"/>
                  </a:cubicBezTo>
                  <a:cubicBezTo>
                    <a:pt x="60" y="4472"/>
                    <a:pt x="127" y="4309"/>
                    <a:pt x="210" y="4138"/>
                  </a:cubicBezTo>
                  <a:cubicBezTo>
                    <a:pt x="219" y="4120"/>
                    <a:pt x="228" y="4101"/>
                    <a:pt x="238" y="4083"/>
                  </a:cubicBezTo>
                  <a:cubicBezTo>
                    <a:pt x="247" y="4063"/>
                    <a:pt x="257" y="4044"/>
                    <a:pt x="267" y="40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6" name="Freeform 8">
              <a:extLst>
                <a:ext uri="{FF2B5EF4-FFF2-40B4-BE49-F238E27FC236}">
                  <a16:creationId xmlns:a16="http://schemas.microsoft.com/office/drawing/2014/main" id="{3377C1A4-0564-4448-BF92-C18ABDBCE824}"/>
                </a:ext>
              </a:extLst>
            </p:cNvPr>
            <p:cNvSpPr>
              <a:spLocks/>
            </p:cNvSpPr>
            <p:nvPr/>
          </p:nvSpPr>
          <p:spPr bwMode="auto">
            <a:xfrm>
              <a:off x="3736728" y="524050"/>
              <a:ext cx="4067755" cy="4096401"/>
            </a:xfrm>
            <a:custGeom>
              <a:avLst/>
              <a:gdLst>
                <a:gd name="T0" fmla="*/ 711 w 6120"/>
                <a:gd name="T1" fmla="*/ 4802 h 6162"/>
                <a:gd name="T2" fmla="*/ 755 w 6120"/>
                <a:gd name="T3" fmla="*/ 4721 h 6162"/>
                <a:gd name="T4" fmla="*/ 2492 w 6120"/>
                <a:gd name="T5" fmla="*/ 2487 h 6162"/>
                <a:gd name="T6" fmla="*/ 4726 w 6120"/>
                <a:gd name="T7" fmla="*/ 750 h 6162"/>
                <a:gd name="T8" fmla="*/ 4807 w 6120"/>
                <a:gd name="T9" fmla="*/ 706 h 6162"/>
                <a:gd name="T10" fmla="*/ 4883 w 6120"/>
                <a:gd name="T11" fmla="*/ 666 h 6162"/>
                <a:gd name="T12" fmla="*/ 5747 w 6120"/>
                <a:gd name="T13" fmla="*/ 308 h 6162"/>
                <a:gd name="T14" fmla="*/ 5804 w 6120"/>
                <a:gd name="T15" fmla="*/ 292 h 6162"/>
                <a:gd name="T16" fmla="*/ 5862 w 6120"/>
                <a:gd name="T17" fmla="*/ 276 h 6162"/>
                <a:gd name="T18" fmla="*/ 6120 w 6120"/>
                <a:gd name="T19" fmla="*/ 226 h 6162"/>
                <a:gd name="T20" fmla="*/ 5817 w 6120"/>
                <a:gd name="T21" fmla="*/ 96 h 6162"/>
                <a:gd name="T22" fmla="*/ 5740 w 6120"/>
                <a:gd name="T23" fmla="*/ 67 h 6162"/>
                <a:gd name="T24" fmla="*/ 5659 w 6120"/>
                <a:gd name="T25" fmla="*/ 37 h 6162"/>
                <a:gd name="T26" fmla="*/ 5541 w 6120"/>
                <a:gd name="T27" fmla="*/ 0 h 6162"/>
                <a:gd name="T28" fmla="*/ 4988 w 6120"/>
                <a:gd name="T29" fmla="*/ 131 h 6162"/>
                <a:gd name="T30" fmla="*/ 4928 w 6120"/>
                <a:gd name="T31" fmla="*/ 153 h 6162"/>
                <a:gd name="T32" fmla="*/ 4868 w 6120"/>
                <a:gd name="T33" fmla="*/ 175 h 6162"/>
                <a:gd name="T34" fmla="*/ 3700 w 6120"/>
                <a:gd name="T35" fmla="*/ 791 h 6162"/>
                <a:gd name="T36" fmla="*/ 3593 w 6120"/>
                <a:gd name="T37" fmla="*/ 862 h 6162"/>
                <a:gd name="T38" fmla="*/ 3473 w 6120"/>
                <a:gd name="T39" fmla="*/ 946 h 6162"/>
                <a:gd name="T40" fmla="*/ 2108 w 6120"/>
                <a:gd name="T41" fmla="*/ 2103 h 6162"/>
                <a:gd name="T42" fmla="*/ 951 w 6120"/>
                <a:gd name="T43" fmla="*/ 3469 h 6162"/>
                <a:gd name="T44" fmla="*/ 866 w 6120"/>
                <a:gd name="T45" fmla="*/ 3588 h 6162"/>
                <a:gd name="T46" fmla="*/ 796 w 6120"/>
                <a:gd name="T47" fmla="*/ 3695 h 6162"/>
                <a:gd name="T48" fmla="*/ 180 w 6120"/>
                <a:gd name="T49" fmla="*/ 4863 h 6162"/>
                <a:gd name="T50" fmla="*/ 157 w 6120"/>
                <a:gd name="T51" fmla="*/ 4924 h 6162"/>
                <a:gd name="T52" fmla="*/ 136 w 6120"/>
                <a:gd name="T53" fmla="*/ 4983 h 6162"/>
                <a:gd name="T54" fmla="*/ 0 w 6120"/>
                <a:gd name="T55" fmla="*/ 5601 h 6162"/>
                <a:gd name="T56" fmla="*/ 9 w 6120"/>
                <a:gd name="T57" fmla="*/ 5631 h 6162"/>
                <a:gd name="T58" fmla="*/ 39 w 6120"/>
                <a:gd name="T59" fmla="*/ 5719 h 6162"/>
                <a:gd name="T60" fmla="*/ 69 w 6120"/>
                <a:gd name="T61" fmla="*/ 5799 h 6162"/>
                <a:gd name="T62" fmla="*/ 225 w 6120"/>
                <a:gd name="T63" fmla="*/ 6162 h 6162"/>
                <a:gd name="T64" fmla="*/ 282 w 6120"/>
                <a:gd name="T65" fmla="*/ 5857 h 6162"/>
                <a:gd name="T66" fmla="*/ 297 w 6120"/>
                <a:gd name="T67" fmla="*/ 5799 h 6162"/>
                <a:gd name="T68" fmla="*/ 313 w 6120"/>
                <a:gd name="T69" fmla="*/ 5742 h 6162"/>
                <a:gd name="T70" fmla="*/ 671 w 6120"/>
                <a:gd name="T71" fmla="*/ 4877 h 6162"/>
                <a:gd name="T72" fmla="*/ 711 w 6120"/>
                <a:gd name="T73" fmla="*/ 4802 h 6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20" h="6162">
                  <a:moveTo>
                    <a:pt x="711" y="4802"/>
                  </a:moveTo>
                  <a:cubicBezTo>
                    <a:pt x="726" y="4775"/>
                    <a:pt x="740" y="4748"/>
                    <a:pt x="755" y="4721"/>
                  </a:cubicBezTo>
                  <a:cubicBezTo>
                    <a:pt x="1151" y="4012"/>
                    <a:pt x="1746" y="3234"/>
                    <a:pt x="2492" y="2487"/>
                  </a:cubicBezTo>
                  <a:cubicBezTo>
                    <a:pt x="3239" y="1741"/>
                    <a:pt x="4017" y="1146"/>
                    <a:pt x="4726" y="750"/>
                  </a:cubicBezTo>
                  <a:cubicBezTo>
                    <a:pt x="4753" y="735"/>
                    <a:pt x="4780" y="721"/>
                    <a:pt x="4807" y="706"/>
                  </a:cubicBezTo>
                  <a:cubicBezTo>
                    <a:pt x="4832" y="693"/>
                    <a:pt x="4857" y="679"/>
                    <a:pt x="4883" y="666"/>
                  </a:cubicBezTo>
                  <a:cubicBezTo>
                    <a:pt x="5189" y="506"/>
                    <a:pt x="5480" y="385"/>
                    <a:pt x="5747" y="308"/>
                  </a:cubicBezTo>
                  <a:cubicBezTo>
                    <a:pt x="5766" y="302"/>
                    <a:pt x="5785" y="297"/>
                    <a:pt x="5804" y="292"/>
                  </a:cubicBezTo>
                  <a:cubicBezTo>
                    <a:pt x="5824" y="286"/>
                    <a:pt x="5843" y="281"/>
                    <a:pt x="5862" y="276"/>
                  </a:cubicBezTo>
                  <a:cubicBezTo>
                    <a:pt x="5951" y="254"/>
                    <a:pt x="6037" y="238"/>
                    <a:pt x="6120" y="226"/>
                  </a:cubicBezTo>
                  <a:cubicBezTo>
                    <a:pt x="6020" y="179"/>
                    <a:pt x="5919" y="136"/>
                    <a:pt x="5817" y="96"/>
                  </a:cubicBezTo>
                  <a:cubicBezTo>
                    <a:pt x="5791" y="86"/>
                    <a:pt x="5766" y="76"/>
                    <a:pt x="5740" y="67"/>
                  </a:cubicBezTo>
                  <a:cubicBezTo>
                    <a:pt x="5713" y="57"/>
                    <a:pt x="5686" y="47"/>
                    <a:pt x="5659" y="37"/>
                  </a:cubicBezTo>
                  <a:cubicBezTo>
                    <a:pt x="5620" y="24"/>
                    <a:pt x="5580" y="12"/>
                    <a:pt x="5541" y="0"/>
                  </a:cubicBezTo>
                  <a:cubicBezTo>
                    <a:pt x="5373" y="19"/>
                    <a:pt x="5187" y="62"/>
                    <a:pt x="4988" y="131"/>
                  </a:cubicBezTo>
                  <a:cubicBezTo>
                    <a:pt x="4969" y="137"/>
                    <a:pt x="4948" y="145"/>
                    <a:pt x="4928" y="153"/>
                  </a:cubicBezTo>
                  <a:cubicBezTo>
                    <a:pt x="4909" y="160"/>
                    <a:pt x="4888" y="168"/>
                    <a:pt x="4868" y="175"/>
                  </a:cubicBezTo>
                  <a:cubicBezTo>
                    <a:pt x="4509" y="311"/>
                    <a:pt x="4113" y="520"/>
                    <a:pt x="3700" y="791"/>
                  </a:cubicBezTo>
                  <a:cubicBezTo>
                    <a:pt x="3665" y="815"/>
                    <a:pt x="3629" y="837"/>
                    <a:pt x="3593" y="862"/>
                  </a:cubicBezTo>
                  <a:cubicBezTo>
                    <a:pt x="3554" y="889"/>
                    <a:pt x="3513" y="918"/>
                    <a:pt x="3473" y="946"/>
                  </a:cubicBezTo>
                  <a:cubicBezTo>
                    <a:pt x="3022" y="1264"/>
                    <a:pt x="2557" y="1653"/>
                    <a:pt x="2108" y="2103"/>
                  </a:cubicBezTo>
                  <a:cubicBezTo>
                    <a:pt x="1657" y="2553"/>
                    <a:pt x="1269" y="3017"/>
                    <a:pt x="951" y="3469"/>
                  </a:cubicBezTo>
                  <a:cubicBezTo>
                    <a:pt x="922" y="3509"/>
                    <a:pt x="893" y="3549"/>
                    <a:pt x="866" y="3588"/>
                  </a:cubicBezTo>
                  <a:cubicBezTo>
                    <a:pt x="842" y="3624"/>
                    <a:pt x="819" y="3660"/>
                    <a:pt x="796" y="3695"/>
                  </a:cubicBezTo>
                  <a:cubicBezTo>
                    <a:pt x="525" y="4108"/>
                    <a:pt x="316" y="4504"/>
                    <a:pt x="180" y="4863"/>
                  </a:cubicBezTo>
                  <a:cubicBezTo>
                    <a:pt x="173" y="4883"/>
                    <a:pt x="165" y="4904"/>
                    <a:pt x="157" y="4924"/>
                  </a:cubicBezTo>
                  <a:cubicBezTo>
                    <a:pt x="150" y="4943"/>
                    <a:pt x="142" y="4964"/>
                    <a:pt x="136" y="4983"/>
                  </a:cubicBezTo>
                  <a:cubicBezTo>
                    <a:pt x="58" y="5209"/>
                    <a:pt x="13" y="5416"/>
                    <a:pt x="0" y="5601"/>
                  </a:cubicBezTo>
                  <a:cubicBezTo>
                    <a:pt x="3" y="5611"/>
                    <a:pt x="6" y="5621"/>
                    <a:pt x="9" y="5631"/>
                  </a:cubicBezTo>
                  <a:cubicBezTo>
                    <a:pt x="19" y="5660"/>
                    <a:pt x="29" y="5690"/>
                    <a:pt x="39" y="5719"/>
                  </a:cubicBezTo>
                  <a:cubicBezTo>
                    <a:pt x="49" y="5746"/>
                    <a:pt x="59" y="5772"/>
                    <a:pt x="69" y="5799"/>
                  </a:cubicBezTo>
                  <a:cubicBezTo>
                    <a:pt x="116" y="5922"/>
                    <a:pt x="168" y="6043"/>
                    <a:pt x="225" y="6162"/>
                  </a:cubicBezTo>
                  <a:cubicBezTo>
                    <a:pt x="236" y="6065"/>
                    <a:pt x="255" y="5963"/>
                    <a:pt x="282" y="5857"/>
                  </a:cubicBezTo>
                  <a:cubicBezTo>
                    <a:pt x="286" y="5838"/>
                    <a:pt x="291" y="5819"/>
                    <a:pt x="297" y="5799"/>
                  </a:cubicBezTo>
                  <a:cubicBezTo>
                    <a:pt x="302" y="5780"/>
                    <a:pt x="307" y="5761"/>
                    <a:pt x="313" y="5742"/>
                  </a:cubicBezTo>
                  <a:cubicBezTo>
                    <a:pt x="390" y="5475"/>
                    <a:pt x="511" y="5184"/>
                    <a:pt x="671" y="4877"/>
                  </a:cubicBezTo>
                  <a:cubicBezTo>
                    <a:pt x="684" y="4852"/>
                    <a:pt x="698" y="4827"/>
                    <a:pt x="711" y="48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7" name="Freeform 9">
              <a:extLst>
                <a:ext uri="{FF2B5EF4-FFF2-40B4-BE49-F238E27FC236}">
                  <a16:creationId xmlns:a16="http://schemas.microsoft.com/office/drawing/2014/main" id="{6EC9FAE3-1492-416A-BCFC-66F77187622F}"/>
                </a:ext>
              </a:extLst>
            </p:cNvPr>
            <p:cNvSpPr>
              <a:spLocks/>
            </p:cNvSpPr>
            <p:nvPr/>
          </p:nvSpPr>
          <p:spPr bwMode="auto">
            <a:xfrm>
              <a:off x="4160964" y="945558"/>
              <a:ext cx="4516544" cy="4545190"/>
            </a:xfrm>
            <a:custGeom>
              <a:avLst/>
              <a:gdLst>
                <a:gd name="T0" fmla="*/ 6710 w 6796"/>
                <a:gd name="T1" fmla="*/ 461 h 6838"/>
                <a:gd name="T2" fmla="*/ 6619 w 6796"/>
                <a:gd name="T3" fmla="*/ 375 h 6838"/>
                <a:gd name="T4" fmla="*/ 6553 w 6796"/>
                <a:gd name="T5" fmla="*/ 312 h 6838"/>
                <a:gd name="T6" fmla="*/ 6484 w 6796"/>
                <a:gd name="T7" fmla="*/ 252 h 6838"/>
                <a:gd name="T8" fmla="*/ 6170 w 6796"/>
                <a:gd name="T9" fmla="*/ 1 h 6838"/>
                <a:gd name="T10" fmla="*/ 6125 w 6796"/>
                <a:gd name="T11" fmla="*/ 0 h 6838"/>
                <a:gd name="T12" fmla="*/ 5991 w 6796"/>
                <a:gd name="T13" fmla="*/ 6 h 6838"/>
                <a:gd name="T14" fmla="*/ 5933 w 6796"/>
                <a:gd name="T15" fmla="*/ 11 h 6838"/>
                <a:gd name="T16" fmla="*/ 5874 w 6796"/>
                <a:gd name="T17" fmla="*/ 18 h 6838"/>
                <a:gd name="T18" fmla="*/ 5184 w 6796"/>
                <a:gd name="T19" fmla="*/ 205 h 6838"/>
                <a:gd name="T20" fmla="*/ 5119 w 6796"/>
                <a:gd name="T21" fmla="*/ 231 h 6838"/>
                <a:gd name="T22" fmla="*/ 5050 w 6796"/>
                <a:gd name="T23" fmla="*/ 259 h 6838"/>
                <a:gd name="T24" fmla="*/ 3758 w 6796"/>
                <a:gd name="T25" fmla="*/ 987 h 6838"/>
                <a:gd name="T26" fmla="*/ 3625 w 6796"/>
                <a:gd name="T27" fmla="*/ 1081 h 6838"/>
                <a:gd name="T28" fmla="*/ 3479 w 6796"/>
                <a:gd name="T29" fmla="*/ 1189 h 6838"/>
                <a:gd name="T30" fmla="*/ 2254 w 6796"/>
                <a:gd name="T31" fmla="*/ 2254 h 6838"/>
                <a:gd name="T32" fmla="*/ 1188 w 6796"/>
                <a:gd name="T33" fmla="*/ 3479 h 6838"/>
                <a:gd name="T34" fmla="*/ 1081 w 6796"/>
                <a:gd name="T35" fmla="*/ 3626 h 6838"/>
                <a:gd name="T36" fmla="*/ 987 w 6796"/>
                <a:gd name="T37" fmla="*/ 3758 h 6838"/>
                <a:gd name="T38" fmla="*/ 259 w 6796"/>
                <a:gd name="T39" fmla="*/ 5050 h 6838"/>
                <a:gd name="T40" fmla="*/ 231 w 6796"/>
                <a:gd name="T41" fmla="*/ 5119 h 6838"/>
                <a:gd name="T42" fmla="*/ 205 w 6796"/>
                <a:gd name="T43" fmla="*/ 5184 h 6838"/>
                <a:gd name="T44" fmla="*/ 18 w 6796"/>
                <a:gd name="T45" fmla="*/ 5874 h 6838"/>
                <a:gd name="T46" fmla="*/ 11 w 6796"/>
                <a:gd name="T47" fmla="*/ 5933 h 6838"/>
                <a:gd name="T48" fmla="*/ 6 w 6796"/>
                <a:gd name="T49" fmla="*/ 5991 h 6838"/>
                <a:gd name="T50" fmla="*/ 0 w 6796"/>
                <a:gd name="T51" fmla="*/ 6125 h 6838"/>
                <a:gd name="T52" fmla="*/ 3 w 6796"/>
                <a:gd name="T53" fmla="*/ 6220 h 6838"/>
                <a:gd name="T54" fmla="*/ 208 w 6796"/>
                <a:gd name="T55" fmla="*/ 6475 h 6838"/>
                <a:gd name="T56" fmla="*/ 270 w 6796"/>
                <a:gd name="T57" fmla="*/ 6547 h 6838"/>
                <a:gd name="T58" fmla="*/ 332 w 6796"/>
                <a:gd name="T59" fmla="*/ 6615 h 6838"/>
                <a:gd name="T60" fmla="*/ 442 w 6796"/>
                <a:gd name="T61" fmla="*/ 6729 h 6838"/>
                <a:gd name="T62" fmla="*/ 556 w 6796"/>
                <a:gd name="T63" fmla="*/ 6838 h 6838"/>
                <a:gd name="T64" fmla="*/ 548 w 6796"/>
                <a:gd name="T65" fmla="*/ 6702 h 6838"/>
                <a:gd name="T66" fmla="*/ 551 w 6796"/>
                <a:gd name="T67" fmla="*/ 6619 h 6838"/>
                <a:gd name="T68" fmla="*/ 556 w 6796"/>
                <a:gd name="T69" fmla="*/ 6560 h 6838"/>
                <a:gd name="T70" fmla="*/ 561 w 6796"/>
                <a:gd name="T71" fmla="*/ 6501 h 6838"/>
                <a:gd name="T72" fmla="*/ 700 w 6796"/>
                <a:gd name="T73" fmla="*/ 5918 h 6838"/>
                <a:gd name="T74" fmla="*/ 724 w 6796"/>
                <a:gd name="T75" fmla="*/ 5852 h 6838"/>
                <a:gd name="T76" fmla="*/ 750 w 6796"/>
                <a:gd name="T77" fmla="*/ 5782 h 6838"/>
                <a:gd name="T78" fmla="*/ 1285 w 6796"/>
                <a:gd name="T79" fmla="*/ 4735 h 6838"/>
                <a:gd name="T80" fmla="*/ 1353 w 6796"/>
                <a:gd name="T81" fmla="*/ 4628 h 6838"/>
                <a:gd name="T82" fmla="*/ 1430 w 6796"/>
                <a:gd name="T83" fmla="*/ 4511 h 6838"/>
                <a:gd name="T84" fmla="*/ 2828 w 6796"/>
                <a:gd name="T85" fmla="*/ 2828 h 6838"/>
                <a:gd name="T86" fmla="*/ 4511 w 6796"/>
                <a:gd name="T87" fmla="*/ 1430 h 6838"/>
                <a:gd name="T88" fmla="*/ 4627 w 6796"/>
                <a:gd name="T89" fmla="*/ 1354 h 6838"/>
                <a:gd name="T90" fmla="*/ 4735 w 6796"/>
                <a:gd name="T91" fmla="*/ 1285 h 6838"/>
                <a:gd name="T92" fmla="*/ 5781 w 6796"/>
                <a:gd name="T93" fmla="*/ 750 h 6838"/>
                <a:gd name="T94" fmla="*/ 5851 w 6796"/>
                <a:gd name="T95" fmla="*/ 724 h 6838"/>
                <a:gd name="T96" fmla="*/ 5918 w 6796"/>
                <a:gd name="T97" fmla="*/ 700 h 6838"/>
                <a:gd name="T98" fmla="*/ 6501 w 6796"/>
                <a:gd name="T99" fmla="*/ 561 h 6838"/>
                <a:gd name="T100" fmla="*/ 6560 w 6796"/>
                <a:gd name="T101" fmla="*/ 556 h 6838"/>
                <a:gd name="T102" fmla="*/ 6620 w 6796"/>
                <a:gd name="T103" fmla="*/ 551 h 6838"/>
                <a:gd name="T104" fmla="*/ 6702 w 6796"/>
                <a:gd name="T105" fmla="*/ 548 h 6838"/>
                <a:gd name="T106" fmla="*/ 6796 w 6796"/>
                <a:gd name="T107" fmla="*/ 552 h 6838"/>
                <a:gd name="T108" fmla="*/ 6710 w 6796"/>
                <a:gd name="T109" fmla="*/ 461 h 6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796" h="6838">
                  <a:moveTo>
                    <a:pt x="6710" y="461"/>
                  </a:moveTo>
                  <a:cubicBezTo>
                    <a:pt x="6680" y="431"/>
                    <a:pt x="6649" y="403"/>
                    <a:pt x="6619" y="375"/>
                  </a:cubicBezTo>
                  <a:cubicBezTo>
                    <a:pt x="6597" y="354"/>
                    <a:pt x="6575" y="332"/>
                    <a:pt x="6553" y="312"/>
                  </a:cubicBezTo>
                  <a:cubicBezTo>
                    <a:pt x="6530" y="291"/>
                    <a:pt x="6507" y="272"/>
                    <a:pt x="6484" y="252"/>
                  </a:cubicBezTo>
                  <a:cubicBezTo>
                    <a:pt x="6382" y="163"/>
                    <a:pt x="6278" y="79"/>
                    <a:pt x="6170" y="1"/>
                  </a:cubicBezTo>
                  <a:cubicBezTo>
                    <a:pt x="6155" y="1"/>
                    <a:pt x="6140" y="0"/>
                    <a:pt x="6125" y="0"/>
                  </a:cubicBezTo>
                  <a:cubicBezTo>
                    <a:pt x="6082" y="0"/>
                    <a:pt x="6037" y="2"/>
                    <a:pt x="5991" y="6"/>
                  </a:cubicBezTo>
                  <a:cubicBezTo>
                    <a:pt x="5972" y="7"/>
                    <a:pt x="5953" y="9"/>
                    <a:pt x="5933" y="11"/>
                  </a:cubicBezTo>
                  <a:cubicBezTo>
                    <a:pt x="5914" y="13"/>
                    <a:pt x="5894" y="15"/>
                    <a:pt x="5874" y="18"/>
                  </a:cubicBezTo>
                  <a:cubicBezTo>
                    <a:pt x="5664" y="47"/>
                    <a:pt x="5432" y="110"/>
                    <a:pt x="5184" y="205"/>
                  </a:cubicBezTo>
                  <a:cubicBezTo>
                    <a:pt x="5162" y="214"/>
                    <a:pt x="5141" y="222"/>
                    <a:pt x="5119" y="231"/>
                  </a:cubicBezTo>
                  <a:cubicBezTo>
                    <a:pt x="5096" y="240"/>
                    <a:pt x="5073" y="249"/>
                    <a:pt x="5050" y="259"/>
                  </a:cubicBezTo>
                  <a:cubicBezTo>
                    <a:pt x="4649" y="427"/>
                    <a:pt x="4210" y="673"/>
                    <a:pt x="3758" y="987"/>
                  </a:cubicBezTo>
                  <a:cubicBezTo>
                    <a:pt x="3714" y="1018"/>
                    <a:pt x="3670" y="1049"/>
                    <a:pt x="3625" y="1081"/>
                  </a:cubicBezTo>
                  <a:cubicBezTo>
                    <a:pt x="3576" y="1116"/>
                    <a:pt x="3528" y="1152"/>
                    <a:pt x="3479" y="1189"/>
                  </a:cubicBezTo>
                  <a:cubicBezTo>
                    <a:pt x="3071" y="1494"/>
                    <a:pt x="2657" y="1851"/>
                    <a:pt x="2254" y="2254"/>
                  </a:cubicBezTo>
                  <a:cubicBezTo>
                    <a:pt x="1851" y="2657"/>
                    <a:pt x="1494" y="3071"/>
                    <a:pt x="1188" y="3479"/>
                  </a:cubicBezTo>
                  <a:cubicBezTo>
                    <a:pt x="1151" y="3528"/>
                    <a:pt x="1116" y="3577"/>
                    <a:pt x="1081" y="3626"/>
                  </a:cubicBezTo>
                  <a:cubicBezTo>
                    <a:pt x="1049" y="3670"/>
                    <a:pt x="1017" y="3714"/>
                    <a:pt x="987" y="3758"/>
                  </a:cubicBezTo>
                  <a:cubicBezTo>
                    <a:pt x="673" y="4210"/>
                    <a:pt x="427" y="4649"/>
                    <a:pt x="259" y="5050"/>
                  </a:cubicBezTo>
                  <a:cubicBezTo>
                    <a:pt x="249" y="5073"/>
                    <a:pt x="240" y="5096"/>
                    <a:pt x="231" y="5119"/>
                  </a:cubicBezTo>
                  <a:cubicBezTo>
                    <a:pt x="222" y="5141"/>
                    <a:pt x="214" y="5162"/>
                    <a:pt x="205" y="5184"/>
                  </a:cubicBezTo>
                  <a:cubicBezTo>
                    <a:pt x="110" y="5432"/>
                    <a:pt x="47" y="5665"/>
                    <a:pt x="18" y="5874"/>
                  </a:cubicBezTo>
                  <a:cubicBezTo>
                    <a:pt x="15" y="5894"/>
                    <a:pt x="13" y="5914"/>
                    <a:pt x="11" y="5933"/>
                  </a:cubicBezTo>
                  <a:cubicBezTo>
                    <a:pt x="8" y="5953"/>
                    <a:pt x="7" y="5972"/>
                    <a:pt x="6" y="5991"/>
                  </a:cubicBezTo>
                  <a:cubicBezTo>
                    <a:pt x="2" y="6037"/>
                    <a:pt x="0" y="6082"/>
                    <a:pt x="0" y="6125"/>
                  </a:cubicBezTo>
                  <a:cubicBezTo>
                    <a:pt x="0" y="6157"/>
                    <a:pt x="1" y="6189"/>
                    <a:pt x="3" y="6220"/>
                  </a:cubicBezTo>
                  <a:cubicBezTo>
                    <a:pt x="67" y="6307"/>
                    <a:pt x="136" y="6392"/>
                    <a:pt x="208" y="6475"/>
                  </a:cubicBezTo>
                  <a:cubicBezTo>
                    <a:pt x="228" y="6499"/>
                    <a:pt x="249" y="6524"/>
                    <a:pt x="270" y="6547"/>
                  </a:cubicBezTo>
                  <a:cubicBezTo>
                    <a:pt x="290" y="6570"/>
                    <a:pt x="312" y="6592"/>
                    <a:pt x="332" y="6615"/>
                  </a:cubicBezTo>
                  <a:cubicBezTo>
                    <a:pt x="368" y="6653"/>
                    <a:pt x="404" y="6692"/>
                    <a:pt x="442" y="6729"/>
                  </a:cubicBezTo>
                  <a:cubicBezTo>
                    <a:pt x="479" y="6767"/>
                    <a:pt x="517" y="6802"/>
                    <a:pt x="556" y="6838"/>
                  </a:cubicBezTo>
                  <a:cubicBezTo>
                    <a:pt x="551" y="6794"/>
                    <a:pt x="548" y="6749"/>
                    <a:pt x="548" y="6702"/>
                  </a:cubicBezTo>
                  <a:cubicBezTo>
                    <a:pt x="548" y="6675"/>
                    <a:pt x="550" y="6647"/>
                    <a:pt x="551" y="6619"/>
                  </a:cubicBezTo>
                  <a:cubicBezTo>
                    <a:pt x="552" y="6600"/>
                    <a:pt x="554" y="6580"/>
                    <a:pt x="556" y="6560"/>
                  </a:cubicBezTo>
                  <a:cubicBezTo>
                    <a:pt x="557" y="6541"/>
                    <a:pt x="559" y="6521"/>
                    <a:pt x="561" y="6501"/>
                  </a:cubicBezTo>
                  <a:cubicBezTo>
                    <a:pt x="582" y="6322"/>
                    <a:pt x="629" y="6126"/>
                    <a:pt x="700" y="5918"/>
                  </a:cubicBezTo>
                  <a:cubicBezTo>
                    <a:pt x="708" y="5896"/>
                    <a:pt x="716" y="5874"/>
                    <a:pt x="724" y="5852"/>
                  </a:cubicBezTo>
                  <a:cubicBezTo>
                    <a:pt x="733" y="5828"/>
                    <a:pt x="741" y="5805"/>
                    <a:pt x="750" y="5782"/>
                  </a:cubicBezTo>
                  <a:cubicBezTo>
                    <a:pt x="875" y="5455"/>
                    <a:pt x="1056" y="5102"/>
                    <a:pt x="1285" y="4735"/>
                  </a:cubicBezTo>
                  <a:cubicBezTo>
                    <a:pt x="1308" y="4699"/>
                    <a:pt x="1330" y="4664"/>
                    <a:pt x="1353" y="4628"/>
                  </a:cubicBezTo>
                  <a:cubicBezTo>
                    <a:pt x="1378" y="4589"/>
                    <a:pt x="1404" y="4550"/>
                    <a:pt x="1430" y="4511"/>
                  </a:cubicBezTo>
                  <a:cubicBezTo>
                    <a:pt x="1799" y="3961"/>
                    <a:pt x="2271" y="3385"/>
                    <a:pt x="2828" y="2828"/>
                  </a:cubicBezTo>
                  <a:cubicBezTo>
                    <a:pt x="3385" y="2271"/>
                    <a:pt x="3960" y="1799"/>
                    <a:pt x="4511" y="1430"/>
                  </a:cubicBezTo>
                  <a:cubicBezTo>
                    <a:pt x="4550" y="1404"/>
                    <a:pt x="4589" y="1379"/>
                    <a:pt x="4627" y="1354"/>
                  </a:cubicBezTo>
                  <a:cubicBezTo>
                    <a:pt x="4663" y="1330"/>
                    <a:pt x="4699" y="1308"/>
                    <a:pt x="4735" y="1285"/>
                  </a:cubicBezTo>
                  <a:cubicBezTo>
                    <a:pt x="5102" y="1056"/>
                    <a:pt x="5455" y="875"/>
                    <a:pt x="5781" y="750"/>
                  </a:cubicBezTo>
                  <a:cubicBezTo>
                    <a:pt x="5805" y="741"/>
                    <a:pt x="5828" y="733"/>
                    <a:pt x="5851" y="724"/>
                  </a:cubicBezTo>
                  <a:cubicBezTo>
                    <a:pt x="5874" y="716"/>
                    <a:pt x="5896" y="708"/>
                    <a:pt x="5918" y="700"/>
                  </a:cubicBezTo>
                  <a:cubicBezTo>
                    <a:pt x="6126" y="629"/>
                    <a:pt x="6322" y="582"/>
                    <a:pt x="6501" y="561"/>
                  </a:cubicBezTo>
                  <a:cubicBezTo>
                    <a:pt x="6521" y="559"/>
                    <a:pt x="6541" y="557"/>
                    <a:pt x="6560" y="556"/>
                  </a:cubicBezTo>
                  <a:cubicBezTo>
                    <a:pt x="6580" y="554"/>
                    <a:pt x="6600" y="552"/>
                    <a:pt x="6620" y="551"/>
                  </a:cubicBezTo>
                  <a:cubicBezTo>
                    <a:pt x="6647" y="550"/>
                    <a:pt x="6675" y="549"/>
                    <a:pt x="6702" y="548"/>
                  </a:cubicBezTo>
                  <a:cubicBezTo>
                    <a:pt x="6734" y="548"/>
                    <a:pt x="6765" y="550"/>
                    <a:pt x="6796" y="552"/>
                  </a:cubicBezTo>
                  <a:cubicBezTo>
                    <a:pt x="6767" y="521"/>
                    <a:pt x="6739" y="491"/>
                    <a:pt x="6710" y="4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8" name="Freeform 10">
              <a:extLst>
                <a:ext uri="{FF2B5EF4-FFF2-40B4-BE49-F238E27FC236}">
                  <a16:creationId xmlns:a16="http://schemas.microsoft.com/office/drawing/2014/main" id="{54CE5925-9480-4C02-A7F9-3B31E37C904C}"/>
                </a:ext>
              </a:extLst>
            </p:cNvPr>
            <p:cNvSpPr>
              <a:spLocks/>
            </p:cNvSpPr>
            <p:nvPr/>
          </p:nvSpPr>
          <p:spPr bwMode="auto">
            <a:xfrm>
              <a:off x="3956348" y="740943"/>
              <a:ext cx="4194616" cy="4225990"/>
            </a:xfrm>
            <a:custGeom>
              <a:avLst/>
              <a:gdLst>
                <a:gd name="T0" fmla="*/ 1126 w 6312"/>
                <a:gd name="T1" fmla="*/ 4101 h 6355"/>
                <a:gd name="T2" fmla="*/ 1212 w 6312"/>
                <a:gd name="T3" fmla="*/ 3976 h 6355"/>
                <a:gd name="T4" fmla="*/ 2479 w 6312"/>
                <a:gd name="T5" fmla="*/ 2477 h 6355"/>
                <a:gd name="T6" fmla="*/ 3978 w 6312"/>
                <a:gd name="T7" fmla="*/ 1210 h 6355"/>
                <a:gd name="T8" fmla="*/ 4103 w 6312"/>
                <a:gd name="T9" fmla="*/ 1124 h 6355"/>
                <a:gd name="T10" fmla="*/ 4216 w 6312"/>
                <a:gd name="T11" fmla="*/ 1049 h 6355"/>
                <a:gd name="T12" fmla="*/ 5392 w 6312"/>
                <a:gd name="T13" fmla="*/ 423 h 6355"/>
                <a:gd name="T14" fmla="*/ 5456 w 6312"/>
                <a:gd name="T15" fmla="*/ 399 h 6355"/>
                <a:gd name="T16" fmla="*/ 5518 w 6312"/>
                <a:gd name="T17" fmla="*/ 376 h 6355"/>
                <a:gd name="T18" fmla="*/ 6164 w 6312"/>
                <a:gd name="T19" fmla="*/ 208 h 6355"/>
                <a:gd name="T20" fmla="*/ 6222 w 6312"/>
                <a:gd name="T21" fmla="*/ 201 h 6355"/>
                <a:gd name="T22" fmla="*/ 6281 w 6312"/>
                <a:gd name="T23" fmla="*/ 195 h 6355"/>
                <a:gd name="T24" fmla="*/ 6312 w 6312"/>
                <a:gd name="T25" fmla="*/ 193 h 6355"/>
                <a:gd name="T26" fmla="*/ 6276 w 6312"/>
                <a:gd name="T27" fmla="*/ 170 h 6355"/>
                <a:gd name="T28" fmla="*/ 6203 w 6312"/>
                <a:gd name="T29" fmla="*/ 124 h 6355"/>
                <a:gd name="T30" fmla="*/ 6122 w 6312"/>
                <a:gd name="T31" fmla="*/ 74 h 6355"/>
                <a:gd name="T32" fmla="*/ 5988 w 6312"/>
                <a:gd name="T33" fmla="*/ 0 h 6355"/>
                <a:gd name="T34" fmla="*/ 5542 w 6312"/>
                <a:gd name="T35" fmla="*/ 68 h 6355"/>
                <a:gd name="T36" fmla="*/ 5484 w 6312"/>
                <a:gd name="T37" fmla="*/ 83 h 6355"/>
                <a:gd name="T38" fmla="*/ 5425 w 6312"/>
                <a:gd name="T39" fmla="*/ 101 h 6355"/>
                <a:gd name="T40" fmla="*/ 4488 w 6312"/>
                <a:gd name="T41" fmla="*/ 508 h 6355"/>
                <a:gd name="T42" fmla="*/ 4405 w 6312"/>
                <a:gd name="T43" fmla="*/ 555 h 6355"/>
                <a:gd name="T44" fmla="*/ 4316 w 6312"/>
                <a:gd name="T45" fmla="*/ 606 h 6355"/>
                <a:gd name="T46" fmla="*/ 2245 w 6312"/>
                <a:gd name="T47" fmla="*/ 2243 h 6355"/>
                <a:gd name="T48" fmla="*/ 608 w 6312"/>
                <a:gd name="T49" fmla="*/ 4314 h 6355"/>
                <a:gd name="T50" fmla="*/ 557 w 6312"/>
                <a:gd name="T51" fmla="*/ 4404 h 6355"/>
                <a:gd name="T52" fmla="*/ 510 w 6312"/>
                <a:gd name="T53" fmla="*/ 4486 h 6355"/>
                <a:gd name="T54" fmla="*/ 103 w 6312"/>
                <a:gd name="T55" fmla="*/ 5423 h 6355"/>
                <a:gd name="T56" fmla="*/ 85 w 6312"/>
                <a:gd name="T57" fmla="*/ 5482 h 6355"/>
                <a:gd name="T58" fmla="*/ 70 w 6312"/>
                <a:gd name="T59" fmla="*/ 5540 h 6355"/>
                <a:gd name="T60" fmla="*/ 1 w 6312"/>
                <a:gd name="T61" fmla="*/ 6034 h 6355"/>
                <a:gd name="T62" fmla="*/ 1 w 6312"/>
                <a:gd name="T63" fmla="*/ 6039 h 6355"/>
                <a:gd name="T64" fmla="*/ 36 w 6312"/>
                <a:gd name="T65" fmla="*/ 6102 h 6355"/>
                <a:gd name="T66" fmla="*/ 85 w 6312"/>
                <a:gd name="T67" fmla="*/ 6186 h 6355"/>
                <a:gd name="T68" fmla="*/ 134 w 6312"/>
                <a:gd name="T69" fmla="*/ 6264 h 6355"/>
                <a:gd name="T70" fmla="*/ 192 w 6312"/>
                <a:gd name="T71" fmla="*/ 6355 h 6355"/>
                <a:gd name="T72" fmla="*/ 197 w 6312"/>
                <a:gd name="T73" fmla="*/ 6279 h 6355"/>
                <a:gd name="T74" fmla="*/ 203 w 6312"/>
                <a:gd name="T75" fmla="*/ 6220 h 6355"/>
                <a:gd name="T76" fmla="*/ 210 w 6312"/>
                <a:gd name="T77" fmla="*/ 6162 h 6355"/>
                <a:gd name="T78" fmla="*/ 378 w 6312"/>
                <a:gd name="T79" fmla="*/ 5516 h 6355"/>
                <a:gd name="T80" fmla="*/ 400 w 6312"/>
                <a:gd name="T81" fmla="*/ 5454 h 6355"/>
                <a:gd name="T82" fmla="*/ 425 w 6312"/>
                <a:gd name="T83" fmla="*/ 5390 h 6355"/>
                <a:gd name="T84" fmla="*/ 1050 w 6312"/>
                <a:gd name="T85" fmla="*/ 4214 h 6355"/>
                <a:gd name="T86" fmla="*/ 1126 w 6312"/>
                <a:gd name="T87" fmla="*/ 4101 h 6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2" h="6355">
                  <a:moveTo>
                    <a:pt x="1126" y="4101"/>
                  </a:moveTo>
                  <a:cubicBezTo>
                    <a:pt x="1154" y="4060"/>
                    <a:pt x="1183" y="4018"/>
                    <a:pt x="1212" y="3976"/>
                  </a:cubicBezTo>
                  <a:cubicBezTo>
                    <a:pt x="1559" y="3480"/>
                    <a:pt x="1986" y="2971"/>
                    <a:pt x="2479" y="2477"/>
                  </a:cubicBezTo>
                  <a:cubicBezTo>
                    <a:pt x="2973" y="1984"/>
                    <a:pt x="3482" y="1557"/>
                    <a:pt x="3978" y="1210"/>
                  </a:cubicBezTo>
                  <a:cubicBezTo>
                    <a:pt x="4020" y="1181"/>
                    <a:pt x="4061" y="1152"/>
                    <a:pt x="4103" y="1124"/>
                  </a:cubicBezTo>
                  <a:cubicBezTo>
                    <a:pt x="4141" y="1098"/>
                    <a:pt x="4179" y="1073"/>
                    <a:pt x="4216" y="1049"/>
                  </a:cubicBezTo>
                  <a:cubicBezTo>
                    <a:pt x="4626" y="780"/>
                    <a:pt x="5024" y="569"/>
                    <a:pt x="5392" y="423"/>
                  </a:cubicBezTo>
                  <a:cubicBezTo>
                    <a:pt x="5414" y="415"/>
                    <a:pt x="5435" y="407"/>
                    <a:pt x="5456" y="399"/>
                  </a:cubicBezTo>
                  <a:cubicBezTo>
                    <a:pt x="5477" y="391"/>
                    <a:pt x="5498" y="383"/>
                    <a:pt x="5518" y="376"/>
                  </a:cubicBezTo>
                  <a:cubicBezTo>
                    <a:pt x="5747" y="293"/>
                    <a:pt x="5964" y="236"/>
                    <a:pt x="6164" y="208"/>
                  </a:cubicBezTo>
                  <a:cubicBezTo>
                    <a:pt x="6183" y="206"/>
                    <a:pt x="6203" y="203"/>
                    <a:pt x="6222" y="201"/>
                  </a:cubicBezTo>
                  <a:cubicBezTo>
                    <a:pt x="6242" y="199"/>
                    <a:pt x="6262" y="197"/>
                    <a:pt x="6281" y="195"/>
                  </a:cubicBezTo>
                  <a:cubicBezTo>
                    <a:pt x="6292" y="194"/>
                    <a:pt x="6302" y="193"/>
                    <a:pt x="6312" y="193"/>
                  </a:cubicBezTo>
                  <a:cubicBezTo>
                    <a:pt x="6300" y="185"/>
                    <a:pt x="6288" y="178"/>
                    <a:pt x="6276" y="170"/>
                  </a:cubicBezTo>
                  <a:cubicBezTo>
                    <a:pt x="6252" y="155"/>
                    <a:pt x="6228" y="139"/>
                    <a:pt x="6203" y="124"/>
                  </a:cubicBezTo>
                  <a:cubicBezTo>
                    <a:pt x="6176" y="108"/>
                    <a:pt x="6149" y="90"/>
                    <a:pt x="6122" y="74"/>
                  </a:cubicBezTo>
                  <a:cubicBezTo>
                    <a:pt x="6077" y="49"/>
                    <a:pt x="6032" y="24"/>
                    <a:pt x="5988" y="0"/>
                  </a:cubicBezTo>
                  <a:cubicBezTo>
                    <a:pt x="5852" y="4"/>
                    <a:pt x="5703" y="27"/>
                    <a:pt x="5542" y="68"/>
                  </a:cubicBezTo>
                  <a:cubicBezTo>
                    <a:pt x="5523" y="73"/>
                    <a:pt x="5503" y="78"/>
                    <a:pt x="5484" y="83"/>
                  </a:cubicBezTo>
                  <a:cubicBezTo>
                    <a:pt x="5464" y="89"/>
                    <a:pt x="5445" y="95"/>
                    <a:pt x="5425" y="101"/>
                  </a:cubicBezTo>
                  <a:cubicBezTo>
                    <a:pt x="5140" y="186"/>
                    <a:pt x="4823" y="324"/>
                    <a:pt x="4488" y="508"/>
                  </a:cubicBezTo>
                  <a:cubicBezTo>
                    <a:pt x="4461" y="523"/>
                    <a:pt x="4433" y="539"/>
                    <a:pt x="4405" y="555"/>
                  </a:cubicBezTo>
                  <a:cubicBezTo>
                    <a:pt x="4376" y="572"/>
                    <a:pt x="4346" y="588"/>
                    <a:pt x="4316" y="606"/>
                  </a:cubicBezTo>
                  <a:cubicBezTo>
                    <a:pt x="3656" y="993"/>
                    <a:pt x="2935" y="1552"/>
                    <a:pt x="2245" y="2243"/>
                  </a:cubicBezTo>
                  <a:cubicBezTo>
                    <a:pt x="1554" y="2933"/>
                    <a:pt x="995" y="3654"/>
                    <a:pt x="608" y="4314"/>
                  </a:cubicBezTo>
                  <a:cubicBezTo>
                    <a:pt x="590" y="4344"/>
                    <a:pt x="573" y="4374"/>
                    <a:pt x="557" y="4404"/>
                  </a:cubicBezTo>
                  <a:cubicBezTo>
                    <a:pt x="541" y="4431"/>
                    <a:pt x="525" y="4459"/>
                    <a:pt x="510" y="4486"/>
                  </a:cubicBezTo>
                  <a:cubicBezTo>
                    <a:pt x="326" y="4822"/>
                    <a:pt x="188" y="5138"/>
                    <a:pt x="103" y="5423"/>
                  </a:cubicBezTo>
                  <a:cubicBezTo>
                    <a:pt x="97" y="5443"/>
                    <a:pt x="91" y="5462"/>
                    <a:pt x="85" y="5482"/>
                  </a:cubicBezTo>
                  <a:cubicBezTo>
                    <a:pt x="80" y="5501"/>
                    <a:pt x="75" y="5521"/>
                    <a:pt x="70" y="5540"/>
                  </a:cubicBezTo>
                  <a:cubicBezTo>
                    <a:pt x="24" y="5720"/>
                    <a:pt x="0" y="5886"/>
                    <a:pt x="1" y="6034"/>
                  </a:cubicBezTo>
                  <a:cubicBezTo>
                    <a:pt x="1" y="6035"/>
                    <a:pt x="1" y="6037"/>
                    <a:pt x="1" y="6039"/>
                  </a:cubicBezTo>
                  <a:cubicBezTo>
                    <a:pt x="12" y="6060"/>
                    <a:pt x="24" y="6081"/>
                    <a:pt x="36" y="6102"/>
                  </a:cubicBezTo>
                  <a:cubicBezTo>
                    <a:pt x="52" y="6130"/>
                    <a:pt x="68" y="6158"/>
                    <a:pt x="85" y="6186"/>
                  </a:cubicBezTo>
                  <a:cubicBezTo>
                    <a:pt x="101" y="6212"/>
                    <a:pt x="117" y="6238"/>
                    <a:pt x="134" y="6264"/>
                  </a:cubicBezTo>
                  <a:cubicBezTo>
                    <a:pt x="153" y="6294"/>
                    <a:pt x="172" y="6325"/>
                    <a:pt x="192" y="6355"/>
                  </a:cubicBezTo>
                  <a:cubicBezTo>
                    <a:pt x="193" y="6330"/>
                    <a:pt x="195" y="6305"/>
                    <a:pt x="197" y="6279"/>
                  </a:cubicBezTo>
                  <a:cubicBezTo>
                    <a:pt x="199" y="6260"/>
                    <a:pt x="201" y="6240"/>
                    <a:pt x="203" y="6220"/>
                  </a:cubicBezTo>
                  <a:cubicBezTo>
                    <a:pt x="205" y="6201"/>
                    <a:pt x="208" y="6181"/>
                    <a:pt x="210" y="6162"/>
                  </a:cubicBezTo>
                  <a:cubicBezTo>
                    <a:pt x="238" y="5962"/>
                    <a:pt x="295" y="5745"/>
                    <a:pt x="378" y="5516"/>
                  </a:cubicBezTo>
                  <a:cubicBezTo>
                    <a:pt x="385" y="5496"/>
                    <a:pt x="392" y="5475"/>
                    <a:pt x="400" y="5454"/>
                  </a:cubicBezTo>
                  <a:cubicBezTo>
                    <a:pt x="408" y="5433"/>
                    <a:pt x="417" y="5412"/>
                    <a:pt x="425" y="5390"/>
                  </a:cubicBezTo>
                  <a:cubicBezTo>
                    <a:pt x="571" y="5022"/>
                    <a:pt x="782" y="4624"/>
                    <a:pt x="1050" y="4214"/>
                  </a:cubicBezTo>
                  <a:cubicBezTo>
                    <a:pt x="1075" y="4177"/>
                    <a:pt x="1100" y="4139"/>
                    <a:pt x="1126" y="410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9" name="Freeform 11">
              <a:extLst>
                <a:ext uri="{FF2B5EF4-FFF2-40B4-BE49-F238E27FC236}">
                  <a16:creationId xmlns:a16="http://schemas.microsoft.com/office/drawing/2014/main" id="{9BF6A145-B04A-4D96-B42A-F9F9564194A0}"/>
                </a:ext>
              </a:extLst>
            </p:cNvPr>
            <p:cNvSpPr>
              <a:spLocks/>
            </p:cNvSpPr>
            <p:nvPr/>
          </p:nvSpPr>
          <p:spPr bwMode="auto">
            <a:xfrm>
              <a:off x="4604297" y="1387527"/>
              <a:ext cx="4412873" cy="4441519"/>
            </a:xfrm>
            <a:custGeom>
              <a:avLst/>
              <a:gdLst>
                <a:gd name="T0" fmla="*/ 4682 w 6640"/>
                <a:gd name="T1" fmla="*/ 1069 h 6679"/>
                <a:gd name="T2" fmla="*/ 4782 w 6640"/>
                <a:gd name="T3" fmla="*/ 1013 h 6679"/>
                <a:gd name="T4" fmla="*/ 4876 w 6640"/>
                <a:gd name="T5" fmla="*/ 962 h 6679"/>
                <a:gd name="T6" fmla="*/ 5665 w 6640"/>
                <a:gd name="T7" fmla="*/ 626 h 6679"/>
                <a:gd name="T8" fmla="*/ 5735 w 6640"/>
                <a:gd name="T9" fmla="*/ 605 h 6679"/>
                <a:gd name="T10" fmla="*/ 5804 w 6640"/>
                <a:gd name="T11" fmla="*/ 586 h 6679"/>
                <a:gd name="T12" fmla="*/ 6300 w 6640"/>
                <a:gd name="T13" fmla="*/ 507 h 6679"/>
                <a:gd name="T14" fmla="*/ 6355 w 6640"/>
                <a:gd name="T15" fmla="*/ 505 h 6679"/>
                <a:gd name="T16" fmla="*/ 6360 w 6640"/>
                <a:gd name="T17" fmla="*/ 505 h 6679"/>
                <a:gd name="T18" fmla="*/ 6419 w 6640"/>
                <a:gd name="T19" fmla="*/ 507 h 6679"/>
                <a:gd name="T20" fmla="*/ 6640 w 6640"/>
                <a:gd name="T21" fmla="*/ 536 h 6679"/>
                <a:gd name="T22" fmla="*/ 6443 w 6640"/>
                <a:gd name="T23" fmla="*/ 254 h 6679"/>
                <a:gd name="T24" fmla="*/ 6385 w 6640"/>
                <a:gd name="T25" fmla="*/ 179 h 6679"/>
                <a:gd name="T26" fmla="*/ 6323 w 6640"/>
                <a:gd name="T27" fmla="*/ 102 h 6679"/>
                <a:gd name="T28" fmla="*/ 6253 w 6640"/>
                <a:gd name="T29" fmla="*/ 21 h 6679"/>
                <a:gd name="T30" fmla="*/ 6036 w 6640"/>
                <a:gd name="T31" fmla="*/ 1 h 6679"/>
                <a:gd name="T32" fmla="*/ 5943 w 6640"/>
                <a:gd name="T33" fmla="*/ 3 h 6679"/>
                <a:gd name="T34" fmla="*/ 5884 w 6640"/>
                <a:gd name="T35" fmla="*/ 8 h 6679"/>
                <a:gd name="T36" fmla="*/ 5824 w 6640"/>
                <a:gd name="T37" fmla="*/ 15 h 6679"/>
                <a:gd name="T38" fmla="*/ 5212 w 6640"/>
                <a:gd name="T39" fmla="*/ 174 h 6679"/>
                <a:gd name="T40" fmla="*/ 5142 w 6640"/>
                <a:gd name="T41" fmla="*/ 200 h 6679"/>
                <a:gd name="T42" fmla="*/ 5070 w 6640"/>
                <a:gd name="T43" fmla="*/ 229 h 6679"/>
                <a:gd name="T44" fmla="*/ 3933 w 6640"/>
                <a:gd name="T45" fmla="*/ 848 h 6679"/>
                <a:gd name="T46" fmla="*/ 3812 w 6640"/>
                <a:gd name="T47" fmla="*/ 929 h 6679"/>
                <a:gd name="T48" fmla="*/ 3679 w 6640"/>
                <a:gd name="T49" fmla="*/ 1023 h 6679"/>
                <a:gd name="T50" fmla="*/ 2245 w 6640"/>
                <a:gd name="T51" fmla="*/ 2245 h 6679"/>
                <a:gd name="T52" fmla="*/ 1023 w 6640"/>
                <a:gd name="T53" fmla="*/ 3679 h 6679"/>
                <a:gd name="T54" fmla="*/ 929 w 6640"/>
                <a:gd name="T55" fmla="*/ 3812 h 6679"/>
                <a:gd name="T56" fmla="*/ 848 w 6640"/>
                <a:gd name="T57" fmla="*/ 3933 h 6679"/>
                <a:gd name="T58" fmla="*/ 229 w 6640"/>
                <a:gd name="T59" fmla="*/ 5070 h 6679"/>
                <a:gd name="T60" fmla="*/ 200 w 6640"/>
                <a:gd name="T61" fmla="*/ 5142 h 6679"/>
                <a:gd name="T62" fmla="*/ 174 w 6640"/>
                <a:gd name="T63" fmla="*/ 5212 h 6679"/>
                <a:gd name="T64" fmla="*/ 15 w 6640"/>
                <a:gd name="T65" fmla="*/ 5824 h 6679"/>
                <a:gd name="T66" fmla="*/ 8 w 6640"/>
                <a:gd name="T67" fmla="*/ 5884 h 6679"/>
                <a:gd name="T68" fmla="*/ 3 w 6640"/>
                <a:gd name="T69" fmla="*/ 5943 h 6679"/>
                <a:gd name="T70" fmla="*/ 1 w 6640"/>
                <a:gd name="T71" fmla="*/ 6036 h 6679"/>
                <a:gd name="T72" fmla="*/ 30 w 6640"/>
                <a:gd name="T73" fmla="*/ 6297 h 6679"/>
                <a:gd name="T74" fmla="*/ 54 w 6640"/>
                <a:gd name="T75" fmla="*/ 6318 h 6679"/>
                <a:gd name="T76" fmla="*/ 132 w 6640"/>
                <a:gd name="T77" fmla="*/ 6383 h 6679"/>
                <a:gd name="T78" fmla="*/ 211 w 6640"/>
                <a:gd name="T79" fmla="*/ 6444 h 6679"/>
                <a:gd name="T80" fmla="*/ 547 w 6640"/>
                <a:gd name="T81" fmla="*/ 6679 h 6679"/>
                <a:gd name="T82" fmla="*/ 507 w 6640"/>
                <a:gd name="T83" fmla="*/ 6419 h 6679"/>
                <a:gd name="T84" fmla="*/ 505 w 6640"/>
                <a:gd name="T85" fmla="*/ 6360 h 6679"/>
                <a:gd name="T86" fmla="*/ 505 w 6640"/>
                <a:gd name="T87" fmla="*/ 6356 h 6679"/>
                <a:gd name="T88" fmla="*/ 507 w 6640"/>
                <a:gd name="T89" fmla="*/ 6300 h 6679"/>
                <a:gd name="T90" fmla="*/ 586 w 6640"/>
                <a:gd name="T91" fmla="*/ 5804 h 6679"/>
                <a:gd name="T92" fmla="*/ 605 w 6640"/>
                <a:gd name="T93" fmla="*/ 5735 h 6679"/>
                <a:gd name="T94" fmla="*/ 626 w 6640"/>
                <a:gd name="T95" fmla="*/ 5665 h 6679"/>
                <a:gd name="T96" fmla="*/ 962 w 6640"/>
                <a:gd name="T97" fmla="*/ 4876 h 6679"/>
                <a:gd name="T98" fmla="*/ 1013 w 6640"/>
                <a:gd name="T99" fmla="*/ 4781 h 6679"/>
                <a:gd name="T100" fmla="*/ 1069 w 6640"/>
                <a:gd name="T101" fmla="*/ 4682 h 6679"/>
                <a:gd name="T102" fmla="*/ 2654 w 6640"/>
                <a:gd name="T103" fmla="*/ 2654 h 6679"/>
                <a:gd name="T104" fmla="*/ 4682 w 6640"/>
                <a:gd name="T105" fmla="*/ 1069 h 6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640" h="6679">
                  <a:moveTo>
                    <a:pt x="4682" y="1069"/>
                  </a:moveTo>
                  <a:cubicBezTo>
                    <a:pt x="4715" y="1050"/>
                    <a:pt x="4748" y="1031"/>
                    <a:pt x="4782" y="1013"/>
                  </a:cubicBezTo>
                  <a:cubicBezTo>
                    <a:pt x="4813" y="996"/>
                    <a:pt x="4845" y="979"/>
                    <a:pt x="4876" y="962"/>
                  </a:cubicBezTo>
                  <a:cubicBezTo>
                    <a:pt x="5153" y="816"/>
                    <a:pt x="5418" y="703"/>
                    <a:pt x="5665" y="626"/>
                  </a:cubicBezTo>
                  <a:cubicBezTo>
                    <a:pt x="5688" y="619"/>
                    <a:pt x="5712" y="612"/>
                    <a:pt x="5735" y="605"/>
                  </a:cubicBezTo>
                  <a:cubicBezTo>
                    <a:pt x="5758" y="599"/>
                    <a:pt x="5781" y="592"/>
                    <a:pt x="5804" y="586"/>
                  </a:cubicBezTo>
                  <a:cubicBezTo>
                    <a:pt x="5981" y="539"/>
                    <a:pt x="6147" y="513"/>
                    <a:pt x="6300" y="507"/>
                  </a:cubicBezTo>
                  <a:cubicBezTo>
                    <a:pt x="6318" y="506"/>
                    <a:pt x="6337" y="505"/>
                    <a:pt x="6355" y="505"/>
                  </a:cubicBezTo>
                  <a:cubicBezTo>
                    <a:pt x="6357" y="505"/>
                    <a:pt x="6358" y="505"/>
                    <a:pt x="6360" y="505"/>
                  </a:cubicBezTo>
                  <a:cubicBezTo>
                    <a:pt x="6380" y="505"/>
                    <a:pt x="6399" y="506"/>
                    <a:pt x="6419" y="507"/>
                  </a:cubicBezTo>
                  <a:cubicBezTo>
                    <a:pt x="6496" y="511"/>
                    <a:pt x="6571" y="520"/>
                    <a:pt x="6640" y="536"/>
                  </a:cubicBezTo>
                  <a:cubicBezTo>
                    <a:pt x="6579" y="440"/>
                    <a:pt x="6513" y="346"/>
                    <a:pt x="6443" y="254"/>
                  </a:cubicBezTo>
                  <a:cubicBezTo>
                    <a:pt x="6424" y="229"/>
                    <a:pt x="6404" y="204"/>
                    <a:pt x="6385" y="179"/>
                  </a:cubicBezTo>
                  <a:cubicBezTo>
                    <a:pt x="6364" y="153"/>
                    <a:pt x="6344" y="128"/>
                    <a:pt x="6323" y="102"/>
                  </a:cubicBezTo>
                  <a:cubicBezTo>
                    <a:pt x="6300" y="75"/>
                    <a:pt x="6276" y="48"/>
                    <a:pt x="6253" y="21"/>
                  </a:cubicBezTo>
                  <a:cubicBezTo>
                    <a:pt x="6186" y="8"/>
                    <a:pt x="6114" y="1"/>
                    <a:pt x="6036" y="1"/>
                  </a:cubicBezTo>
                  <a:cubicBezTo>
                    <a:pt x="6006" y="0"/>
                    <a:pt x="5975" y="2"/>
                    <a:pt x="5943" y="3"/>
                  </a:cubicBezTo>
                  <a:cubicBezTo>
                    <a:pt x="5924" y="4"/>
                    <a:pt x="5904" y="6"/>
                    <a:pt x="5884" y="8"/>
                  </a:cubicBezTo>
                  <a:cubicBezTo>
                    <a:pt x="5864" y="10"/>
                    <a:pt x="5844" y="13"/>
                    <a:pt x="5824" y="15"/>
                  </a:cubicBezTo>
                  <a:cubicBezTo>
                    <a:pt x="5639" y="39"/>
                    <a:pt x="5433" y="93"/>
                    <a:pt x="5212" y="174"/>
                  </a:cubicBezTo>
                  <a:cubicBezTo>
                    <a:pt x="5189" y="183"/>
                    <a:pt x="5166" y="191"/>
                    <a:pt x="5142" y="200"/>
                  </a:cubicBezTo>
                  <a:cubicBezTo>
                    <a:pt x="5118" y="210"/>
                    <a:pt x="5094" y="219"/>
                    <a:pt x="5070" y="229"/>
                  </a:cubicBezTo>
                  <a:cubicBezTo>
                    <a:pt x="4719" y="373"/>
                    <a:pt x="4334" y="582"/>
                    <a:pt x="3933" y="848"/>
                  </a:cubicBezTo>
                  <a:cubicBezTo>
                    <a:pt x="3893" y="874"/>
                    <a:pt x="3852" y="902"/>
                    <a:pt x="3812" y="929"/>
                  </a:cubicBezTo>
                  <a:cubicBezTo>
                    <a:pt x="3767" y="960"/>
                    <a:pt x="3723" y="991"/>
                    <a:pt x="3679" y="1023"/>
                  </a:cubicBezTo>
                  <a:cubicBezTo>
                    <a:pt x="3206" y="1360"/>
                    <a:pt x="2718" y="1771"/>
                    <a:pt x="2245" y="2245"/>
                  </a:cubicBezTo>
                  <a:cubicBezTo>
                    <a:pt x="1771" y="2718"/>
                    <a:pt x="1360" y="3206"/>
                    <a:pt x="1023" y="3679"/>
                  </a:cubicBezTo>
                  <a:cubicBezTo>
                    <a:pt x="991" y="3723"/>
                    <a:pt x="960" y="3768"/>
                    <a:pt x="929" y="3812"/>
                  </a:cubicBezTo>
                  <a:cubicBezTo>
                    <a:pt x="902" y="3852"/>
                    <a:pt x="874" y="3893"/>
                    <a:pt x="848" y="3933"/>
                  </a:cubicBezTo>
                  <a:cubicBezTo>
                    <a:pt x="582" y="4334"/>
                    <a:pt x="373" y="4719"/>
                    <a:pt x="229" y="5070"/>
                  </a:cubicBezTo>
                  <a:cubicBezTo>
                    <a:pt x="219" y="5094"/>
                    <a:pt x="210" y="5118"/>
                    <a:pt x="200" y="5142"/>
                  </a:cubicBezTo>
                  <a:cubicBezTo>
                    <a:pt x="191" y="5166"/>
                    <a:pt x="183" y="5189"/>
                    <a:pt x="174" y="5212"/>
                  </a:cubicBezTo>
                  <a:cubicBezTo>
                    <a:pt x="93" y="5433"/>
                    <a:pt x="39" y="5639"/>
                    <a:pt x="15" y="5824"/>
                  </a:cubicBezTo>
                  <a:cubicBezTo>
                    <a:pt x="12" y="5844"/>
                    <a:pt x="10" y="5864"/>
                    <a:pt x="8" y="5884"/>
                  </a:cubicBezTo>
                  <a:cubicBezTo>
                    <a:pt x="6" y="5904"/>
                    <a:pt x="5" y="5924"/>
                    <a:pt x="3" y="5943"/>
                  </a:cubicBezTo>
                  <a:cubicBezTo>
                    <a:pt x="2" y="5975"/>
                    <a:pt x="0" y="6006"/>
                    <a:pt x="1" y="6036"/>
                  </a:cubicBezTo>
                  <a:cubicBezTo>
                    <a:pt x="1" y="6131"/>
                    <a:pt x="10" y="6218"/>
                    <a:pt x="30" y="6297"/>
                  </a:cubicBezTo>
                  <a:cubicBezTo>
                    <a:pt x="38" y="6304"/>
                    <a:pt x="46" y="6311"/>
                    <a:pt x="54" y="6318"/>
                  </a:cubicBezTo>
                  <a:cubicBezTo>
                    <a:pt x="80" y="6340"/>
                    <a:pt x="106" y="6362"/>
                    <a:pt x="132" y="6383"/>
                  </a:cubicBezTo>
                  <a:cubicBezTo>
                    <a:pt x="158" y="6404"/>
                    <a:pt x="184" y="6424"/>
                    <a:pt x="211" y="6444"/>
                  </a:cubicBezTo>
                  <a:cubicBezTo>
                    <a:pt x="320" y="6528"/>
                    <a:pt x="432" y="6606"/>
                    <a:pt x="547" y="6679"/>
                  </a:cubicBezTo>
                  <a:cubicBezTo>
                    <a:pt x="524" y="6598"/>
                    <a:pt x="511" y="6511"/>
                    <a:pt x="507" y="6419"/>
                  </a:cubicBezTo>
                  <a:cubicBezTo>
                    <a:pt x="506" y="6399"/>
                    <a:pt x="505" y="6380"/>
                    <a:pt x="505" y="6360"/>
                  </a:cubicBezTo>
                  <a:cubicBezTo>
                    <a:pt x="505" y="6358"/>
                    <a:pt x="505" y="6357"/>
                    <a:pt x="505" y="6356"/>
                  </a:cubicBezTo>
                  <a:cubicBezTo>
                    <a:pt x="505" y="6337"/>
                    <a:pt x="506" y="6318"/>
                    <a:pt x="507" y="6300"/>
                  </a:cubicBezTo>
                  <a:cubicBezTo>
                    <a:pt x="512" y="6147"/>
                    <a:pt x="539" y="5981"/>
                    <a:pt x="586" y="5804"/>
                  </a:cubicBezTo>
                  <a:cubicBezTo>
                    <a:pt x="592" y="5781"/>
                    <a:pt x="599" y="5758"/>
                    <a:pt x="605" y="5735"/>
                  </a:cubicBezTo>
                  <a:cubicBezTo>
                    <a:pt x="612" y="5712"/>
                    <a:pt x="619" y="5688"/>
                    <a:pt x="626" y="5665"/>
                  </a:cubicBezTo>
                  <a:cubicBezTo>
                    <a:pt x="703" y="5418"/>
                    <a:pt x="817" y="5153"/>
                    <a:pt x="962" y="4876"/>
                  </a:cubicBezTo>
                  <a:cubicBezTo>
                    <a:pt x="979" y="4845"/>
                    <a:pt x="996" y="4813"/>
                    <a:pt x="1013" y="4781"/>
                  </a:cubicBezTo>
                  <a:cubicBezTo>
                    <a:pt x="1031" y="4748"/>
                    <a:pt x="1050" y="4715"/>
                    <a:pt x="1069" y="4682"/>
                  </a:cubicBezTo>
                  <a:cubicBezTo>
                    <a:pt x="1441" y="4031"/>
                    <a:pt x="1982" y="3328"/>
                    <a:pt x="2654" y="2654"/>
                  </a:cubicBezTo>
                  <a:cubicBezTo>
                    <a:pt x="3328" y="1982"/>
                    <a:pt x="4031" y="1441"/>
                    <a:pt x="4682" y="10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0" name="Freeform 12">
              <a:extLst>
                <a:ext uri="{FF2B5EF4-FFF2-40B4-BE49-F238E27FC236}">
                  <a16:creationId xmlns:a16="http://schemas.microsoft.com/office/drawing/2014/main" id="{6967A9C6-FB4D-4270-BB09-0FBE5B7A6E5E}"/>
                </a:ext>
              </a:extLst>
            </p:cNvPr>
            <p:cNvSpPr>
              <a:spLocks/>
            </p:cNvSpPr>
            <p:nvPr/>
          </p:nvSpPr>
          <p:spPr bwMode="auto">
            <a:xfrm>
              <a:off x="5525067" y="2309661"/>
              <a:ext cx="3917703" cy="3936801"/>
            </a:xfrm>
            <a:custGeom>
              <a:avLst/>
              <a:gdLst>
                <a:gd name="T0" fmla="*/ 3424 w 5896"/>
                <a:gd name="T1" fmla="*/ 1876 h 5920"/>
                <a:gd name="T2" fmla="*/ 3633 w 5896"/>
                <a:gd name="T3" fmla="*/ 1712 h 5920"/>
                <a:gd name="T4" fmla="*/ 3808 w 5896"/>
                <a:gd name="T5" fmla="*/ 1582 h 5920"/>
                <a:gd name="T6" fmla="*/ 4916 w 5896"/>
                <a:gd name="T7" fmla="*/ 937 h 5920"/>
                <a:gd name="T8" fmla="*/ 5004 w 5896"/>
                <a:gd name="T9" fmla="*/ 901 h 5920"/>
                <a:gd name="T10" fmla="*/ 5086 w 5896"/>
                <a:gd name="T11" fmla="*/ 873 h 5920"/>
                <a:gd name="T12" fmla="*/ 5614 w 5896"/>
                <a:gd name="T13" fmla="*/ 767 h 5920"/>
                <a:gd name="T14" fmla="*/ 5621 w 5896"/>
                <a:gd name="T15" fmla="*/ 767 h 5920"/>
                <a:gd name="T16" fmla="*/ 5682 w 5896"/>
                <a:gd name="T17" fmla="*/ 770 h 5920"/>
                <a:gd name="T18" fmla="*/ 5742 w 5896"/>
                <a:gd name="T19" fmla="*/ 777 h 5920"/>
                <a:gd name="T20" fmla="*/ 5896 w 5896"/>
                <a:gd name="T21" fmla="*/ 821 h 5920"/>
                <a:gd name="T22" fmla="*/ 5826 w 5896"/>
                <a:gd name="T23" fmla="*/ 476 h 5920"/>
                <a:gd name="T24" fmla="*/ 5792 w 5896"/>
                <a:gd name="T25" fmla="*/ 349 h 5920"/>
                <a:gd name="T26" fmla="*/ 5752 w 5896"/>
                <a:gd name="T27" fmla="*/ 214 h 5920"/>
                <a:gd name="T28" fmla="*/ 5714 w 5896"/>
                <a:gd name="T29" fmla="*/ 97 h 5920"/>
                <a:gd name="T30" fmla="*/ 5444 w 5896"/>
                <a:gd name="T31" fmla="*/ 9 h 5920"/>
                <a:gd name="T32" fmla="*/ 5385 w 5896"/>
                <a:gd name="T33" fmla="*/ 3 h 5920"/>
                <a:gd name="T34" fmla="*/ 5324 w 5896"/>
                <a:gd name="T35" fmla="*/ 1 h 5920"/>
                <a:gd name="T36" fmla="*/ 5312 w 5896"/>
                <a:gd name="T37" fmla="*/ 0 h 5920"/>
                <a:gd name="T38" fmla="*/ 5307 w 5896"/>
                <a:gd name="T39" fmla="*/ 0 h 5920"/>
                <a:gd name="T40" fmla="*/ 4713 w 5896"/>
                <a:gd name="T41" fmla="*/ 112 h 5920"/>
                <a:gd name="T42" fmla="*/ 4636 w 5896"/>
                <a:gd name="T43" fmla="*/ 137 h 5920"/>
                <a:gd name="T44" fmla="*/ 4555 w 5896"/>
                <a:gd name="T45" fmla="*/ 168 h 5920"/>
                <a:gd name="T46" fmla="*/ 3688 w 5896"/>
                <a:gd name="T47" fmla="*/ 607 h 5920"/>
                <a:gd name="T48" fmla="*/ 3564 w 5896"/>
                <a:gd name="T49" fmla="*/ 684 h 5920"/>
                <a:gd name="T50" fmla="*/ 3430 w 5896"/>
                <a:gd name="T51" fmla="*/ 773 h 5920"/>
                <a:gd name="T52" fmla="*/ 1980 w 5896"/>
                <a:gd name="T53" fmla="*/ 1980 h 5920"/>
                <a:gd name="T54" fmla="*/ 774 w 5896"/>
                <a:gd name="T55" fmla="*/ 3429 h 5920"/>
                <a:gd name="T56" fmla="*/ 685 w 5896"/>
                <a:gd name="T57" fmla="*/ 3563 h 5920"/>
                <a:gd name="T58" fmla="*/ 607 w 5896"/>
                <a:gd name="T59" fmla="*/ 3688 h 5920"/>
                <a:gd name="T60" fmla="*/ 169 w 5896"/>
                <a:gd name="T61" fmla="*/ 4554 h 5920"/>
                <a:gd name="T62" fmla="*/ 137 w 5896"/>
                <a:gd name="T63" fmla="*/ 4635 h 5920"/>
                <a:gd name="T64" fmla="*/ 113 w 5896"/>
                <a:gd name="T65" fmla="*/ 4712 h 5920"/>
                <a:gd name="T66" fmla="*/ 1 w 5896"/>
                <a:gd name="T67" fmla="*/ 5311 h 5920"/>
                <a:gd name="T68" fmla="*/ 2 w 5896"/>
                <a:gd name="T69" fmla="*/ 5323 h 5920"/>
                <a:gd name="T70" fmla="*/ 4 w 5896"/>
                <a:gd name="T71" fmla="*/ 5384 h 5920"/>
                <a:gd name="T72" fmla="*/ 10 w 5896"/>
                <a:gd name="T73" fmla="*/ 5443 h 5920"/>
                <a:gd name="T74" fmla="*/ 121 w 5896"/>
                <a:gd name="T75" fmla="*/ 5747 h 5920"/>
                <a:gd name="T76" fmla="*/ 150 w 5896"/>
                <a:gd name="T77" fmla="*/ 5756 h 5920"/>
                <a:gd name="T78" fmla="*/ 291 w 5896"/>
                <a:gd name="T79" fmla="*/ 5800 h 5920"/>
                <a:gd name="T80" fmla="*/ 425 w 5896"/>
                <a:gd name="T81" fmla="*/ 5836 h 5920"/>
                <a:gd name="T82" fmla="*/ 835 w 5896"/>
                <a:gd name="T83" fmla="*/ 5920 h 5920"/>
                <a:gd name="T84" fmla="*/ 778 w 5896"/>
                <a:gd name="T85" fmla="*/ 5741 h 5920"/>
                <a:gd name="T86" fmla="*/ 771 w 5896"/>
                <a:gd name="T87" fmla="*/ 5681 h 5920"/>
                <a:gd name="T88" fmla="*/ 769 w 5896"/>
                <a:gd name="T89" fmla="*/ 5620 h 5920"/>
                <a:gd name="T90" fmla="*/ 768 w 5896"/>
                <a:gd name="T91" fmla="*/ 5612 h 5920"/>
                <a:gd name="T92" fmla="*/ 874 w 5896"/>
                <a:gd name="T93" fmla="*/ 5084 h 5920"/>
                <a:gd name="T94" fmla="*/ 903 w 5896"/>
                <a:gd name="T95" fmla="*/ 5002 h 5920"/>
                <a:gd name="T96" fmla="*/ 938 w 5896"/>
                <a:gd name="T97" fmla="*/ 4915 h 5920"/>
                <a:gd name="T98" fmla="*/ 1583 w 5896"/>
                <a:gd name="T99" fmla="*/ 3807 h 5920"/>
                <a:gd name="T100" fmla="*/ 1713 w 5896"/>
                <a:gd name="T101" fmla="*/ 3632 h 5920"/>
                <a:gd name="T102" fmla="*/ 1877 w 5896"/>
                <a:gd name="T103" fmla="*/ 3424 h 5920"/>
                <a:gd name="T104" fmla="*/ 2610 w 5896"/>
                <a:gd name="T105" fmla="*/ 2610 h 5920"/>
                <a:gd name="T106" fmla="*/ 3424 w 5896"/>
                <a:gd name="T107" fmla="*/ 1876 h 5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96" h="5920">
                  <a:moveTo>
                    <a:pt x="3424" y="1876"/>
                  </a:moveTo>
                  <a:cubicBezTo>
                    <a:pt x="3494" y="1819"/>
                    <a:pt x="3564" y="1765"/>
                    <a:pt x="3633" y="1712"/>
                  </a:cubicBezTo>
                  <a:cubicBezTo>
                    <a:pt x="3692" y="1667"/>
                    <a:pt x="3750" y="1624"/>
                    <a:pt x="3808" y="1582"/>
                  </a:cubicBezTo>
                  <a:cubicBezTo>
                    <a:pt x="4204" y="1295"/>
                    <a:pt x="4581" y="1076"/>
                    <a:pt x="4916" y="937"/>
                  </a:cubicBezTo>
                  <a:cubicBezTo>
                    <a:pt x="4945" y="925"/>
                    <a:pt x="4975" y="912"/>
                    <a:pt x="5004" y="901"/>
                  </a:cubicBezTo>
                  <a:cubicBezTo>
                    <a:pt x="5032" y="891"/>
                    <a:pt x="5058" y="882"/>
                    <a:pt x="5086" y="873"/>
                  </a:cubicBezTo>
                  <a:cubicBezTo>
                    <a:pt x="5281" y="806"/>
                    <a:pt x="5460" y="768"/>
                    <a:pt x="5614" y="767"/>
                  </a:cubicBezTo>
                  <a:cubicBezTo>
                    <a:pt x="5616" y="767"/>
                    <a:pt x="5618" y="767"/>
                    <a:pt x="5621" y="767"/>
                  </a:cubicBezTo>
                  <a:cubicBezTo>
                    <a:pt x="5642" y="768"/>
                    <a:pt x="5662" y="768"/>
                    <a:pt x="5682" y="770"/>
                  </a:cubicBezTo>
                  <a:cubicBezTo>
                    <a:pt x="5702" y="771"/>
                    <a:pt x="5722" y="774"/>
                    <a:pt x="5742" y="777"/>
                  </a:cubicBezTo>
                  <a:cubicBezTo>
                    <a:pt x="5797" y="785"/>
                    <a:pt x="5849" y="800"/>
                    <a:pt x="5896" y="821"/>
                  </a:cubicBezTo>
                  <a:cubicBezTo>
                    <a:pt x="5877" y="705"/>
                    <a:pt x="5854" y="590"/>
                    <a:pt x="5826" y="476"/>
                  </a:cubicBezTo>
                  <a:cubicBezTo>
                    <a:pt x="5816" y="433"/>
                    <a:pt x="5804" y="391"/>
                    <a:pt x="5792" y="349"/>
                  </a:cubicBezTo>
                  <a:cubicBezTo>
                    <a:pt x="5779" y="304"/>
                    <a:pt x="5766" y="259"/>
                    <a:pt x="5752" y="214"/>
                  </a:cubicBezTo>
                  <a:cubicBezTo>
                    <a:pt x="5740" y="175"/>
                    <a:pt x="5728" y="136"/>
                    <a:pt x="5714" y="97"/>
                  </a:cubicBezTo>
                  <a:cubicBezTo>
                    <a:pt x="5639" y="51"/>
                    <a:pt x="5549" y="22"/>
                    <a:pt x="5444" y="9"/>
                  </a:cubicBezTo>
                  <a:cubicBezTo>
                    <a:pt x="5425" y="6"/>
                    <a:pt x="5405" y="4"/>
                    <a:pt x="5385" y="3"/>
                  </a:cubicBezTo>
                  <a:cubicBezTo>
                    <a:pt x="5365" y="1"/>
                    <a:pt x="5345" y="1"/>
                    <a:pt x="5324" y="1"/>
                  </a:cubicBezTo>
                  <a:cubicBezTo>
                    <a:pt x="5320" y="1"/>
                    <a:pt x="5316" y="0"/>
                    <a:pt x="5312" y="0"/>
                  </a:cubicBezTo>
                  <a:cubicBezTo>
                    <a:pt x="5311" y="0"/>
                    <a:pt x="5309" y="0"/>
                    <a:pt x="5307" y="0"/>
                  </a:cubicBezTo>
                  <a:cubicBezTo>
                    <a:pt x="5135" y="0"/>
                    <a:pt x="4934" y="40"/>
                    <a:pt x="4713" y="112"/>
                  </a:cubicBezTo>
                  <a:cubicBezTo>
                    <a:pt x="4687" y="120"/>
                    <a:pt x="4662" y="127"/>
                    <a:pt x="4636" y="137"/>
                  </a:cubicBezTo>
                  <a:cubicBezTo>
                    <a:pt x="4610" y="146"/>
                    <a:pt x="4582" y="158"/>
                    <a:pt x="4555" y="168"/>
                  </a:cubicBezTo>
                  <a:cubicBezTo>
                    <a:pt x="4287" y="270"/>
                    <a:pt x="3995" y="418"/>
                    <a:pt x="3688" y="607"/>
                  </a:cubicBezTo>
                  <a:cubicBezTo>
                    <a:pt x="3647" y="632"/>
                    <a:pt x="3606" y="657"/>
                    <a:pt x="3564" y="684"/>
                  </a:cubicBezTo>
                  <a:cubicBezTo>
                    <a:pt x="3520" y="713"/>
                    <a:pt x="3475" y="743"/>
                    <a:pt x="3430" y="773"/>
                  </a:cubicBezTo>
                  <a:cubicBezTo>
                    <a:pt x="2956" y="1092"/>
                    <a:pt x="2460" y="1499"/>
                    <a:pt x="1980" y="1980"/>
                  </a:cubicBezTo>
                  <a:cubicBezTo>
                    <a:pt x="1500" y="2459"/>
                    <a:pt x="1093" y="2956"/>
                    <a:pt x="774" y="3429"/>
                  </a:cubicBezTo>
                  <a:cubicBezTo>
                    <a:pt x="744" y="3474"/>
                    <a:pt x="714" y="3519"/>
                    <a:pt x="685" y="3563"/>
                  </a:cubicBezTo>
                  <a:cubicBezTo>
                    <a:pt x="658" y="3605"/>
                    <a:pt x="633" y="3646"/>
                    <a:pt x="607" y="3688"/>
                  </a:cubicBezTo>
                  <a:cubicBezTo>
                    <a:pt x="419" y="3994"/>
                    <a:pt x="271" y="4287"/>
                    <a:pt x="169" y="4554"/>
                  </a:cubicBezTo>
                  <a:cubicBezTo>
                    <a:pt x="158" y="4581"/>
                    <a:pt x="147" y="4609"/>
                    <a:pt x="137" y="4635"/>
                  </a:cubicBezTo>
                  <a:cubicBezTo>
                    <a:pt x="128" y="4661"/>
                    <a:pt x="121" y="4686"/>
                    <a:pt x="113" y="4712"/>
                  </a:cubicBezTo>
                  <a:cubicBezTo>
                    <a:pt x="40" y="4935"/>
                    <a:pt x="0" y="5138"/>
                    <a:pt x="1" y="5311"/>
                  </a:cubicBezTo>
                  <a:cubicBezTo>
                    <a:pt x="1" y="5315"/>
                    <a:pt x="1" y="5319"/>
                    <a:pt x="2" y="5323"/>
                  </a:cubicBezTo>
                  <a:cubicBezTo>
                    <a:pt x="2" y="5344"/>
                    <a:pt x="2" y="5364"/>
                    <a:pt x="4" y="5384"/>
                  </a:cubicBezTo>
                  <a:cubicBezTo>
                    <a:pt x="5" y="5404"/>
                    <a:pt x="7" y="5424"/>
                    <a:pt x="10" y="5443"/>
                  </a:cubicBezTo>
                  <a:cubicBezTo>
                    <a:pt x="25" y="5564"/>
                    <a:pt x="62" y="5665"/>
                    <a:pt x="121" y="5747"/>
                  </a:cubicBezTo>
                  <a:cubicBezTo>
                    <a:pt x="131" y="5750"/>
                    <a:pt x="140" y="5753"/>
                    <a:pt x="150" y="5756"/>
                  </a:cubicBezTo>
                  <a:cubicBezTo>
                    <a:pt x="197" y="5771"/>
                    <a:pt x="244" y="5786"/>
                    <a:pt x="291" y="5800"/>
                  </a:cubicBezTo>
                  <a:cubicBezTo>
                    <a:pt x="336" y="5813"/>
                    <a:pt x="380" y="5825"/>
                    <a:pt x="425" y="5836"/>
                  </a:cubicBezTo>
                  <a:cubicBezTo>
                    <a:pt x="560" y="5870"/>
                    <a:pt x="697" y="5898"/>
                    <a:pt x="835" y="5920"/>
                  </a:cubicBezTo>
                  <a:cubicBezTo>
                    <a:pt x="807" y="5866"/>
                    <a:pt x="788" y="5806"/>
                    <a:pt x="778" y="5741"/>
                  </a:cubicBezTo>
                  <a:cubicBezTo>
                    <a:pt x="775" y="5721"/>
                    <a:pt x="773" y="5701"/>
                    <a:pt x="771" y="5681"/>
                  </a:cubicBezTo>
                  <a:cubicBezTo>
                    <a:pt x="769" y="5661"/>
                    <a:pt x="769" y="5641"/>
                    <a:pt x="769" y="5620"/>
                  </a:cubicBezTo>
                  <a:cubicBezTo>
                    <a:pt x="769" y="5617"/>
                    <a:pt x="768" y="5615"/>
                    <a:pt x="768" y="5612"/>
                  </a:cubicBezTo>
                  <a:cubicBezTo>
                    <a:pt x="769" y="5459"/>
                    <a:pt x="807" y="5280"/>
                    <a:pt x="874" y="5084"/>
                  </a:cubicBezTo>
                  <a:cubicBezTo>
                    <a:pt x="884" y="5057"/>
                    <a:pt x="892" y="5030"/>
                    <a:pt x="903" y="5002"/>
                  </a:cubicBezTo>
                  <a:cubicBezTo>
                    <a:pt x="913" y="4974"/>
                    <a:pt x="926" y="4944"/>
                    <a:pt x="938" y="4915"/>
                  </a:cubicBezTo>
                  <a:cubicBezTo>
                    <a:pt x="1077" y="4580"/>
                    <a:pt x="1296" y="4203"/>
                    <a:pt x="1583" y="3807"/>
                  </a:cubicBezTo>
                  <a:cubicBezTo>
                    <a:pt x="1625" y="3749"/>
                    <a:pt x="1668" y="3691"/>
                    <a:pt x="1713" y="3632"/>
                  </a:cubicBezTo>
                  <a:cubicBezTo>
                    <a:pt x="1765" y="3563"/>
                    <a:pt x="1820" y="3493"/>
                    <a:pt x="1877" y="3424"/>
                  </a:cubicBezTo>
                  <a:cubicBezTo>
                    <a:pt x="2095" y="3154"/>
                    <a:pt x="2341" y="2880"/>
                    <a:pt x="2610" y="2610"/>
                  </a:cubicBezTo>
                  <a:cubicBezTo>
                    <a:pt x="2881" y="2340"/>
                    <a:pt x="3155" y="2095"/>
                    <a:pt x="3424" y="187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1" name="Freeform 13">
              <a:extLst>
                <a:ext uri="{FF2B5EF4-FFF2-40B4-BE49-F238E27FC236}">
                  <a16:creationId xmlns:a16="http://schemas.microsoft.com/office/drawing/2014/main" id="{85D81FB3-8A4F-49F2-A164-8A0BF5C67920}"/>
                </a:ext>
              </a:extLst>
            </p:cNvPr>
            <p:cNvSpPr>
              <a:spLocks/>
            </p:cNvSpPr>
            <p:nvPr/>
          </p:nvSpPr>
          <p:spPr bwMode="auto">
            <a:xfrm>
              <a:off x="6849611" y="3634205"/>
              <a:ext cx="2613621" cy="2625898"/>
            </a:xfrm>
            <a:custGeom>
              <a:avLst/>
              <a:gdLst>
                <a:gd name="T0" fmla="*/ 3902 w 3934"/>
                <a:gd name="T1" fmla="*/ 32 h 3950"/>
                <a:gd name="T2" fmla="*/ 3727 w 3934"/>
                <a:gd name="T3" fmla="*/ 0 h 3950"/>
                <a:gd name="T4" fmla="*/ 3687 w 3934"/>
                <a:gd name="T5" fmla="*/ 3 h 3950"/>
                <a:gd name="T6" fmla="*/ 3616 w 3934"/>
                <a:gd name="T7" fmla="*/ 8 h 3950"/>
                <a:gd name="T8" fmla="*/ 3541 w 3934"/>
                <a:gd name="T9" fmla="*/ 21 h 3950"/>
                <a:gd name="T10" fmla="*/ 3005 w 3934"/>
                <a:gd name="T11" fmla="*/ 222 h 3950"/>
                <a:gd name="T12" fmla="*/ 2891 w 3934"/>
                <a:gd name="T13" fmla="*/ 283 h 3950"/>
                <a:gd name="T14" fmla="*/ 2768 w 3934"/>
                <a:gd name="T15" fmla="*/ 353 h 3950"/>
                <a:gd name="T16" fmla="*/ 1424 w 3934"/>
                <a:gd name="T17" fmla="*/ 1424 h 3950"/>
                <a:gd name="T18" fmla="*/ 353 w 3934"/>
                <a:gd name="T19" fmla="*/ 2768 h 3950"/>
                <a:gd name="T20" fmla="*/ 283 w 3934"/>
                <a:gd name="T21" fmla="*/ 2891 h 3950"/>
                <a:gd name="T22" fmla="*/ 222 w 3934"/>
                <a:gd name="T23" fmla="*/ 3005 h 3950"/>
                <a:gd name="T24" fmla="*/ 22 w 3934"/>
                <a:gd name="T25" fmla="*/ 3540 h 3950"/>
                <a:gd name="T26" fmla="*/ 8 w 3934"/>
                <a:gd name="T27" fmla="*/ 3616 h 3950"/>
                <a:gd name="T28" fmla="*/ 3 w 3934"/>
                <a:gd name="T29" fmla="*/ 3686 h 3950"/>
                <a:gd name="T30" fmla="*/ 1 w 3934"/>
                <a:gd name="T31" fmla="*/ 3727 h 3950"/>
                <a:gd name="T32" fmla="*/ 32 w 3934"/>
                <a:gd name="T33" fmla="*/ 3902 h 3950"/>
                <a:gd name="T34" fmla="*/ 56 w 3934"/>
                <a:gd name="T35" fmla="*/ 3950 h 3950"/>
                <a:gd name="T36" fmla="*/ 79 w 3934"/>
                <a:gd name="T37" fmla="*/ 3947 h 3950"/>
                <a:gd name="T38" fmla="*/ 282 w 3934"/>
                <a:gd name="T39" fmla="*/ 3917 h 3950"/>
                <a:gd name="T40" fmla="*/ 1127 w 3934"/>
                <a:gd name="T41" fmla="*/ 3685 h 3950"/>
                <a:gd name="T42" fmla="*/ 1020 w 3934"/>
                <a:gd name="T43" fmla="*/ 3624 h 3950"/>
                <a:gd name="T44" fmla="*/ 959 w 3934"/>
                <a:gd name="T45" fmla="*/ 3517 h 3950"/>
                <a:gd name="T46" fmla="*/ 946 w 3934"/>
                <a:gd name="T47" fmla="*/ 3454 h 3950"/>
                <a:gd name="T48" fmla="*/ 943 w 3934"/>
                <a:gd name="T49" fmla="*/ 3410 h 3950"/>
                <a:gd name="T50" fmla="*/ 945 w 3934"/>
                <a:gd name="T51" fmla="*/ 3382 h 3950"/>
                <a:gd name="T52" fmla="*/ 1060 w 3934"/>
                <a:gd name="T53" fmla="*/ 2995 h 3950"/>
                <a:gd name="T54" fmla="*/ 1123 w 3934"/>
                <a:gd name="T55" fmla="*/ 2873 h 3950"/>
                <a:gd name="T56" fmla="*/ 1207 w 3934"/>
                <a:gd name="T57" fmla="*/ 2729 h 3950"/>
                <a:gd name="T58" fmla="*/ 1890 w 3934"/>
                <a:gd name="T59" fmla="*/ 1890 h 3950"/>
                <a:gd name="T60" fmla="*/ 2729 w 3934"/>
                <a:gd name="T61" fmla="*/ 1207 h 3950"/>
                <a:gd name="T62" fmla="*/ 2873 w 3934"/>
                <a:gd name="T63" fmla="*/ 1123 h 3950"/>
                <a:gd name="T64" fmla="*/ 2994 w 3934"/>
                <a:gd name="T65" fmla="*/ 1061 h 3950"/>
                <a:gd name="T66" fmla="*/ 3382 w 3934"/>
                <a:gd name="T67" fmla="*/ 946 h 3950"/>
                <a:gd name="T68" fmla="*/ 3410 w 3934"/>
                <a:gd name="T69" fmla="*/ 943 h 3950"/>
                <a:gd name="T70" fmla="*/ 3454 w 3934"/>
                <a:gd name="T71" fmla="*/ 947 h 3950"/>
                <a:gd name="T72" fmla="*/ 3517 w 3934"/>
                <a:gd name="T73" fmla="*/ 959 h 3950"/>
                <a:gd name="T74" fmla="*/ 3624 w 3934"/>
                <a:gd name="T75" fmla="*/ 1020 h 3950"/>
                <a:gd name="T76" fmla="*/ 3679 w 3934"/>
                <a:gd name="T77" fmla="*/ 1109 h 3950"/>
                <a:gd name="T78" fmla="*/ 3893 w 3934"/>
                <a:gd name="T79" fmla="*/ 331 h 3950"/>
                <a:gd name="T80" fmla="*/ 3924 w 3934"/>
                <a:gd name="T81" fmla="*/ 131 h 3950"/>
                <a:gd name="T82" fmla="*/ 3934 w 3934"/>
                <a:gd name="T83" fmla="*/ 47 h 3950"/>
                <a:gd name="T84" fmla="*/ 3902 w 3934"/>
                <a:gd name="T85" fmla="*/ 32 h 3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34" h="3950">
                  <a:moveTo>
                    <a:pt x="3902" y="32"/>
                  </a:moveTo>
                  <a:cubicBezTo>
                    <a:pt x="3854" y="12"/>
                    <a:pt x="3797" y="1"/>
                    <a:pt x="3727" y="0"/>
                  </a:cubicBezTo>
                  <a:cubicBezTo>
                    <a:pt x="3714" y="0"/>
                    <a:pt x="3700" y="2"/>
                    <a:pt x="3687" y="3"/>
                  </a:cubicBezTo>
                  <a:cubicBezTo>
                    <a:pt x="3664" y="4"/>
                    <a:pt x="3641" y="5"/>
                    <a:pt x="3616" y="8"/>
                  </a:cubicBezTo>
                  <a:cubicBezTo>
                    <a:pt x="3592" y="12"/>
                    <a:pt x="3567" y="16"/>
                    <a:pt x="3541" y="21"/>
                  </a:cubicBezTo>
                  <a:cubicBezTo>
                    <a:pt x="3386" y="53"/>
                    <a:pt x="3204" y="121"/>
                    <a:pt x="3005" y="222"/>
                  </a:cubicBezTo>
                  <a:cubicBezTo>
                    <a:pt x="2967" y="241"/>
                    <a:pt x="2929" y="262"/>
                    <a:pt x="2891" y="283"/>
                  </a:cubicBezTo>
                  <a:cubicBezTo>
                    <a:pt x="2851" y="305"/>
                    <a:pt x="2810" y="329"/>
                    <a:pt x="2768" y="353"/>
                  </a:cubicBezTo>
                  <a:cubicBezTo>
                    <a:pt x="2350" y="601"/>
                    <a:pt x="1878" y="968"/>
                    <a:pt x="1424" y="1424"/>
                  </a:cubicBezTo>
                  <a:cubicBezTo>
                    <a:pt x="967" y="1878"/>
                    <a:pt x="601" y="2350"/>
                    <a:pt x="353" y="2768"/>
                  </a:cubicBezTo>
                  <a:cubicBezTo>
                    <a:pt x="329" y="2810"/>
                    <a:pt x="305" y="2851"/>
                    <a:pt x="283" y="2891"/>
                  </a:cubicBezTo>
                  <a:cubicBezTo>
                    <a:pt x="261" y="2930"/>
                    <a:pt x="241" y="2968"/>
                    <a:pt x="222" y="3005"/>
                  </a:cubicBezTo>
                  <a:cubicBezTo>
                    <a:pt x="121" y="3204"/>
                    <a:pt x="53" y="3386"/>
                    <a:pt x="22" y="3540"/>
                  </a:cubicBezTo>
                  <a:cubicBezTo>
                    <a:pt x="16" y="3566"/>
                    <a:pt x="12" y="3592"/>
                    <a:pt x="8" y="3616"/>
                  </a:cubicBezTo>
                  <a:cubicBezTo>
                    <a:pt x="5" y="3641"/>
                    <a:pt x="4" y="3664"/>
                    <a:pt x="3" y="3686"/>
                  </a:cubicBezTo>
                  <a:cubicBezTo>
                    <a:pt x="2" y="3700"/>
                    <a:pt x="0" y="3714"/>
                    <a:pt x="1" y="3727"/>
                  </a:cubicBezTo>
                  <a:cubicBezTo>
                    <a:pt x="1" y="3797"/>
                    <a:pt x="12" y="3854"/>
                    <a:pt x="32" y="3902"/>
                  </a:cubicBezTo>
                  <a:cubicBezTo>
                    <a:pt x="39" y="3919"/>
                    <a:pt x="47" y="3935"/>
                    <a:pt x="56" y="3950"/>
                  </a:cubicBezTo>
                  <a:cubicBezTo>
                    <a:pt x="64" y="3949"/>
                    <a:pt x="71" y="3948"/>
                    <a:pt x="79" y="3947"/>
                  </a:cubicBezTo>
                  <a:cubicBezTo>
                    <a:pt x="147" y="3939"/>
                    <a:pt x="214" y="3929"/>
                    <a:pt x="282" y="3917"/>
                  </a:cubicBezTo>
                  <a:cubicBezTo>
                    <a:pt x="569" y="3868"/>
                    <a:pt x="852" y="3791"/>
                    <a:pt x="1127" y="3685"/>
                  </a:cubicBezTo>
                  <a:cubicBezTo>
                    <a:pt x="1087" y="3673"/>
                    <a:pt x="1050" y="3653"/>
                    <a:pt x="1020" y="3624"/>
                  </a:cubicBezTo>
                  <a:cubicBezTo>
                    <a:pt x="990" y="3594"/>
                    <a:pt x="971" y="3557"/>
                    <a:pt x="959" y="3517"/>
                  </a:cubicBezTo>
                  <a:cubicBezTo>
                    <a:pt x="953" y="3497"/>
                    <a:pt x="949" y="3476"/>
                    <a:pt x="946" y="3454"/>
                  </a:cubicBezTo>
                  <a:cubicBezTo>
                    <a:pt x="945" y="3440"/>
                    <a:pt x="943" y="3425"/>
                    <a:pt x="943" y="3410"/>
                  </a:cubicBezTo>
                  <a:cubicBezTo>
                    <a:pt x="944" y="3401"/>
                    <a:pt x="945" y="3392"/>
                    <a:pt x="945" y="3382"/>
                  </a:cubicBezTo>
                  <a:cubicBezTo>
                    <a:pt x="952" y="3271"/>
                    <a:pt x="992" y="3140"/>
                    <a:pt x="1060" y="2995"/>
                  </a:cubicBezTo>
                  <a:cubicBezTo>
                    <a:pt x="1079" y="2955"/>
                    <a:pt x="1100" y="2914"/>
                    <a:pt x="1123" y="2873"/>
                  </a:cubicBezTo>
                  <a:cubicBezTo>
                    <a:pt x="1148" y="2826"/>
                    <a:pt x="1176" y="2778"/>
                    <a:pt x="1207" y="2729"/>
                  </a:cubicBezTo>
                  <a:cubicBezTo>
                    <a:pt x="1371" y="2466"/>
                    <a:pt x="1606" y="2176"/>
                    <a:pt x="1890" y="1890"/>
                  </a:cubicBezTo>
                  <a:cubicBezTo>
                    <a:pt x="2176" y="1606"/>
                    <a:pt x="2466" y="1372"/>
                    <a:pt x="2729" y="1207"/>
                  </a:cubicBezTo>
                  <a:cubicBezTo>
                    <a:pt x="2778" y="1176"/>
                    <a:pt x="2825" y="1149"/>
                    <a:pt x="2873" y="1123"/>
                  </a:cubicBezTo>
                  <a:cubicBezTo>
                    <a:pt x="2914" y="1100"/>
                    <a:pt x="2955" y="1079"/>
                    <a:pt x="2994" y="1061"/>
                  </a:cubicBezTo>
                  <a:cubicBezTo>
                    <a:pt x="3140" y="992"/>
                    <a:pt x="3271" y="953"/>
                    <a:pt x="3382" y="946"/>
                  </a:cubicBezTo>
                  <a:cubicBezTo>
                    <a:pt x="3392" y="945"/>
                    <a:pt x="3401" y="944"/>
                    <a:pt x="3410" y="943"/>
                  </a:cubicBezTo>
                  <a:cubicBezTo>
                    <a:pt x="3425" y="943"/>
                    <a:pt x="3440" y="945"/>
                    <a:pt x="3454" y="947"/>
                  </a:cubicBezTo>
                  <a:cubicBezTo>
                    <a:pt x="3476" y="949"/>
                    <a:pt x="3497" y="953"/>
                    <a:pt x="3517" y="959"/>
                  </a:cubicBezTo>
                  <a:cubicBezTo>
                    <a:pt x="3557" y="971"/>
                    <a:pt x="3594" y="990"/>
                    <a:pt x="3624" y="1020"/>
                  </a:cubicBezTo>
                  <a:cubicBezTo>
                    <a:pt x="3649" y="1045"/>
                    <a:pt x="3667" y="1076"/>
                    <a:pt x="3679" y="1109"/>
                  </a:cubicBezTo>
                  <a:cubicBezTo>
                    <a:pt x="3774" y="856"/>
                    <a:pt x="3846" y="595"/>
                    <a:pt x="3893" y="331"/>
                  </a:cubicBezTo>
                  <a:cubicBezTo>
                    <a:pt x="3905" y="265"/>
                    <a:pt x="3915" y="198"/>
                    <a:pt x="3924" y="131"/>
                  </a:cubicBezTo>
                  <a:cubicBezTo>
                    <a:pt x="3928" y="103"/>
                    <a:pt x="3931" y="75"/>
                    <a:pt x="3934" y="47"/>
                  </a:cubicBezTo>
                  <a:cubicBezTo>
                    <a:pt x="3924" y="41"/>
                    <a:pt x="3913" y="37"/>
                    <a:pt x="3902" y="3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sp>
        <p:nvSpPr>
          <p:cNvPr id="8" name="Platshållare för bild 7"/>
          <p:cNvSpPr>
            <a:spLocks noGrp="1"/>
          </p:cNvSpPr>
          <p:nvPr>
            <p:ph type="pic" sz="quarter" idx="15" hasCustomPrompt="1"/>
          </p:nvPr>
        </p:nvSpPr>
        <p:spPr>
          <a:xfrm>
            <a:off x="4584700" y="952575"/>
            <a:ext cx="4156148" cy="3289235"/>
          </a:xfrm>
          <a:prstGeom prst="rect">
            <a:avLst/>
          </a:prstGeom>
        </p:spPr>
        <p:txBody>
          <a:bodyPr/>
          <a:lstStyle>
            <a:lvl1pPr marL="0" indent="0">
              <a:buNone/>
              <a:defRPr/>
            </a:lvl1pPr>
          </a:lstStyle>
          <a:p>
            <a:r>
              <a:rPr lang="sv-SE"/>
              <a:t> </a:t>
            </a:r>
          </a:p>
        </p:txBody>
      </p:sp>
      <p:sp>
        <p:nvSpPr>
          <p:cNvPr id="34" name="Rubrik 33"/>
          <p:cNvSpPr>
            <a:spLocks noGrp="1"/>
          </p:cNvSpPr>
          <p:nvPr>
            <p:ph type="title" hasCustomPrompt="1"/>
          </p:nvPr>
        </p:nvSpPr>
        <p:spPr>
          <a:xfrm>
            <a:off x="381000" y="231140"/>
            <a:ext cx="4093842" cy="1009894"/>
          </a:xfrm>
          <a:prstGeom prst="rect">
            <a:avLst/>
          </a:prstGeom>
        </p:spPr>
        <p:txBody>
          <a:bodyPr lIns="0" tIns="0" rIns="0" bIns="0" anchor="t" anchorCtr="0">
            <a:normAutofit/>
          </a:bodyPr>
          <a:lstStyle>
            <a:lvl1pPr algn="l">
              <a:defRPr sz="3600">
                <a:solidFill>
                  <a:schemeClr val="tx1"/>
                </a:solidFill>
                <a:latin typeface="Calibri"/>
                <a:cs typeface="Calibri"/>
              </a:defRPr>
            </a:lvl1pPr>
          </a:lstStyle>
          <a:p>
            <a:r>
              <a:rPr lang="en-GB"/>
              <a:t>Heading</a:t>
            </a:r>
            <a:endParaRPr lang="sv-SE"/>
          </a:p>
        </p:txBody>
      </p:sp>
      <p:sp>
        <p:nvSpPr>
          <p:cNvPr id="21" name="Platshållare för text 2"/>
          <p:cNvSpPr>
            <a:spLocks noGrp="1"/>
          </p:cNvSpPr>
          <p:nvPr>
            <p:ph type="body" sz="quarter" idx="17" hasCustomPrompt="1"/>
          </p:nvPr>
        </p:nvSpPr>
        <p:spPr>
          <a:xfrm>
            <a:off x="381000" y="1494564"/>
            <a:ext cx="4093842" cy="3044492"/>
          </a:xfrm>
          <a:prstGeom prst="rect">
            <a:avLst/>
          </a:prstGeom>
        </p:spPr>
        <p:txBody>
          <a:bodyPr lIns="0" tIns="0" rIns="0" bIns="0">
            <a:normAutofit/>
          </a:bodyPr>
          <a:lstStyle>
            <a:lvl1pPr marL="190500" indent="-190500">
              <a:spcBef>
                <a:spcPts val="50"/>
              </a:spcBef>
              <a:defRPr sz="2000"/>
            </a:lvl1pPr>
            <a:lvl2pPr marL="190500" indent="254000">
              <a:spcBef>
                <a:spcPts val="50"/>
              </a:spcBef>
              <a:buFont typeface="Lucida Grande"/>
              <a:buChar char="–"/>
              <a:defRPr sz="2000"/>
            </a:lvl2pPr>
            <a:lvl3pPr marL="571500" indent="-254000">
              <a:spcBef>
                <a:spcPts val="50"/>
              </a:spcBef>
              <a:buFont typeface="Lucida Grande"/>
              <a:buChar char="–"/>
              <a:defRPr sz="2000"/>
            </a:lvl3pPr>
            <a:lvl4pPr marL="698500" indent="-254000">
              <a:spcBef>
                <a:spcPts val="50"/>
              </a:spcBef>
              <a:buFont typeface="Lucida Grande"/>
              <a:buChar char="–"/>
              <a:defRPr sz="2000"/>
            </a:lvl4pPr>
            <a:lvl5pPr marL="825500" indent="-254000">
              <a:spcBef>
                <a:spcPts val="50"/>
              </a:spcBef>
              <a:buFont typeface="Lucida Grande"/>
              <a:buChar char="–"/>
              <a:defRPr/>
            </a:lvl5pPr>
          </a:lstStyle>
          <a:p>
            <a:pPr lvl="0"/>
            <a:r>
              <a:rPr lang="en-GB" noProof="0"/>
              <a:t>Level 1</a:t>
            </a:r>
          </a:p>
          <a:p>
            <a:pPr lvl="1"/>
            <a:r>
              <a:rPr lang="en-GB" noProof="0"/>
              <a:t>Level 2</a:t>
            </a:r>
          </a:p>
          <a:p>
            <a:pPr lvl="2"/>
            <a:r>
              <a:rPr lang="en-GB" noProof="0"/>
              <a:t>Level 3</a:t>
            </a:r>
          </a:p>
          <a:p>
            <a:pPr lvl="3"/>
            <a:r>
              <a:rPr lang="en-GB" noProof="0"/>
              <a:t>Level 4</a:t>
            </a:r>
          </a:p>
          <a:p>
            <a:pPr lvl="4"/>
            <a:r>
              <a:rPr lang="en-GB" noProof="0"/>
              <a:t>Level 5</a:t>
            </a:r>
          </a:p>
        </p:txBody>
      </p:sp>
      <p:pic>
        <p:nvPicPr>
          <p:cNvPr id="33" name="Bildobjekt 3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0201" y="4590290"/>
            <a:ext cx="850195" cy="307734"/>
          </a:xfrm>
          <a:prstGeom prst="rect">
            <a:avLst/>
          </a:prstGeom>
        </p:spPr>
      </p:pic>
      <p:sp>
        <p:nvSpPr>
          <p:cNvPr id="35" name="Platshållare för sidfot 4">
            <a:extLst>
              <a:ext uri="{FF2B5EF4-FFF2-40B4-BE49-F238E27FC236}">
                <a16:creationId xmlns:a16="http://schemas.microsoft.com/office/drawing/2014/main" id="{E34007D7-D8F9-42E5-8727-486E0CC80DCA}"/>
              </a:ext>
            </a:extLst>
          </p:cNvPr>
          <p:cNvSpPr>
            <a:spLocks noGrp="1"/>
          </p:cNvSpPr>
          <p:nvPr>
            <p:ph type="ftr" sz="quarter" idx="11"/>
          </p:nvPr>
        </p:nvSpPr>
        <p:spPr>
          <a:xfrm>
            <a:off x="5824413" y="4483997"/>
            <a:ext cx="2509889" cy="382813"/>
          </a:xfrm>
          <a:prstGeom prst="rect">
            <a:avLst/>
          </a:prstGeom>
        </p:spPr>
        <p:txBody>
          <a:bodyPr lIns="0" tIns="0" rIns="0" bIns="0" anchor="b" anchorCtr="0"/>
          <a:lstStyle>
            <a:lvl1pPr algn="r">
              <a:defRPr sz="900" b="0">
                <a:solidFill>
                  <a:schemeClr val="bg1"/>
                </a:solidFill>
              </a:defRPr>
            </a:lvl1pPr>
          </a:lstStyle>
          <a:p>
            <a:r>
              <a:rPr lang="en-US"/>
              <a:t>Stakeholder Forum Agenda - Classification: External</a:t>
            </a:r>
            <a:endParaRPr lang="sv-SE"/>
          </a:p>
        </p:txBody>
      </p:sp>
      <p:sp>
        <p:nvSpPr>
          <p:cNvPr id="39" name="Platshållare för datum 3">
            <a:extLst>
              <a:ext uri="{FF2B5EF4-FFF2-40B4-BE49-F238E27FC236}">
                <a16:creationId xmlns:a16="http://schemas.microsoft.com/office/drawing/2014/main" id="{093AAFF2-9253-46AE-BEC9-6DD39BE5B162}"/>
              </a:ext>
            </a:extLst>
          </p:cNvPr>
          <p:cNvSpPr>
            <a:spLocks noGrp="1"/>
          </p:cNvSpPr>
          <p:nvPr>
            <p:ph type="dt" sz="half" idx="10"/>
          </p:nvPr>
        </p:nvSpPr>
        <p:spPr>
          <a:xfrm>
            <a:off x="4734099" y="4495861"/>
            <a:ext cx="1018558" cy="370949"/>
          </a:xfrm>
          <a:prstGeom prst="rect">
            <a:avLst/>
          </a:prstGeom>
        </p:spPr>
        <p:txBody>
          <a:bodyPr lIns="0" tIns="0" rIns="0" bIns="0" anchor="b" anchorCtr="0"/>
          <a:lstStyle>
            <a:lvl1pPr algn="l">
              <a:defRPr sz="900" b="0" i="0" cap="all">
                <a:solidFill>
                  <a:schemeClr val="bg1"/>
                </a:solidFill>
              </a:defRPr>
            </a:lvl1pPr>
          </a:lstStyle>
          <a:p>
            <a:r>
              <a:rPr lang="sv-SE"/>
              <a:t>26/03/2026</a:t>
            </a:r>
          </a:p>
        </p:txBody>
      </p:sp>
      <p:sp>
        <p:nvSpPr>
          <p:cNvPr id="40" name="Platshållare för bildnummer 5">
            <a:extLst>
              <a:ext uri="{FF2B5EF4-FFF2-40B4-BE49-F238E27FC236}">
                <a16:creationId xmlns:a16="http://schemas.microsoft.com/office/drawing/2014/main" id="{2A7A9742-67AC-4635-BE2A-13D00984B348}"/>
              </a:ext>
            </a:extLst>
          </p:cNvPr>
          <p:cNvSpPr>
            <a:spLocks noGrp="1"/>
          </p:cNvSpPr>
          <p:nvPr>
            <p:ph type="sldNum" sz="quarter" idx="12"/>
          </p:nvPr>
        </p:nvSpPr>
        <p:spPr>
          <a:xfrm>
            <a:off x="8383230" y="4469824"/>
            <a:ext cx="368658" cy="396987"/>
          </a:xfrm>
          <a:prstGeom prst="rect">
            <a:avLst/>
          </a:prstGeom>
          <a:noFill/>
        </p:spPr>
        <p:txBody>
          <a:bodyPr lIns="25400" tIns="0" rIns="0" bIns="0" anchor="b" anchorCtr="0"/>
          <a:lstStyle>
            <a:lvl1pPr algn="r">
              <a:defRPr sz="900">
                <a:solidFill>
                  <a:schemeClr val="bg1"/>
                </a:solidFill>
              </a:defRPr>
            </a:lvl1pPr>
          </a:lstStyle>
          <a:p>
            <a:fld id="{394EE31B-4DFC-CF4D-9A18-3F5D4D7C7302}" type="slidenum">
              <a:rPr lang="sv-SE" smtClean="0"/>
              <a:pPr/>
              <a:t>‹#›</a:t>
            </a:fld>
            <a:endParaRPr lang="sv-SE"/>
          </a:p>
        </p:txBody>
      </p:sp>
    </p:spTree>
    <p:extLst>
      <p:ext uri="{BB962C8B-B14F-4D97-AF65-F5344CB8AC3E}">
        <p14:creationId xmlns:p14="http://schemas.microsoft.com/office/powerpoint/2010/main" val="361555865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Fire tekstbokse ly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a-DK"/>
              <a:t>Klik for at indsætte overskrift i en eller to linjer</a:t>
            </a:r>
          </a:p>
        </p:txBody>
      </p:sp>
      <p:sp>
        <p:nvSpPr>
          <p:cNvPr id="15" name="Pladsholder til tekst 2"/>
          <p:cNvSpPr>
            <a:spLocks noGrp="1"/>
          </p:cNvSpPr>
          <p:nvPr>
            <p:ph type="body" sz="quarter" idx="23" hasCustomPrompt="1"/>
          </p:nvPr>
        </p:nvSpPr>
        <p:spPr>
          <a:xfrm>
            <a:off x="318643" y="1014414"/>
            <a:ext cx="1998260" cy="3482579"/>
          </a:xfrm>
          <a:prstGeom prst="roundRect">
            <a:avLst>
              <a:gd name="adj" fmla="val 0"/>
            </a:avLst>
          </a:prstGeom>
          <a:solidFill>
            <a:schemeClr val="accent5"/>
          </a:solidFill>
        </p:spPr>
        <p:txBody>
          <a:bodyPr lIns="126000" tIns="126000" rIns="126000" bIns="126000"/>
          <a:lstStyle>
            <a:lvl1pPr>
              <a:defRPr sz="1350">
                <a:solidFill>
                  <a:schemeClr val="tx1"/>
                </a:solidFill>
              </a:defRPr>
            </a:lvl1pPr>
            <a:lvl2pPr marL="172783" indent="-172783">
              <a:spcBef>
                <a:spcPts val="1200"/>
              </a:spcBef>
              <a:defRPr sz="1350">
                <a:solidFill>
                  <a:schemeClr val="tx1"/>
                </a:solidFill>
              </a:defRPr>
            </a:lvl2pPr>
            <a:lvl3pPr marL="404960" indent="-134987">
              <a:defRPr sz="1125">
                <a:solidFill>
                  <a:schemeClr val="tx1"/>
                </a:solidFill>
              </a:defRPr>
            </a:lvl3pPr>
            <a:lvl4pPr marL="539946" indent="-134987">
              <a:defRPr sz="900">
                <a:solidFill>
                  <a:schemeClr val="tx1"/>
                </a:solidFill>
              </a:defRPr>
            </a:lvl4pPr>
            <a:lvl5pPr marL="674933" indent="-134987">
              <a:defRPr sz="750">
                <a:solidFill>
                  <a:schemeClr val="tx1"/>
                </a:solidFill>
              </a:defRPr>
            </a:lvl5pPr>
            <a:lvl6pPr marL="674933" indent="-134987">
              <a:buFont typeface="Arial" panose="020B0604020202020204" pitchFamily="34" charset="0"/>
              <a:buChar char="•"/>
              <a:defRPr>
                <a:solidFill>
                  <a:schemeClr val="tx1"/>
                </a:solidFill>
              </a:defRPr>
            </a:lvl6pPr>
            <a:lvl7pPr marL="674933" indent="-134987">
              <a:buFont typeface="Arial" panose="020B0604020202020204" pitchFamily="34" charset="0"/>
              <a:buChar char="•"/>
              <a:defRPr>
                <a:solidFill>
                  <a:schemeClr val="tx1"/>
                </a:solidFill>
              </a:defRPr>
            </a:lvl7pPr>
            <a:lvl8pPr marL="674933" indent="-134987">
              <a:buFont typeface="Arial" panose="020B0604020202020204" pitchFamily="34" charset="0"/>
              <a:buChar char="•"/>
              <a:defRPr>
                <a:solidFill>
                  <a:schemeClr val="tx1"/>
                </a:solidFill>
              </a:defRPr>
            </a:lvl8pPr>
            <a:lvl9pPr marL="674933" indent="-134987">
              <a:defRPr>
                <a:solidFill>
                  <a:schemeClr val="tx1"/>
                </a:solidFill>
              </a:defRPr>
            </a:lvl9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17" name="Pladsholder til tekst 3"/>
          <p:cNvSpPr>
            <a:spLocks noGrp="1"/>
          </p:cNvSpPr>
          <p:nvPr>
            <p:ph type="body" sz="quarter" idx="28" hasCustomPrompt="1"/>
          </p:nvPr>
        </p:nvSpPr>
        <p:spPr>
          <a:xfrm>
            <a:off x="2492425" y="1015202"/>
            <a:ext cx="1998260" cy="3482579"/>
          </a:xfrm>
          <a:prstGeom prst="roundRect">
            <a:avLst>
              <a:gd name="adj" fmla="val 0"/>
            </a:avLst>
          </a:prstGeom>
          <a:solidFill>
            <a:schemeClr val="accent5"/>
          </a:solidFill>
        </p:spPr>
        <p:txBody>
          <a:bodyPr lIns="126000" tIns="126000" rIns="126000" bIns="126000"/>
          <a:lstStyle>
            <a:lvl1pPr>
              <a:defRPr sz="1350">
                <a:solidFill>
                  <a:schemeClr val="tx1"/>
                </a:solidFill>
              </a:defRPr>
            </a:lvl1pPr>
            <a:lvl2pPr marL="172783" indent="-172783">
              <a:spcBef>
                <a:spcPts val="1200"/>
              </a:spcBef>
              <a:defRPr sz="1350">
                <a:solidFill>
                  <a:schemeClr val="tx1"/>
                </a:solidFill>
              </a:defRPr>
            </a:lvl2pPr>
            <a:lvl3pPr marL="404960" indent="-134987">
              <a:defRPr sz="1125">
                <a:solidFill>
                  <a:schemeClr val="tx1"/>
                </a:solidFill>
              </a:defRPr>
            </a:lvl3pPr>
            <a:lvl4pPr marL="539946" indent="-134987">
              <a:defRPr sz="900">
                <a:solidFill>
                  <a:schemeClr val="tx1"/>
                </a:solidFill>
              </a:defRPr>
            </a:lvl4pPr>
            <a:lvl5pPr marL="674933" indent="-134987">
              <a:defRPr sz="750">
                <a:solidFill>
                  <a:schemeClr val="tx1"/>
                </a:solidFill>
              </a:defRPr>
            </a:lvl5pPr>
            <a:lvl6pPr marL="674933" indent="-134987">
              <a:buFont typeface="Arial" panose="020B0604020202020204" pitchFamily="34" charset="0"/>
              <a:buChar char="•"/>
              <a:defRPr>
                <a:solidFill>
                  <a:schemeClr val="tx1"/>
                </a:solidFill>
              </a:defRPr>
            </a:lvl6pPr>
            <a:lvl7pPr marL="674933" indent="-134987">
              <a:buFont typeface="Arial" panose="020B0604020202020204" pitchFamily="34" charset="0"/>
              <a:buChar char="•"/>
              <a:defRPr>
                <a:solidFill>
                  <a:schemeClr val="tx1"/>
                </a:solidFill>
              </a:defRPr>
            </a:lvl7pPr>
            <a:lvl8pPr marL="674933" indent="-134987">
              <a:buFont typeface="Arial" panose="020B0604020202020204" pitchFamily="34" charset="0"/>
              <a:buChar char="•"/>
              <a:defRPr>
                <a:solidFill>
                  <a:schemeClr val="tx1"/>
                </a:solidFill>
              </a:defRPr>
            </a:lvl8pPr>
            <a:lvl9pPr marL="674933" indent="-134987">
              <a:defRPr>
                <a:solidFill>
                  <a:schemeClr val="tx1"/>
                </a:solidFill>
              </a:defRPr>
            </a:lvl9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18" name="Pladsholder til tekst 4"/>
          <p:cNvSpPr>
            <a:spLocks noGrp="1"/>
          </p:cNvSpPr>
          <p:nvPr>
            <p:ph type="body" sz="quarter" idx="29" hasCustomPrompt="1"/>
          </p:nvPr>
        </p:nvSpPr>
        <p:spPr>
          <a:xfrm>
            <a:off x="4666209" y="1015202"/>
            <a:ext cx="1998260" cy="3482579"/>
          </a:xfrm>
          <a:prstGeom prst="roundRect">
            <a:avLst>
              <a:gd name="adj" fmla="val 0"/>
            </a:avLst>
          </a:prstGeom>
          <a:solidFill>
            <a:schemeClr val="accent5"/>
          </a:solidFill>
        </p:spPr>
        <p:txBody>
          <a:bodyPr lIns="126000" tIns="126000" rIns="126000" bIns="126000"/>
          <a:lstStyle>
            <a:lvl1pPr>
              <a:defRPr sz="1350">
                <a:solidFill>
                  <a:schemeClr val="tx1"/>
                </a:solidFill>
              </a:defRPr>
            </a:lvl1pPr>
            <a:lvl2pPr marL="172783" indent="-172783">
              <a:spcBef>
                <a:spcPts val="1200"/>
              </a:spcBef>
              <a:defRPr sz="1350">
                <a:solidFill>
                  <a:schemeClr val="tx1"/>
                </a:solidFill>
              </a:defRPr>
            </a:lvl2pPr>
            <a:lvl3pPr marL="404960" indent="-134987">
              <a:defRPr sz="1125">
                <a:solidFill>
                  <a:schemeClr val="tx1"/>
                </a:solidFill>
              </a:defRPr>
            </a:lvl3pPr>
            <a:lvl4pPr marL="539946" indent="-134987">
              <a:defRPr sz="900">
                <a:solidFill>
                  <a:schemeClr val="tx1"/>
                </a:solidFill>
              </a:defRPr>
            </a:lvl4pPr>
            <a:lvl5pPr marL="674933" indent="-134987">
              <a:defRPr sz="750">
                <a:solidFill>
                  <a:schemeClr val="tx1"/>
                </a:solidFill>
              </a:defRPr>
            </a:lvl5pPr>
            <a:lvl6pPr marL="674933" indent="-134987">
              <a:buFont typeface="Arial" panose="020B0604020202020204" pitchFamily="34" charset="0"/>
              <a:buChar char="•"/>
              <a:defRPr>
                <a:solidFill>
                  <a:schemeClr val="tx1"/>
                </a:solidFill>
              </a:defRPr>
            </a:lvl6pPr>
            <a:lvl7pPr marL="674933" indent="-134987">
              <a:buFont typeface="Arial" panose="020B0604020202020204" pitchFamily="34" charset="0"/>
              <a:buChar char="•"/>
              <a:defRPr>
                <a:solidFill>
                  <a:schemeClr val="tx1"/>
                </a:solidFill>
              </a:defRPr>
            </a:lvl7pPr>
            <a:lvl8pPr marL="674933" indent="-134987">
              <a:buFont typeface="Arial" panose="020B0604020202020204" pitchFamily="34" charset="0"/>
              <a:buChar char="•"/>
              <a:defRPr>
                <a:solidFill>
                  <a:schemeClr val="tx1"/>
                </a:solidFill>
              </a:defRPr>
            </a:lvl8pPr>
            <a:lvl9pPr marL="674933" indent="-134987">
              <a:defRPr>
                <a:solidFill>
                  <a:schemeClr val="tx1"/>
                </a:solidFill>
              </a:defRPr>
            </a:lvl9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16" name="Pladsholder til tekst 5"/>
          <p:cNvSpPr>
            <a:spLocks noGrp="1"/>
          </p:cNvSpPr>
          <p:nvPr>
            <p:ph type="body" sz="quarter" idx="30" hasCustomPrompt="1"/>
          </p:nvPr>
        </p:nvSpPr>
        <p:spPr>
          <a:xfrm>
            <a:off x="6826489" y="1015202"/>
            <a:ext cx="1998260" cy="3482579"/>
          </a:xfrm>
          <a:prstGeom prst="roundRect">
            <a:avLst>
              <a:gd name="adj" fmla="val 0"/>
            </a:avLst>
          </a:prstGeom>
          <a:solidFill>
            <a:schemeClr val="accent5"/>
          </a:solidFill>
        </p:spPr>
        <p:txBody>
          <a:bodyPr lIns="126000" tIns="126000" rIns="126000" bIns="126000"/>
          <a:lstStyle>
            <a:lvl1pPr>
              <a:defRPr sz="1350">
                <a:solidFill>
                  <a:schemeClr val="tx1"/>
                </a:solidFill>
              </a:defRPr>
            </a:lvl1pPr>
            <a:lvl2pPr marL="172783" indent="-172783">
              <a:spcBef>
                <a:spcPts val="1200"/>
              </a:spcBef>
              <a:defRPr sz="1350">
                <a:solidFill>
                  <a:schemeClr val="tx1"/>
                </a:solidFill>
              </a:defRPr>
            </a:lvl2pPr>
            <a:lvl3pPr marL="404960" indent="-134987">
              <a:defRPr sz="1125">
                <a:solidFill>
                  <a:schemeClr val="tx1"/>
                </a:solidFill>
              </a:defRPr>
            </a:lvl3pPr>
            <a:lvl4pPr marL="539946" indent="-134987">
              <a:defRPr sz="900">
                <a:solidFill>
                  <a:schemeClr val="tx1"/>
                </a:solidFill>
              </a:defRPr>
            </a:lvl4pPr>
            <a:lvl5pPr marL="674933" indent="-134987">
              <a:defRPr sz="750">
                <a:solidFill>
                  <a:schemeClr val="tx1"/>
                </a:solidFill>
              </a:defRPr>
            </a:lvl5pPr>
            <a:lvl6pPr marL="674933" indent="-134987">
              <a:buFont typeface="Arial" panose="020B0604020202020204" pitchFamily="34" charset="0"/>
              <a:buChar char="•"/>
              <a:defRPr>
                <a:solidFill>
                  <a:schemeClr val="tx1"/>
                </a:solidFill>
              </a:defRPr>
            </a:lvl6pPr>
            <a:lvl7pPr marL="674933" indent="-134987">
              <a:buFont typeface="Arial" panose="020B0604020202020204" pitchFamily="34" charset="0"/>
              <a:buChar char="•"/>
              <a:defRPr>
                <a:solidFill>
                  <a:schemeClr val="tx1"/>
                </a:solidFill>
              </a:defRPr>
            </a:lvl7pPr>
            <a:lvl8pPr marL="674933" indent="-134987">
              <a:buFont typeface="Arial" panose="020B0604020202020204" pitchFamily="34" charset="0"/>
              <a:buChar char="•"/>
              <a:defRPr>
                <a:solidFill>
                  <a:schemeClr val="tx1"/>
                </a:solidFill>
              </a:defRPr>
            </a:lvl8pPr>
            <a:lvl9pPr marL="674933" indent="-134987">
              <a:defRPr>
                <a:solidFill>
                  <a:schemeClr val="tx1"/>
                </a:solidFill>
              </a:defRPr>
            </a:lvl9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3" name="Pladsholder til dato 2"/>
          <p:cNvSpPr>
            <a:spLocks noGrp="1"/>
          </p:cNvSpPr>
          <p:nvPr>
            <p:ph type="dt" sz="half" idx="10"/>
          </p:nvPr>
        </p:nvSpPr>
        <p:spPr/>
        <p:txBody>
          <a:bodyPr/>
          <a:lstStyle/>
          <a:p>
            <a:r>
              <a:rPr lang="sv-SE"/>
              <a:t>26/03/2026</a:t>
            </a:r>
            <a:endParaRPr lang="da-DK"/>
          </a:p>
        </p:txBody>
      </p:sp>
      <p:sp>
        <p:nvSpPr>
          <p:cNvPr id="4" name="Pladsholder til sidefod 3" hidden="1"/>
          <p:cNvSpPr>
            <a:spLocks noGrp="1"/>
          </p:cNvSpPr>
          <p:nvPr>
            <p:ph type="ftr" sz="quarter" idx="11"/>
          </p:nvPr>
        </p:nvSpPr>
        <p:spPr/>
        <p:txBody>
          <a:bodyPr/>
          <a:lstStyle/>
          <a:p>
            <a:r>
              <a:rPr lang="en-US"/>
              <a:t>Stakeholder Forum Agenda - Classification: External</a:t>
            </a:r>
            <a:endParaRPr lang="da-DK"/>
          </a:p>
        </p:txBody>
      </p:sp>
      <p:sp>
        <p:nvSpPr>
          <p:cNvPr id="5" name="Pladsholder til diasnummer 4"/>
          <p:cNvSpPr>
            <a:spLocks noGrp="1"/>
          </p:cNvSpPr>
          <p:nvPr>
            <p:ph type="sldNum" sz="quarter" idx="12"/>
          </p:nvPr>
        </p:nvSpPr>
        <p:spPr/>
        <p:txBody>
          <a:bodyPr/>
          <a:lstStyle/>
          <a:p>
            <a:fld id="{667EC89C-17A0-4E64-A6D2-B825673CEEDF}" type="slidenum">
              <a:rPr lang="da-DK" smtClean="0"/>
              <a:pPr/>
              <a:t>‹#›</a:t>
            </a:fld>
            <a:endParaRPr lang="da-DK"/>
          </a:p>
        </p:txBody>
      </p:sp>
      <p:grpSp>
        <p:nvGrpSpPr>
          <p:cNvPr id="24" name="Gruppe 23"/>
          <p:cNvGrpSpPr/>
          <p:nvPr userDrawn="1"/>
        </p:nvGrpSpPr>
        <p:grpSpPr>
          <a:xfrm>
            <a:off x="-1215674" y="1015605"/>
            <a:ext cx="1107114" cy="1826177"/>
            <a:chOff x="-1620688" y="1354138"/>
            <a:chExt cx="1475960" cy="2434902"/>
          </a:xfrm>
        </p:grpSpPr>
        <p:sp>
          <p:nvSpPr>
            <p:cNvPr id="25" name="Tekstboks 24"/>
            <p:cNvSpPr txBox="1"/>
            <p:nvPr userDrawn="1"/>
          </p:nvSpPr>
          <p:spPr>
            <a:xfrm>
              <a:off x="-1620688" y="1354138"/>
              <a:ext cx="1475960" cy="2434902"/>
            </a:xfrm>
            <a:prstGeom prst="rect">
              <a:avLst/>
            </a:prstGeom>
            <a:noFill/>
          </p:spPr>
          <p:txBody>
            <a:bodyPr wrap="square" lIns="0" tIns="0" rIns="0" bIns="0" rtlCol="0">
              <a:noAutofit/>
            </a:bodyPr>
            <a:lstStyle/>
            <a:p>
              <a:pPr algn="r"/>
              <a:r>
                <a:rPr lang="da-DK" sz="675" b="1">
                  <a:solidFill>
                    <a:schemeClr val="bg1">
                      <a:lumMod val="50000"/>
                    </a:schemeClr>
                  </a:solidFill>
                </a:rPr>
                <a:t>Tekst-typografier</a:t>
              </a:r>
            </a:p>
            <a:p>
              <a:pPr algn="r"/>
              <a:r>
                <a:rPr lang="da-DK" sz="675" b="0">
                  <a:solidFill>
                    <a:schemeClr val="bg1">
                      <a:lumMod val="50000"/>
                    </a:schemeClr>
                  </a:solidFill>
                </a:rPr>
                <a:t>Brug </a:t>
              </a:r>
              <a:r>
                <a:rPr lang="da-DK" sz="675" b="1">
                  <a:solidFill>
                    <a:schemeClr val="bg1">
                      <a:lumMod val="50000"/>
                    </a:schemeClr>
                  </a:solidFill>
                </a:rPr>
                <a:t>TAB</a:t>
              </a:r>
              <a:r>
                <a:rPr lang="da-DK" sz="675" b="0">
                  <a:solidFill>
                    <a:schemeClr val="bg1">
                      <a:lumMod val="50000"/>
                    </a:schemeClr>
                  </a:solidFill>
                </a:rPr>
                <a:t> for at gå frem</a:t>
              </a:r>
            </a:p>
            <a:p>
              <a:pPr algn="r"/>
              <a:r>
                <a:rPr lang="da-DK" sz="675" b="0">
                  <a:solidFill>
                    <a:schemeClr val="bg1">
                      <a:lumMod val="50000"/>
                    </a:schemeClr>
                  </a:solidFill>
                </a:rPr>
                <a:t>i tekst-niveauer</a:t>
              </a:r>
            </a:p>
            <a:p>
              <a:pPr algn="r"/>
              <a:endParaRPr lang="da-DK" sz="675" b="0">
                <a:solidFill>
                  <a:schemeClr val="bg1">
                    <a:lumMod val="50000"/>
                  </a:schemeClr>
                </a:solidFill>
              </a:endParaRPr>
            </a:p>
            <a:p>
              <a:pPr algn="l"/>
              <a:r>
                <a:rPr lang="da-DK" sz="675" b="0">
                  <a:solidFill>
                    <a:schemeClr val="bg1">
                      <a:lumMod val="50000"/>
                    </a:schemeClr>
                  </a:solidFill>
                </a:rPr>
                <a:t>Klik for at indsætte tekst</a:t>
              </a:r>
            </a:p>
            <a:p>
              <a:pPr marL="80992" indent="-80992" algn="l">
                <a:buFont typeface="Arial" panose="020B0604020202020204" pitchFamily="34" charset="0"/>
                <a:buChar char="•"/>
              </a:pPr>
              <a:r>
                <a:rPr lang="da-DK" sz="675" b="0">
                  <a:solidFill>
                    <a:schemeClr val="bg1">
                      <a:lumMod val="50000"/>
                    </a:schemeClr>
                  </a:solidFill>
                </a:rPr>
                <a:t>Andet niveau</a:t>
              </a:r>
            </a:p>
            <a:p>
              <a:pPr marL="215978" indent="-80992" algn="l">
                <a:buFont typeface="Arial" panose="020B0604020202020204" pitchFamily="34" charset="0"/>
                <a:buChar char="•"/>
              </a:pPr>
              <a:r>
                <a:rPr lang="da-DK" sz="600" b="0">
                  <a:solidFill>
                    <a:schemeClr val="bg1">
                      <a:lumMod val="50000"/>
                    </a:schemeClr>
                  </a:solidFill>
                </a:rPr>
                <a:t>Tredje niveau</a:t>
              </a:r>
            </a:p>
            <a:p>
              <a:pPr marL="350965" indent="-80992" algn="l">
                <a:buFont typeface="Arial" panose="020B0604020202020204" pitchFamily="34" charset="0"/>
                <a:buChar char="•"/>
              </a:pPr>
              <a:r>
                <a:rPr lang="da-DK" sz="450" b="0">
                  <a:solidFill>
                    <a:schemeClr val="bg1">
                      <a:lumMod val="50000"/>
                    </a:schemeClr>
                  </a:solidFill>
                </a:rPr>
                <a:t>Fjerde niveau</a:t>
              </a:r>
            </a:p>
            <a:p>
              <a:pPr marL="458954" indent="-80992" algn="l">
                <a:buFont typeface="Arial" panose="020B0604020202020204" pitchFamily="34" charset="0"/>
                <a:buChar char="•"/>
              </a:pPr>
              <a:r>
                <a:rPr lang="da-DK" sz="450" b="0">
                  <a:solidFill>
                    <a:schemeClr val="bg1">
                      <a:lumMod val="50000"/>
                    </a:schemeClr>
                  </a:solidFill>
                </a:rPr>
                <a:t>Femte niveau</a:t>
              </a:r>
            </a:p>
            <a:p>
              <a:pPr algn="r"/>
              <a:endParaRPr lang="da-DK" sz="675" b="0">
                <a:solidFill>
                  <a:schemeClr val="bg1">
                    <a:lumMod val="50000"/>
                  </a:schemeClr>
                </a:solidFill>
              </a:endParaRPr>
            </a:p>
            <a:p>
              <a:pPr algn="r"/>
              <a:r>
                <a:rPr lang="da-DK" sz="675" b="0">
                  <a:solidFill>
                    <a:schemeClr val="bg1">
                      <a:lumMod val="50000"/>
                    </a:schemeClr>
                  </a:solidFill>
                </a:rPr>
                <a:t>For at gå tilbage i tekst-niveauer,</a:t>
              </a:r>
            </a:p>
            <a:p>
              <a:pPr algn="r"/>
              <a:r>
                <a:rPr lang="da-DK" sz="675" b="0">
                  <a:solidFill>
                    <a:schemeClr val="bg1">
                      <a:lumMod val="50000"/>
                    </a:schemeClr>
                  </a:solidFill>
                </a:rPr>
                <a:t>brug </a:t>
              </a:r>
              <a:r>
                <a:rPr lang="da-DK" sz="675" b="1">
                  <a:solidFill>
                    <a:schemeClr val="bg1">
                      <a:lumMod val="50000"/>
                    </a:schemeClr>
                  </a:solidFill>
                </a:rPr>
                <a:t>SHIFT + TAB</a:t>
              </a:r>
            </a:p>
            <a:p>
              <a:pPr algn="r"/>
              <a:endParaRPr lang="da-DK" sz="675" b="0">
                <a:solidFill>
                  <a:schemeClr val="bg1">
                    <a:lumMod val="50000"/>
                  </a:schemeClr>
                </a:solidFill>
              </a:endParaRPr>
            </a:p>
            <a:p>
              <a:pPr algn="r"/>
              <a:endParaRPr lang="da-DK" sz="675" b="0">
                <a:solidFill>
                  <a:schemeClr val="bg1">
                    <a:lumMod val="50000"/>
                  </a:schemeClr>
                </a:solidFill>
              </a:endParaRPr>
            </a:p>
            <a:p>
              <a:pPr algn="r"/>
              <a:r>
                <a:rPr lang="da-DK" sz="675" b="0">
                  <a:solidFill>
                    <a:schemeClr val="bg1">
                      <a:lumMod val="50000"/>
                    </a:schemeClr>
                  </a:solidFill>
                </a:rPr>
                <a:t>Alternativt kan</a:t>
              </a:r>
            </a:p>
            <a:p>
              <a:pPr algn="r"/>
              <a:r>
                <a:rPr lang="da-DK" sz="675" b="1">
                  <a:solidFill>
                    <a:schemeClr val="bg1">
                      <a:lumMod val="50000"/>
                    </a:schemeClr>
                  </a:solidFill>
                </a:rPr>
                <a:t>Forøg og Formindsk </a:t>
              </a:r>
            </a:p>
            <a:p>
              <a:pPr algn="r"/>
              <a:r>
                <a:rPr lang="da-DK" sz="675" b="0">
                  <a:solidFill>
                    <a:schemeClr val="bg1">
                      <a:lumMod val="50000"/>
                    </a:schemeClr>
                  </a:solidFill>
                </a:rPr>
                <a:t>listeniveau bruges</a:t>
              </a:r>
            </a:p>
          </p:txBody>
        </p:sp>
        <p:grpSp>
          <p:nvGrpSpPr>
            <p:cNvPr id="26" name="Gruppe 25"/>
            <p:cNvGrpSpPr/>
            <p:nvPr userDrawn="1"/>
          </p:nvGrpSpPr>
          <p:grpSpPr>
            <a:xfrm>
              <a:off x="-503503" y="3048030"/>
              <a:ext cx="358775" cy="236537"/>
              <a:chOff x="-503503" y="3171825"/>
              <a:chExt cx="358775" cy="236537"/>
            </a:xfrm>
          </p:grpSpPr>
          <p:pic>
            <p:nvPicPr>
              <p:cNvPr id="2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3503" y="3171825"/>
                <a:ext cx="358775" cy="2365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 name="Afrundet rektangel 27"/>
              <p:cNvSpPr/>
              <p:nvPr userDrawn="1"/>
            </p:nvSpPr>
            <p:spPr>
              <a:xfrm>
                <a:off x="-503503" y="3171825"/>
                <a:ext cx="179387" cy="236537"/>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sz="750"/>
              </a:p>
            </p:txBody>
          </p:sp>
        </p:grpSp>
      </p:grpSp>
      <p:sp>
        <p:nvSpPr>
          <p:cNvPr id="29" name="Tekstboks 28"/>
          <p:cNvSpPr txBox="1"/>
          <p:nvPr userDrawn="1"/>
        </p:nvSpPr>
        <p:spPr>
          <a:xfrm>
            <a:off x="-1585485" y="0"/>
            <a:ext cx="1450682" cy="573528"/>
          </a:xfrm>
          <a:prstGeom prst="rect">
            <a:avLst/>
          </a:prstGeom>
          <a:noFill/>
        </p:spPr>
        <p:txBody>
          <a:bodyPr wrap="square" lIns="0" tIns="0" rIns="0" bIns="0" rtlCol="0">
            <a:noAutofit/>
          </a:bodyPr>
          <a:lstStyle/>
          <a:p>
            <a:pPr algn="r"/>
            <a:r>
              <a:rPr lang="da-DK" sz="675" b="1" noProof="1">
                <a:solidFill>
                  <a:schemeClr val="bg1">
                    <a:lumMod val="50000"/>
                  </a:schemeClr>
                </a:solidFill>
              </a:rPr>
              <a:t>Boks:</a:t>
            </a:r>
          </a:p>
          <a:p>
            <a:pPr algn="r"/>
            <a:r>
              <a:rPr lang="da-DK" sz="675" b="0" noProof="1">
                <a:solidFill>
                  <a:schemeClr val="bg1">
                    <a:lumMod val="50000"/>
                  </a:schemeClr>
                </a:solidFill>
              </a:rPr>
              <a:t>Mellemrubrik skrives enten med fed eller store bogstaver i regular</a:t>
            </a:r>
          </a:p>
          <a:p>
            <a:pPr algn="r"/>
            <a:endParaRPr lang="da-DK" sz="675" b="0" noProof="1">
              <a:solidFill>
                <a:schemeClr val="bg1">
                  <a:lumMod val="50000"/>
                </a:schemeClr>
              </a:solidFill>
            </a:endParaRPr>
          </a:p>
          <a:p>
            <a:pPr algn="r"/>
            <a:r>
              <a:rPr lang="da-DK" sz="675" b="0" noProof="1">
                <a:solidFill>
                  <a:schemeClr val="bg1">
                    <a:lumMod val="50000"/>
                  </a:schemeClr>
                </a:solidFill>
              </a:rPr>
              <a:t>Denne farve er egnet til print</a:t>
            </a:r>
          </a:p>
        </p:txBody>
      </p:sp>
    </p:spTree>
    <p:extLst>
      <p:ext uri="{BB962C8B-B14F-4D97-AF65-F5344CB8AC3E}">
        <p14:creationId xmlns:p14="http://schemas.microsoft.com/office/powerpoint/2010/main" val="365254602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Fire tekstbokse bred mørk">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a-DK"/>
              <a:t>Klik for at indsætte overskrift i en eller to linjer</a:t>
            </a:r>
          </a:p>
        </p:txBody>
      </p:sp>
      <p:sp>
        <p:nvSpPr>
          <p:cNvPr id="18" name="Pladsholder til tekst 2"/>
          <p:cNvSpPr>
            <a:spLocks noGrp="1"/>
          </p:cNvSpPr>
          <p:nvPr>
            <p:ph type="body" sz="quarter" idx="29" hasCustomPrompt="1"/>
          </p:nvPr>
        </p:nvSpPr>
        <p:spPr>
          <a:xfrm>
            <a:off x="318642" y="1014411"/>
            <a:ext cx="4185545" cy="1674000"/>
          </a:xfrm>
          <a:prstGeom prst="roundRect">
            <a:avLst>
              <a:gd name="adj" fmla="val 0"/>
            </a:avLst>
          </a:prstGeom>
          <a:solidFill>
            <a:srgbClr val="666666"/>
          </a:solidFill>
        </p:spPr>
        <p:txBody>
          <a:bodyPr lIns="126000" tIns="126000" rIns="126000" bIns="126000"/>
          <a:lstStyle>
            <a:lvl1pPr>
              <a:defRPr sz="1350">
                <a:solidFill>
                  <a:schemeClr val="bg1"/>
                </a:solidFill>
              </a:defRPr>
            </a:lvl1pPr>
            <a:lvl2pPr marL="172783" indent="-172783">
              <a:spcBef>
                <a:spcPts val="1200"/>
              </a:spcBef>
              <a:defRPr sz="1350">
                <a:solidFill>
                  <a:schemeClr val="bg1"/>
                </a:solidFill>
              </a:defRPr>
            </a:lvl2pPr>
            <a:lvl3pPr marL="404960" indent="-134987">
              <a:defRPr sz="1125">
                <a:solidFill>
                  <a:schemeClr val="bg1"/>
                </a:solidFill>
              </a:defRPr>
            </a:lvl3pPr>
            <a:lvl4pPr marL="539946" indent="-134987">
              <a:defRPr sz="900">
                <a:solidFill>
                  <a:schemeClr val="bg1"/>
                </a:solidFill>
              </a:defRPr>
            </a:lvl4pPr>
            <a:lvl5pPr marL="674933" indent="-134987">
              <a:defRPr sz="750">
                <a:solidFill>
                  <a:schemeClr val="bg1"/>
                </a:solidFill>
              </a:defRPr>
            </a:lvl5pPr>
            <a:lvl6pPr marL="674933" indent="-134987">
              <a:buFont typeface="Arial" panose="020B0604020202020204" pitchFamily="34" charset="0"/>
              <a:buChar char="•"/>
              <a:defRPr>
                <a:solidFill>
                  <a:schemeClr val="bg1"/>
                </a:solidFill>
              </a:defRPr>
            </a:lvl6pPr>
            <a:lvl7pPr marL="674933" indent="-134987">
              <a:buFont typeface="Arial" panose="020B0604020202020204" pitchFamily="34" charset="0"/>
              <a:buChar char="•"/>
              <a:defRPr>
                <a:solidFill>
                  <a:schemeClr val="bg1"/>
                </a:solidFill>
              </a:defRPr>
            </a:lvl7pPr>
            <a:lvl8pPr marL="674933" indent="-134987">
              <a:buFont typeface="Arial" panose="020B0604020202020204" pitchFamily="34" charset="0"/>
              <a:buChar char="•"/>
              <a:defRPr>
                <a:solidFill>
                  <a:schemeClr val="bg1"/>
                </a:solidFill>
              </a:defRPr>
            </a:lvl8pPr>
            <a:lvl9pPr marL="674933" indent="-134987">
              <a:defRPr>
                <a:solidFill>
                  <a:schemeClr val="bg1"/>
                </a:solidFill>
              </a:defRPr>
            </a:lvl9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20" name="Pladsholder til tekst 3"/>
          <p:cNvSpPr>
            <a:spLocks noGrp="1"/>
          </p:cNvSpPr>
          <p:nvPr>
            <p:ph type="body" sz="quarter" idx="30" hasCustomPrompt="1"/>
          </p:nvPr>
        </p:nvSpPr>
        <p:spPr>
          <a:xfrm>
            <a:off x="318642" y="2802600"/>
            <a:ext cx="4185545" cy="1674000"/>
          </a:xfrm>
          <a:prstGeom prst="roundRect">
            <a:avLst>
              <a:gd name="adj" fmla="val 0"/>
            </a:avLst>
          </a:prstGeom>
          <a:solidFill>
            <a:srgbClr val="666666"/>
          </a:solidFill>
        </p:spPr>
        <p:txBody>
          <a:bodyPr lIns="126000" tIns="126000" rIns="126000" bIns="126000"/>
          <a:lstStyle>
            <a:lvl1pPr>
              <a:defRPr sz="1350">
                <a:solidFill>
                  <a:schemeClr val="bg1"/>
                </a:solidFill>
              </a:defRPr>
            </a:lvl1pPr>
            <a:lvl2pPr marL="172783" indent="-172783">
              <a:spcBef>
                <a:spcPts val="1200"/>
              </a:spcBef>
              <a:defRPr sz="1350">
                <a:solidFill>
                  <a:schemeClr val="bg1"/>
                </a:solidFill>
              </a:defRPr>
            </a:lvl2pPr>
            <a:lvl3pPr marL="404960" indent="-134987">
              <a:defRPr sz="1125">
                <a:solidFill>
                  <a:schemeClr val="bg1"/>
                </a:solidFill>
              </a:defRPr>
            </a:lvl3pPr>
            <a:lvl4pPr marL="539946" indent="-134987">
              <a:defRPr sz="900">
                <a:solidFill>
                  <a:schemeClr val="bg1"/>
                </a:solidFill>
              </a:defRPr>
            </a:lvl4pPr>
            <a:lvl5pPr marL="674933" indent="-134987">
              <a:defRPr sz="750">
                <a:solidFill>
                  <a:schemeClr val="bg1"/>
                </a:solidFill>
              </a:defRPr>
            </a:lvl5pPr>
            <a:lvl6pPr marL="674933" indent="-134987">
              <a:buFont typeface="Arial" panose="020B0604020202020204" pitchFamily="34" charset="0"/>
              <a:buChar char="•"/>
              <a:defRPr>
                <a:solidFill>
                  <a:schemeClr val="bg1"/>
                </a:solidFill>
              </a:defRPr>
            </a:lvl6pPr>
            <a:lvl7pPr marL="674933" indent="-134987">
              <a:buFont typeface="Arial" panose="020B0604020202020204" pitchFamily="34" charset="0"/>
              <a:buChar char="•"/>
              <a:defRPr>
                <a:solidFill>
                  <a:schemeClr val="bg1"/>
                </a:solidFill>
              </a:defRPr>
            </a:lvl7pPr>
            <a:lvl8pPr marL="674933" indent="-134987">
              <a:buFont typeface="Arial" panose="020B0604020202020204" pitchFamily="34" charset="0"/>
              <a:buChar char="•"/>
              <a:defRPr>
                <a:solidFill>
                  <a:schemeClr val="bg1"/>
                </a:solidFill>
              </a:defRPr>
            </a:lvl8pPr>
            <a:lvl9pPr marL="674933" indent="-134987">
              <a:defRPr>
                <a:solidFill>
                  <a:schemeClr val="bg1"/>
                </a:solidFill>
              </a:defRPr>
            </a:lvl9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21" name="Pladsholder til tekst 4"/>
          <p:cNvSpPr>
            <a:spLocks noGrp="1"/>
          </p:cNvSpPr>
          <p:nvPr>
            <p:ph type="body" sz="quarter" idx="31" hasCustomPrompt="1"/>
          </p:nvPr>
        </p:nvSpPr>
        <p:spPr>
          <a:xfrm>
            <a:off x="4639204" y="1014412"/>
            <a:ext cx="4185545" cy="1674000"/>
          </a:xfrm>
          <a:prstGeom prst="roundRect">
            <a:avLst>
              <a:gd name="adj" fmla="val 0"/>
            </a:avLst>
          </a:prstGeom>
          <a:solidFill>
            <a:srgbClr val="666666"/>
          </a:solidFill>
        </p:spPr>
        <p:txBody>
          <a:bodyPr lIns="126000" tIns="126000" rIns="126000" bIns="126000"/>
          <a:lstStyle>
            <a:lvl1pPr>
              <a:defRPr sz="1350">
                <a:solidFill>
                  <a:schemeClr val="bg1"/>
                </a:solidFill>
              </a:defRPr>
            </a:lvl1pPr>
            <a:lvl2pPr marL="172783" indent="-172783">
              <a:spcBef>
                <a:spcPts val="1200"/>
              </a:spcBef>
              <a:defRPr sz="1350">
                <a:solidFill>
                  <a:schemeClr val="bg1"/>
                </a:solidFill>
              </a:defRPr>
            </a:lvl2pPr>
            <a:lvl3pPr marL="404960" indent="-134987">
              <a:defRPr sz="1125">
                <a:solidFill>
                  <a:schemeClr val="bg1"/>
                </a:solidFill>
              </a:defRPr>
            </a:lvl3pPr>
            <a:lvl4pPr marL="539946" indent="-134987">
              <a:defRPr sz="900">
                <a:solidFill>
                  <a:schemeClr val="bg1"/>
                </a:solidFill>
              </a:defRPr>
            </a:lvl4pPr>
            <a:lvl5pPr marL="674933" indent="-134987">
              <a:defRPr sz="750">
                <a:solidFill>
                  <a:schemeClr val="bg1"/>
                </a:solidFill>
              </a:defRPr>
            </a:lvl5pPr>
            <a:lvl6pPr marL="674933" indent="-134987">
              <a:buFont typeface="Arial" panose="020B0604020202020204" pitchFamily="34" charset="0"/>
              <a:buChar char="•"/>
              <a:defRPr>
                <a:solidFill>
                  <a:schemeClr val="bg1"/>
                </a:solidFill>
              </a:defRPr>
            </a:lvl6pPr>
            <a:lvl7pPr marL="674933" indent="-134987">
              <a:buFont typeface="Arial" panose="020B0604020202020204" pitchFamily="34" charset="0"/>
              <a:buChar char="•"/>
              <a:defRPr>
                <a:solidFill>
                  <a:schemeClr val="bg1"/>
                </a:solidFill>
              </a:defRPr>
            </a:lvl7pPr>
            <a:lvl8pPr marL="674933" indent="-134987">
              <a:buFont typeface="Arial" panose="020B0604020202020204" pitchFamily="34" charset="0"/>
              <a:buChar char="•"/>
              <a:defRPr>
                <a:solidFill>
                  <a:schemeClr val="bg1"/>
                </a:solidFill>
              </a:defRPr>
            </a:lvl8pPr>
            <a:lvl9pPr marL="674933" indent="-134987">
              <a:defRPr>
                <a:solidFill>
                  <a:schemeClr val="bg1"/>
                </a:solidFill>
              </a:defRPr>
            </a:lvl9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22" name="Pladsholder til tekst 5"/>
          <p:cNvSpPr>
            <a:spLocks noGrp="1"/>
          </p:cNvSpPr>
          <p:nvPr>
            <p:ph type="body" sz="quarter" idx="32" hasCustomPrompt="1"/>
          </p:nvPr>
        </p:nvSpPr>
        <p:spPr>
          <a:xfrm>
            <a:off x="4639204" y="2802600"/>
            <a:ext cx="4185545" cy="1674000"/>
          </a:xfrm>
          <a:prstGeom prst="roundRect">
            <a:avLst>
              <a:gd name="adj" fmla="val 0"/>
            </a:avLst>
          </a:prstGeom>
          <a:solidFill>
            <a:srgbClr val="666666"/>
          </a:solidFill>
        </p:spPr>
        <p:txBody>
          <a:bodyPr lIns="126000" tIns="126000" rIns="126000" bIns="126000"/>
          <a:lstStyle>
            <a:lvl1pPr>
              <a:defRPr sz="1350">
                <a:solidFill>
                  <a:schemeClr val="bg1"/>
                </a:solidFill>
              </a:defRPr>
            </a:lvl1pPr>
            <a:lvl2pPr marL="172783" indent="-172783">
              <a:spcBef>
                <a:spcPts val="1200"/>
              </a:spcBef>
              <a:defRPr sz="1350">
                <a:solidFill>
                  <a:schemeClr val="bg1"/>
                </a:solidFill>
              </a:defRPr>
            </a:lvl2pPr>
            <a:lvl3pPr marL="404960" indent="-134987">
              <a:defRPr sz="1125">
                <a:solidFill>
                  <a:schemeClr val="bg1"/>
                </a:solidFill>
              </a:defRPr>
            </a:lvl3pPr>
            <a:lvl4pPr marL="539946" indent="-134987">
              <a:defRPr sz="900">
                <a:solidFill>
                  <a:schemeClr val="bg1"/>
                </a:solidFill>
              </a:defRPr>
            </a:lvl4pPr>
            <a:lvl5pPr marL="674933" indent="-134987">
              <a:defRPr sz="750">
                <a:solidFill>
                  <a:schemeClr val="bg1"/>
                </a:solidFill>
              </a:defRPr>
            </a:lvl5pPr>
            <a:lvl6pPr marL="674933" indent="-134987">
              <a:buFont typeface="Arial" panose="020B0604020202020204" pitchFamily="34" charset="0"/>
              <a:buChar char="•"/>
              <a:defRPr>
                <a:solidFill>
                  <a:schemeClr val="bg1"/>
                </a:solidFill>
              </a:defRPr>
            </a:lvl6pPr>
            <a:lvl7pPr marL="674933" indent="-134987">
              <a:buFont typeface="Arial" panose="020B0604020202020204" pitchFamily="34" charset="0"/>
              <a:buChar char="•"/>
              <a:defRPr>
                <a:solidFill>
                  <a:schemeClr val="bg1"/>
                </a:solidFill>
              </a:defRPr>
            </a:lvl7pPr>
            <a:lvl8pPr marL="674933" indent="-134987">
              <a:buFont typeface="Arial" panose="020B0604020202020204" pitchFamily="34" charset="0"/>
              <a:buChar char="•"/>
              <a:defRPr>
                <a:solidFill>
                  <a:schemeClr val="bg1"/>
                </a:solidFill>
              </a:defRPr>
            </a:lvl8pPr>
            <a:lvl9pPr marL="674933" indent="-134987">
              <a:defRPr>
                <a:solidFill>
                  <a:schemeClr val="bg1"/>
                </a:solidFill>
              </a:defRPr>
            </a:lvl9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3" name="Pladsholder til dato 2"/>
          <p:cNvSpPr>
            <a:spLocks noGrp="1"/>
          </p:cNvSpPr>
          <p:nvPr>
            <p:ph type="dt" sz="half" idx="10"/>
          </p:nvPr>
        </p:nvSpPr>
        <p:spPr/>
        <p:txBody>
          <a:bodyPr/>
          <a:lstStyle/>
          <a:p>
            <a:r>
              <a:rPr lang="sv-SE"/>
              <a:t>26/03/2026</a:t>
            </a:r>
            <a:endParaRPr lang="da-DK"/>
          </a:p>
        </p:txBody>
      </p:sp>
      <p:sp>
        <p:nvSpPr>
          <p:cNvPr id="4" name="Pladsholder til sidefod 3" hidden="1"/>
          <p:cNvSpPr>
            <a:spLocks noGrp="1"/>
          </p:cNvSpPr>
          <p:nvPr>
            <p:ph type="ftr" sz="quarter" idx="11"/>
          </p:nvPr>
        </p:nvSpPr>
        <p:spPr/>
        <p:txBody>
          <a:bodyPr/>
          <a:lstStyle/>
          <a:p>
            <a:r>
              <a:rPr lang="en-US"/>
              <a:t>Stakeholder Forum Agenda - Classification: External</a:t>
            </a:r>
            <a:endParaRPr lang="da-DK"/>
          </a:p>
        </p:txBody>
      </p:sp>
      <p:sp>
        <p:nvSpPr>
          <p:cNvPr id="5" name="Pladsholder til diasnummer 4"/>
          <p:cNvSpPr>
            <a:spLocks noGrp="1"/>
          </p:cNvSpPr>
          <p:nvPr>
            <p:ph type="sldNum" sz="quarter" idx="12"/>
          </p:nvPr>
        </p:nvSpPr>
        <p:spPr/>
        <p:txBody>
          <a:bodyPr/>
          <a:lstStyle/>
          <a:p>
            <a:fld id="{667EC89C-17A0-4E64-A6D2-B825673CEEDF}" type="slidenum">
              <a:rPr lang="da-DK" smtClean="0"/>
              <a:pPr/>
              <a:t>‹#›</a:t>
            </a:fld>
            <a:endParaRPr lang="da-DK"/>
          </a:p>
        </p:txBody>
      </p:sp>
      <p:grpSp>
        <p:nvGrpSpPr>
          <p:cNvPr id="25" name="Gruppe 24"/>
          <p:cNvGrpSpPr/>
          <p:nvPr userDrawn="1"/>
        </p:nvGrpSpPr>
        <p:grpSpPr>
          <a:xfrm>
            <a:off x="-1215674" y="1015605"/>
            <a:ext cx="1107114" cy="1826177"/>
            <a:chOff x="-1620688" y="1354138"/>
            <a:chExt cx="1475960" cy="2434902"/>
          </a:xfrm>
        </p:grpSpPr>
        <p:sp>
          <p:nvSpPr>
            <p:cNvPr id="26" name="Tekstboks 25"/>
            <p:cNvSpPr txBox="1"/>
            <p:nvPr userDrawn="1"/>
          </p:nvSpPr>
          <p:spPr>
            <a:xfrm>
              <a:off x="-1620688" y="1354138"/>
              <a:ext cx="1475960" cy="2434902"/>
            </a:xfrm>
            <a:prstGeom prst="rect">
              <a:avLst/>
            </a:prstGeom>
            <a:noFill/>
          </p:spPr>
          <p:txBody>
            <a:bodyPr wrap="square" lIns="0" tIns="0" rIns="0" bIns="0" rtlCol="0">
              <a:noAutofit/>
            </a:bodyPr>
            <a:lstStyle/>
            <a:p>
              <a:pPr algn="r"/>
              <a:r>
                <a:rPr lang="da-DK" sz="675" b="1">
                  <a:solidFill>
                    <a:schemeClr val="bg1">
                      <a:lumMod val="50000"/>
                    </a:schemeClr>
                  </a:solidFill>
                </a:rPr>
                <a:t>Tekst-typografier</a:t>
              </a:r>
            </a:p>
            <a:p>
              <a:pPr algn="r"/>
              <a:r>
                <a:rPr lang="da-DK" sz="675" b="0">
                  <a:solidFill>
                    <a:schemeClr val="bg1">
                      <a:lumMod val="50000"/>
                    </a:schemeClr>
                  </a:solidFill>
                </a:rPr>
                <a:t>Brug </a:t>
              </a:r>
              <a:r>
                <a:rPr lang="da-DK" sz="675" b="1">
                  <a:solidFill>
                    <a:schemeClr val="bg1">
                      <a:lumMod val="50000"/>
                    </a:schemeClr>
                  </a:solidFill>
                </a:rPr>
                <a:t>TAB</a:t>
              </a:r>
              <a:r>
                <a:rPr lang="da-DK" sz="675" b="0">
                  <a:solidFill>
                    <a:schemeClr val="bg1">
                      <a:lumMod val="50000"/>
                    </a:schemeClr>
                  </a:solidFill>
                </a:rPr>
                <a:t> for at gå frem</a:t>
              </a:r>
            </a:p>
            <a:p>
              <a:pPr algn="r"/>
              <a:r>
                <a:rPr lang="da-DK" sz="675" b="0">
                  <a:solidFill>
                    <a:schemeClr val="bg1">
                      <a:lumMod val="50000"/>
                    </a:schemeClr>
                  </a:solidFill>
                </a:rPr>
                <a:t>i tekst-niveauer</a:t>
              </a:r>
            </a:p>
            <a:p>
              <a:pPr algn="r"/>
              <a:endParaRPr lang="da-DK" sz="675" b="0">
                <a:solidFill>
                  <a:schemeClr val="bg1">
                    <a:lumMod val="50000"/>
                  </a:schemeClr>
                </a:solidFill>
              </a:endParaRPr>
            </a:p>
            <a:p>
              <a:pPr algn="l"/>
              <a:r>
                <a:rPr lang="da-DK" sz="675" b="0">
                  <a:solidFill>
                    <a:schemeClr val="bg1">
                      <a:lumMod val="50000"/>
                    </a:schemeClr>
                  </a:solidFill>
                </a:rPr>
                <a:t>Klik for at indsætte tekst</a:t>
              </a:r>
            </a:p>
            <a:p>
              <a:pPr marL="80992" indent="-80992" algn="l">
                <a:buFont typeface="Arial" panose="020B0604020202020204" pitchFamily="34" charset="0"/>
                <a:buChar char="•"/>
              </a:pPr>
              <a:r>
                <a:rPr lang="da-DK" sz="675" b="0">
                  <a:solidFill>
                    <a:schemeClr val="bg1">
                      <a:lumMod val="50000"/>
                    </a:schemeClr>
                  </a:solidFill>
                </a:rPr>
                <a:t>Andet niveau</a:t>
              </a:r>
            </a:p>
            <a:p>
              <a:pPr marL="215978" indent="-80992" algn="l">
                <a:buFont typeface="Arial" panose="020B0604020202020204" pitchFamily="34" charset="0"/>
                <a:buChar char="•"/>
              </a:pPr>
              <a:r>
                <a:rPr lang="da-DK" sz="600" b="0">
                  <a:solidFill>
                    <a:schemeClr val="bg1">
                      <a:lumMod val="50000"/>
                    </a:schemeClr>
                  </a:solidFill>
                </a:rPr>
                <a:t>Tredje niveau</a:t>
              </a:r>
            </a:p>
            <a:p>
              <a:pPr marL="350965" indent="-80992" algn="l">
                <a:buFont typeface="Arial" panose="020B0604020202020204" pitchFamily="34" charset="0"/>
                <a:buChar char="•"/>
              </a:pPr>
              <a:r>
                <a:rPr lang="da-DK" sz="450" b="0">
                  <a:solidFill>
                    <a:schemeClr val="bg1">
                      <a:lumMod val="50000"/>
                    </a:schemeClr>
                  </a:solidFill>
                </a:rPr>
                <a:t>Fjerde niveau</a:t>
              </a:r>
            </a:p>
            <a:p>
              <a:pPr marL="458954" indent="-80992" algn="l">
                <a:buFont typeface="Arial" panose="020B0604020202020204" pitchFamily="34" charset="0"/>
                <a:buChar char="•"/>
              </a:pPr>
              <a:r>
                <a:rPr lang="da-DK" sz="450" b="0">
                  <a:solidFill>
                    <a:schemeClr val="bg1">
                      <a:lumMod val="50000"/>
                    </a:schemeClr>
                  </a:solidFill>
                </a:rPr>
                <a:t>Femte niveau</a:t>
              </a:r>
            </a:p>
            <a:p>
              <a:pPr algn="r"/>
              <a:endParaRPr lang="da-DK" sz="675" b="0">
                <a:solidFill>
                  <a:schemeClr val="bg1">
                    <a:lumMod val="50000"/>
                  </a:schemeClr>
                </a:solidFill>
              </a:endParaRPr>
            </a:p>
            <a:p>
              <a:pPr algn="r"/>
              <a:r>
                <a:rPr lang="da-DK" sz="675" b="0">
                  <a:solidFill>
                    <a:schemeClr val="bg1">
                      <a:lumMod val="50000"/>
                    </a:schemeClr>
                  </a:solidFill>
                </a:rPr>
                <a:t>For at gå tilbage i tekst-niveauer,</a:t>
              </a:r>
            </a:p>
            <a:p>
              <a:pPr algn="r"/>
              <a:r>
                <a:rPr lang="da-DK" sz="675" b="0">
                  <a:solidFill>
                    <a:schemeClr val="bg1">
                      <a:lumMod val="50000"/>
                    </a:schemeClr>
                  </a:solidFill>
                </a:rPr>
                <a:t>brug </a:t>
              </a:r>
              <a:r>
                <a:rPr lang="da-DK" sz="675" b="1">
                  <a:solidFill>
                    <a:schemeClr val="bg1">
                      <a:lumMod val="50000"/>
                    </a:schemeClr>
                  </a:solidFill>
                </a:rPr>
                <a:t>SHIFT + TAB</a:t>
              </a:r>
            </a:p>
            <a:p>
              <a:pPr algn="r"/>
              <a:endParaRPr lang="da-DK" sz="675" b="0">
                <a:solidFill>
                  <a:schemeClr val="bg1">
                    <a:lumMod val="50000"/>
                  </a:schemeClr>
                </a:solidFill>
              </a:endParaRPr>
            </a:p>
            <a:p>
              <a:pPr algn="r"/>
              <a:endParaRPr lang="da-DK" sz="675" b="0">
                <a:solidFill>
                  <a:schemeClr val="bg1">
                    <a:lumMod val="50000"/>
                  </a:schemeClr>
                </a:solidFill>
              </a:endParaRPr>
            </a:p>
            <a:p>
              <a:pPr algn="r"/>
              <a:r>
                <a:rPr lang="da-DK" sz="675" b="0">
                  <a:solidFill>
                    <a:schemeClr val="bg1">
                      <a:lumMod val="50000"/>
                    </a:schemeClr>
                  </a:solidFill>
                </a:rPr>
                <a:t>Alternativt kan</a:t>
              </a:r>
            </a:p>
            <a:p>
              <a:pPr algn="r"/>
              <a:r>
                <a:rPr lang="da-DK" sz="675" b="1">
                  <a:solidFill>
                    <a:schemeClr val="bg1">
                      <a:lumMod val="50000"/>
                    </a:schemeClr>
                  </a:solidFill>
                </a:rPr>
                <a:t>Forøg og Formindsk </a:t>
              </a:r>
            </a:p>
            <a:p>
              <a:pPr algn="r"/>
              <a:r>
                <a:rPr lang="da-DK" sz="675" b="0">
                  <a:solidFill>
                    <a:schemeClr val="bg1">
                      <a:lumMod val="50000"/>
                    </a:schemeClr>
                  </a:solidFill>
                </a:rPr>
                <a:t>listeniveau bruges</a:t>
              </a:r>
            </a:p>
          </p:txBody>
        </p:sp>
        <p:grpSp>
          <p:nvGrpSpPr>
            <p:cNvPr id="27" name="Gruppe 26"/>
            <p:cNvGrpSpPr/>
            <p:nvPr userDrawn="1"/>
          </p:nvGrpSpPr>
          <p:grpSpPr>
            <a:xfrm>
              <a:off x="-503503" y="3048030"/>
              <a:ext cx="358775" cy="236537"/>
              <a:chOff x="-503503" y="3171825"/>
              <a:chExt cx="358775" cy="236537"/>
            </a:xfrm>
          </p:grpSpPr>
          <p:pic>
            <p:nvPicPr>
              <p:cNvPr id="2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3503" y="3171825"/>
                <a:ext cx="358775" cy="2365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9" name="Afrundet rektangel 28"/>
              <p:cNvSpPr/>
              <p:nvPr userDrawn="1"/>
            </p:nvSpPr>
            <p:spPr>
              <a:xfrm>
                <a:off x="-503503" y="3171825"/>
                <a:ext cx="179387" cy="236537"/>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sz="750"/>
              </a:p>
            </p:txBody>
          </p:sp>
        </p:grpSp>
      </p:grpSp>
      <p:sp>
        <p:nvSpPr>
          <p:cNvPr id="30" name="Tekstboks 29"/>
          <p:cNvSpPr txBox="1"/>
          <p:nvPr userDrawn="1"/>
        </p:nvSpPr>
        <p:spPr>
          <a:xfrm>
            <a:off x="-1585485" y="0"/>
            <a:ext cx="1450682" cy="681540"/>
          </a:xfrm>
          <a:prstGeom prst="rect">
            <a:avLst/>
          </a:prstGeom>
          <a:noFill/>
        </p:spPr>
        <p:txBody>
          <a:bodyPr wrap="square" lIns="0" tIns="0" rIns="0" bIns="0" rtlCol="0">
            <a:noAutofit/>
          </a:bodyPr>
          <a:lstStyle/>
          <a:p>
            <a:pPr algn="r"/>
            <a:r>
              <a:rPr lang="da-DK" sz="675" b="1" noProof="1">
                <a:solidFill>
                  <a:schemeClr val="bg1">
                    <a:lumMod val="50000"/>
                  </a:schemeClr>
                </a:solidFill>
              </a:rPr>
              <a:t>Boks:</a:t>
            </a:r>
          </a:p>
          <a:p>
            <a:pPr algn="r"/>
            <a:r>
              <a:rPr lang="da-DK" sz="675" b="0" noProof="1">
                <a:solidFill>
                  <a:schemeClr val="bg1">
                    <a:lumMod val="50000"/>
                  </a:schemeClr>
                </a:solidFill>
              </a:rPr>
              <a:t>Mellemrubrik skrives enten med fed eller store bogstaver i regular</a:t>
            </a:r>
          </a:p>
          <a:p>
            <a:pPr algn="r"/>
            <a:endParaRPr lang="da-DK" sz="675" b="0" noProof="1">
              <a:solidFill>
                <a:schemeClr val="bg1">
                  <a:lumMod val="50000"/>
                </a:schemeClr>
              </a:solidFill>
            </a:endParaRPr>
          </a:p>
          <a:p>
            <a:pPr algn="r"/>
            <a:r>
              <a:rPr lang="da-DK" sz="675" b="0" noProof="1">
                <a:solidFill>
                  <a:schemeClr val="bg1">
                    <a:lumMod val="50000"/>
                  </a:schemeClr>
                </a:solidFill>
              </a:rPr>
              <a:t>Denne farve er mest egnet til skærm eller projektor</a:t>
            </a:r>
          </a:p>
        </p:txBody>
      </p:sp>
    </p:spTree>
    <p:extLst>
      <p:ext uri="{BB962C8B-B14F-4D97-AF65-F5344CB8AC3E}">
        <p14:creationId xmlns:p14="http://schemas.microsoft.com/office/powerpoint/2010/main" val="233524328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Fire tekstbokse bred ly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a-DK"/>
              <a:t>Klik for at indsætte overskrift i en eller to linjer</a:t>
            </a:r>
          </a:p>
        </p:txBody>
      </p:sp>
      <p:sp>
        <p:nvSpPr>
          <p:cNvPr id="3" name="Pladsholder til dato 2"/>
          <p:cNvSpPr>
            <a:spLocks noGrp="1"/>
          </p:cNvSpPr>
          <p:nvPr>
            <p:ph type="dt" sz="half" idx="10"/>
          </p:nvPr>
        </p:nvSpPr>
        <p:spPr/>
        <p:txBody>
          <a:bodyPr/>
          <a:lstStyle/>
          <a:p>
            <a:r>
              <a:rPr lang="sv-SE"/>
              <a:t>26/03/2026</a:t>
            </a:r>
            <a:endParaRPr lang="da-DK"/>
          </a:p>
        </p:txBody>
      </p:sp>
      <p:sp>
        <p:nvSpPr>
          <p:cNvPr id="4" name="Pladsholder til sidefod 3"/>
          <p:cNvSpPr>
            <a:spLocks noGrp="1"/>
          </p:cNvSpPr>
          <p:nvPr>
            <p:ph type="ftr" sz="quarter" idx="11"/>
          </p:nvPr>
        </p:nvSpPr>
        <p:spPr/>
        <p:txBody>
          <a:bodyPr/>
          <a:lstStyle/>
          <a:p>
            <a:r>
              <a:rPr lang="en-US"/>
              <a:t>Stakeholder Forum Agenda - Classification: External</a:t>
            </a:r>
            <a:endParaRPr lang="da-DK"/>
          </a:p>
        </p:txBody>
      </p:sp>
      <p:sp>
        <p:nvSpPr>
          <p:cNvPr id="5" name="Pladsholder til diasnummer 4"/>
          <p:cNvSpPr>
            <a:spLocks noGrp="1"/>
          </p:cNvSpPr>
          <p:nvPr>
            <p:ph type="sldNum" sz="quarter" idx="12"/>
          </p:nvPr>
        </p:nvSpPr>
        <p:spPr/>
        <p:txBody>
          <a:bodyPr/>
          <a:lstStyle/>
          <a:p>
            <a:fld id="{667EC89C-17A0-4E64-A6D2-B825673CEEDF}" type="slidenum">
              <a:rPr lang="da-DK" smtClean="0"/>
              <a:pPr/>
              <a:t>‹#›</a:t>
            </a:fld>
            <a:endParaRPr lang="da-DK"/>
          </a:p>
        </p:txBody>
      </p:sp>
      <p:sp>
        <p:nvSpPr>
          <p:cNvPr id="16" name="Pladsholder til tekst 2"/>
          <p:cNvSpPr>
            <a:spLocks noGrp="1"/>
          </p:cNvSpPr>
          <p:nvPr>
            <p:ph type="body" sz="quarter" idx="29" hasCustomPrompt="1"/>
          </p:nvPr>
        </p:nvSpPr>
        <p:spPr>
          <a:xfrm>
            <a:off x="318642" y="1014411"/>
            <a:ext cx="4185545" cy="1674000"/>
          </a:xfrm>
          <a:prstGeom prst="roundRect">
            <a:avLst>
              <a:gd name="adj" fmla="val 0"/>
            </a:avLst>
          </a:prstGeom>
          <a:solidFill>
            <a:schemeClr val="accent5"/>
          </a:solidFill>
        </p:spPr>
        <p:txBody>
          <a:bodyPr lIns="126000" tIns="126000" rIns="126000" bIns="126000"/>
          <a:lstStyle>
            <a:lvl1pPr>
              <a:defRPr sz="1350">
                <a:solidFill>
                  <a:schemeClr val="tx1"/>
                </a:solidFill>
              </a:defRPr>
            </a:lvl1pPr>
            <a:lvl2pPr marL="172783" indent="-172783">
              <a:spcBef>
                <a:spcPts val="1200"/>
              </a:spcBef>
              <a:defRPr sz="1350">
                <a:solidFill>
                  <a:schemeClr val="tx1"/>
                </a:solidFill>
              </a:defRPr>
            </a:lvl2pPr>
            <a:lvl3pPr marL="404960" indent="-134987">
              <a:defRPr sz="1125">
                <a:solidFill>
                  <a:schemeClr val="tx1"/>
                </a:solidFill>
              </a:defRPr>
            </a:lvl3pPr>
            <a:lvl4pPr marL="539946" indent="-134987">
              <a:defRPr sz="900">
                <a:solidFill>
                  <a:schemeClr val="tx1"/>
                </a:solidFill>
              </a:defRPr>
            </a:lvl4pPr>
            <a:lvl5pPr marL="674933" indent="-134987">
              <a:defRPr sz="750">
                <a:solidFill>
                  <a:schemeClr val="tx1"/>
                </a:solidFill>
              </a:defRPr>
            </a:lvl5pPr>
            <a:lvl6pPr marL="674933" indent="-134987">
              <a:buFont typeface="Arial" panose="020B0604020202020204" pitchFamily="34" charset="0"/>
              <a:buChar char="•"/>
              <a:defRPr>
                <a:solidFill>
                  <a:schemeClr val="tx1"/>
                </a:solidFill>
              </a:defRPr>
            </a:lvl6pPr>
            <a:lvl7pPr marL="674933" indent="-134987">
              <a:buFont typeface="Arial" panose="020B0604020202020204" pitchFamily="34" charset="0"/>
              <a:buChar char="•"/>
              <a:defRPr>
                <a:solidFill>
                  <a:schemeClr val="tx1"/>
                </a:solidFill>
              </a:defRPr>
            </a:lvl7pPr>
            <a:lvl8pPr marL="674933" indent="-134987">
              <a:buFont typeface="Arial" panose="020B0604020202020204" pitchFamily="34" charset="0"/>
              <a:buChar char="•"/>
              <a:defRPr>
                <a:solidFill>
                  <a:schemeClr val="tx1"/>
                </a:solidFill>
              </a:defRPr>
            </a:lvl8pPr>
            <a:lvl9pPr marL="674933" indent="-134987">
              <a:defRPr>
                <a:solidFill>
                  <a:schemeClr val="tx1"/>
                </a:solidFill>
              </a:defRPr>
            </a:lvl9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17" name="Pladsholder til tekst 3"/>
          <p:cNvSpPr>
            <a:spLocks noGrp="1"/>
          </p:cNvSpPr>
          <p:nvPr>
            <p:ph type="body" sz="quarter" idx="30" hasCustomPrompt="1"/>
          </p:nvPr>
        </p:nvSpPr>
        <p:spPr>
          <a:xfrm>
            <a:off x="318642" y="2802600"/>
            <a:ext cx="4185545" cy="1674000"/>
          </a:xfrm>
          <a:prstGeom prst="roundRect">
            <a:avLst>
              <a:gd name="adj" fmla="val 0"/>
            </a:avLst>
          </a:prstGeom>
          <a:solidFill>
            <a:schemeClr val="accent5"/>
          </a:solidFill>
        </p:spPr>
        <p:txBody>
          <a:bodyPr lIns="126000" tIns="126000" rIns="126000" bIns="126000"/>
          <a:lstStyle>
            <a:lvl1pPr>
              <a:defRPr sz="1350">
                <a:solidFill>
                  <a:schemeClr val="tx1"/>
                </a:solidFill>
              </a:defRPr>
            </a:lvl1pPr>
            <a:lvl2pPr marL="172783" indent="-172783">
              <a:spcBef>
                <a:spcPts val="1200"/>
              </a:spcBef>
              <a:defRPr sz="1350">
                <a:solidFill>
                  <a:schemeClr val="tx1"/>
                </a:solidFill>
              </a:defRPr>
            </a:lvl2pPr>
            <a:lvl3pPr marL="404960" indent="-134987">
              <a:defRPr sz="1125">
                <a:solidFill>
                  <a:schemeClr val="tx1"/>
                </a:solidFill>
              </a:defRPr>
            </a:lvl3pPr>
            <a:lvl4pPr marL="539946" indent="-134987">
              <a:defRPr sz="900">
                <a:solidFill>
                  <a:schemeClr val="tx1"/>
                </a:solidFill>
              </a:defRPr>
            </a:lvl4pPr>
            <a:lvl5pPr marL="674933" indent="-134987">
              <a:defRPr sz="750">
                <a:solidFill>
                  <a:schemeClr val="tx1"/>
                </a:solidFill>
              </a:defRPr>
            </a:lvl5pPr>
            <a:lvl6pPr marL="674933" indent="-134987">
              <a:buFont typeface="Arial" panose="020B0604020202020204" pitchFamily="34" charset="0"/>
              <a:buChar char="•"/>
              <a:defRPr>
                <a:solidFill>
                  <a:schemeClr val="tx1"/>
                </a:solidFill>
              </a:defRPr>
            </a:lvl6pPr>
            <a:lvl7pPr marL="674933" indent="-134987">
              <a:buFont typeface="Arial" panose="020B0604020202020204" pitchFamily="34" charset="0"/>
              <a:buChar char="•"/>
              <a:defRPr>
                <a:solidFill>
                  <a:schemeClr val="tx1"/>
                </a:solidFill>
              </a:defRPr>
            </a:lvl7pPr>
            <a:lvl8pPr marL="674933" indent="-134987">
              <a:buFont typeface="Arial" panose="020B0604020202020204" pitchFamily="34" charset="0"/>
              <a:buChar char="•"/>
              <a:defRPr>
                <a:solidFill>
                  <a:schemeClr val="tx1"/>
                </a:solidFill>
              </a:defRPr>
            </a:lvl8pPr>
            <a:lvl9pPr marL="674933" indent="-134987">
              <a:defRPr>
                <a:solidFill>
                  <a:schemeClr val="tx1"/>
                </a:solidFill>
              </a:defRPr>
            </a:lvl9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18" name="Pladsholder til tekst 4"/>
          <p:cNvSpPr>
            <a:spLocks noGrp="1"/>
          </p:cNvSpPr>
          <p:nvPr>
            <p:ph type="body" sz="quarter" idx="31" hasCustomPrompt="1"/>
          </p:nvPr>
        </p:nvSpPr>
        <p:spPr>
          <a:xfrm>
            <a:off x="4639204" y="1014412"/>
            <a:ext cx="4185545" cy="1674000"/>
          </a:xfrm>
          <a:prstGeom prst="roundRect">
            <a:avLst>
              <a:gd name="adj" fmla="val 0"/>
            </a:avLst>
          </a:prstGeom>
          <a:solidFill>
            <a:schemeClr val="accent5"/>
          </a:solidFill>
        </p:spPr>
        <p:txBody>
          <a:bodyPr lIns="126000" tIns="126000" rIns="126000" bIns="126000"/>
          <a:lstStyle>
            <a:lvl1pPr>
              <a:defRPr sz="1350">
                <a:solidFill>
                  <a:schemeClr val="tx1"/>
                </a:solidFill>
              </a:defRPr>
            </a:lvl1pPr>
            <a:lvl2pPr marL="172783" indent="-172783">
              <a:spcBef>
                <a:spcPts val="1200"/>
              </a:spcBef>
              <a:defRPr sz="1350">
                <a:solidFill>
                  <a:schemeClr val="tx1"/>
                </a:solidFill>
              </a:defRPr>
            </a:lvl2pPr>
            <a:lvl3pPr marL="404960" indent="-134987">
              <a:defRPr sz="1125">
                <a:solidFill>
                  <a:schemeClr val="tx1"/>
                </a:solidFill>
              </a:defRPr>
            </a:lvl3pPr>
            <a:lvl4pPr marL="539946" indent="-134987">
              <a:defRPr sz="900">
                <a:solidFill>
                  <a:schemeClr val="tx1"/>
                </a:solidFill>
              </a:defRPr>
            </a:lvl4pPr>
            <a:lvl5pPr marL="674933" indent="-134987">
              <a:defRPr sz="750">
                <a:solidFill>
                  <a:schemeClr val="tx1"/>
                </a:solidFill>
              </a:defRPr>
            </a:lvl5pPr>
            <a:lvl6pPr marL="674933" indent="-134987">
              <a:buFont typeface="Arial" panose="020B0604020202020204" pitchFamily="34" charset="0"/>
              <a:buChar char="•"/>
              <a:defRPr>
                <a:solidFill>
                  <a:schemeClr val="tx1"/>
                </a:solidFill>
              </a:defRPr>
            </a:lvl6pPr>
            <a:lvl7pPr marL="674933" indent="-134987">
              <a:buFont typeface="Arial" panose="020B0604020202020204" pitchFamily="34" charset="0"/>
              <a:buChar char="•"/>
              <a:defRPr>
                <a:solidFill>
                  <a:schemeClr val="tx1"/>
                </a:solidFill>
              </a:defRPr>
            </a:lvl7pPr>
            <a:lvl8pPr marL="674933" indent="-134987">
              <a:buFont typeface="Arial" panose="020B0604020202020204" pitchFamily="34" charset="0"/>
              <a:buChar char="•"/>
              <a:defRPr>
                <a:solidFill>
                  <a:schemeClr val="tx1"/>
                </a:solidFill>
              </a:defRPr>
            </a:lvl8pPr>
            <a:lvl9pPr marL="674933" indent="-134987">
              <a:defRPr>
                <a:solidFill>
                  <a:schemeClr val="tx1"/>
                </a:solidFill>
              </a:defRPr>
            </a:lvl9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19" name="Pladsholder til tekst 5"/>
          <p:cNvSpPr>
            <a:spLocks noGrp="1"/>
          </p:cNvSpPr>
          <p:nvPr>
            <p:ph type="body" sz="quarter" idx="32" hasCustomPrompt="1"/>
          </p:nvPr>
        </p:nvSpPr>
        <p:spPr>
          <a:xfrm>
            <a:off x="4639204" y="2802600"/>
            <a:ext cx="4185545" cy="1674000"/>
          </a:xfrm>
          <a:prstGeom prst="roundRect">
            <a:avLst>
              <a:gd name="adj" fmla="val 0"/>
            </a:avLst>
          </a:prstGeom>
          <a:solidFill>
            <a:schemeClr val="accent5"/>
          </a:solidFill>
        </p:spPr>
        <p:txBody>
          <a:bodyPr lIns="126000" tIns="126000" rIns="126000" bIns="126000"/>
          <a:lstStyle>
            <a:lvl1pPr>
              <a:defRPr sz="1350">
                <a:solidFill>
                  <a:schemeClr val="tx1"/>
                </a:solidFill>
              </a:defRPr>
            </a:lvl1pPr>
            <a:lvl2pPr marL="172783" indent="-172783">
              <a:spcBef>
                <a:spcPts val="1200"/>
              </a:spcBef>
              <a:defRPr sz="1350">
                <a:solidFill>
                  <a:schemeClr val="tx1"/>
                </a:solidFill>
              </a:defRPr>
            </a:lvl2pPr>
            <a:lvl3pPr marL="404960" indent="-134987">
              <a:defRPr sz="1125">
                <a:solidFill>
                  <a:schemeClr val="tx1"/>
                </a:solidFill>
              </a:defRPr>
            </a:lvl3pPr>
            <a:lvl4pPr marL="539946" indent="-134987">
              <a:defRPr sz="900">
                <a:solidFill>
                  <a:schemeClr val="tx1"/>
                </a:solidFill>
              </a:defRPr>
            </a:lvl4pPr>
            <a:lvl5pPr marL="674933" indent="-134987">
              <a:defRPr sz="750">
                <a:solidFill>
                  <a:schemeClr val="tx1"/>
                </a:solidFill>
              </a:defRPr>
            </a:lvl5pPr>
            <a:lvl6pPr marL="674933" indent="-134987">
              <a:buFont typeface="Arial" panose="020B0604020202020204" pitchFamily="34" charset="0"/>
              <a:buChar char="•"/>
              <a:defRPr>
                <a:solidFill>
                  <a:schemeClr val="tx1"/>
                </a:solidFill>
              </a:defRPr>
            </a:lvl6pPr>
            <a:lvl7pPr marL="674933" indent="-134987">
              <a:buFont typeface="Arial" panose="020B0604020202020204" pitchFamily="34" charset="0"/>
              <a:buChar char="•"/>
              <a:defRPr>
                <a:solidFill>
                  <a:schemeClr val="tx1"/>
                </a:solidFill>
              </a:defRPr>
            </a:lvl7pPr>
            <a:lvl8pPr marL="674933" indent="-134987">
              <a:buFont typeface="Arial" panose="020B0604020202020204" pitchFamily="34" charset="0"/>
              <a:buChar char="•"/>
              <a:defRPr>
                <a:solidFill>
                  <a:schemeClr val="tx1"/>
                </a:solidFill>
              </a:defRPr>
            </a:lvl8pPr>
            <a:lvl9pPr marL="674933" indent="-134987">
              <a:defRPr>
                <a:solidFill>
                  <a:schemeClr val="tx1"/>
                </a:solidFill>
              </a:defRPr>
            </a:lvl9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grpSp>
        <p:nvGrpSpPr>
          <p:cNvPr id="25" name="Gruppe 24"/>
          <p:cNvGrpSpPr/>
          <p:nvPr userDrawn="1"/>
        </p:nvGrpSpPr>
        <p:grpSpPr>
          <a:xfrm>
            <a:off x="-1215674" y="1015605"/>
            <a:ext cx="1107114" cy="1826177"/>
            <a:chOff x="-1620688" y="1354138"/>
            <a:chExt cx="1475960" cy="2434902"/>
          </a:xfrm>
        </p:grpSpPr>
        <p:sp>
          <p:nvSpPr>
            <p:cNvPr id="26" name="Tekstboks 25"/>
            <p:cNvSpPr txBox="1"/>
            <p:nvPr userDrawn="1"/>
          </p:nvSpPr>
          <p:spPr>
            <a:xfrm>
              <a:off x="-1620688" y="1354138"/>
              <a:ext cx="1475960" cy="2434902"/>
            </a:xfrm>
            <a:prstGeom prst="rect">
              <a:avLst/>
            </a:prstGeom>
            <a:noFill/>
          </p:spPr>
          <p:txBody>
            <a:bodyPr wrap="square" lIns="0" tIns="0" rIns="0" bIns="0" rtlCol="0">
              <a:noAutofit/>
            </a:bodyPr>
            <a:lstStyle/>
            <a:p>
              <a:pPr algn="r"/>
              <a:r>
                <a:rPr lang="da-DK" sz="675" b="1">
                  <a:solidFill>
                    <a:schemeClr val="bg1">
                      <a:lumMod val="50000"/>
                    </a:schemeClr>
                  </a:solidFill>
                </a:rPr>
                <a:t>Tekst-typografier</a:t>
              </a:r>
            </a:p>
            <a:p>
              <a:pPr algn="r"/>
              <a:r>
                <a:rPr lang="da-DK" sz="675" b="0">
                  <a:solidFill>
                    <a:schemeClr val="bg1">
                      <a:lumMod val="50000"/>
                    </a:schemeClr>
                  </a:solidFill>
                </a:rPr>
                <a:t>Brug </a:t>
              </a:r>
              <a:r>
                <a:rPr lang="da-DK" sz="675" b="1">
                  <a:solidFill>
                    <a:schemeClr val="bg1">
                      <a:lumMod val="50000"/>
                    </a:schemeClr>
                  </a:solidFill>
                </a:rPr>
                <a:t>TAB</a:t>
              </a:r>
              <a:r>
                <a:rPr lang="da-DK" sz="675" b="0">
                  <a:solidFill>
                    <a:schemeClr val="bg1">
                      <a:lumMod val="50000"/>
                    </a:schemeClr>
                  </a:solidFill>
                </a:rPr>
                <a:t> for at gå frem</a:t>
              </a:r>
            </a:p>
            <a:p>
              <a:pPr algn="r"/>
              <a:r>
                <a:rPr lang="da-DK" sz="675" b="0">
                  <a:solidFill>
                    <a:schemeClr val="bg1">
                      <a:lumMod val="50000"/>
                    </a:schemeClr>
                  </a:solidFill>
                </a:rPr>
                <a:t>i tekst-niveauer</a:t>
              </a:r>
            </a:p>
            <a:p>
              <a:pPr algn="r"/>
              <a:endParaRPr lang="da-DK" sz="675" b="0">
                <a:solidFill>
                  <a:schemeClr val="bg1">
                    <a:lumMod val="50000"/>
                  </a:schemeClr>
                </a:solidFill>
              </a:endParaRPr>
            </a:p>
            <a:p>
              <a:pPr algn="l"/>
              <a:r>
                <a:rPr lang="da-DK" sz="675" b="0">
                  <a:solidFill>
                    <a:schemeClr val="bg1">
                      <a:lumMod val="50000"/>
                    </a:schemeClr>
                  </a:solidFill>
                </a:rPr>
                <a:t>Klik for at indsætte tekst</a:t>
              </a:r>
            </a:p>
            <a:p>
              <a:pPr marL="80992" indent="-80992" algn="l">
                <a:buFont typeface="Arial" panose="020B0604020202020204" pitchFamily="34" charset="0"/>
                <a:buChar char="•"/>
              </a:pPr>
              <a:r>
                <a:rPr lang="da-DK" sz="675" b="0">
                  <a:solidFill>
                    <a:schemeClr val="bg1">
                      <a:lumMod val="50000"/>
                    </a:schemeClr>
                  </a:solidFill>
                </a:rPr>
                <a:t>Andet niveau</a:t>
              </a:r>
            </a:p>
            <a:p>
              <a:pPr marL="215978" indent="-80992" algn="l">
                <a:buFont typeface="Arial" panose="020B0604020202020204" pitchFamily="34" charset="0"/>
                <a:buChar char="•"/>
              </a:pPr>
              <a:r>
                <a:rPr lang="da-DK" sz="600" b="0">
                  <a:solidFill>
                    <a:schemeClr val="bg1">
                      <a:lumMod val="50000"/>
                    </a:schemeClr>
                  </a:solidFill>
                </a:rPr>
                <a:t>Tredje niveau</a:t>
              </a:r>
            </a:p>
            <a:p>
              <a:pPr marL="350965" indent="-80992" algn="l">
                <a:buFont typeface="Arial" panose="020B0604020202020204" pitchFamily="34" charset="0"/>
                <a:buChar char="•"/>
              </a:pPr>
              <a:r>
                <a:rPr lang="da-DK" sz="450" b="0">
                  <a:solidFill>
                    <a:schemeClr val="bg1">
                      <a:lumMod val="50000"/>
                    </a:schemeClr>
                  </a:solidFill>
                </a:rPr>
                <a:t>Fjerde niveau</a:t>
              </a:r>
            </a:p>
            <a:p>
              <a:pPr marL="458954" indent="-80992" algn="l">
                <a:buFont typeface="Arial" panose="020B0604020202020204" pitchFamily="34" charset="0"/>
                <a:buChar char="•"/>
              </a:pPr>
              <a:r>
                <a:rPr lang="da-DK" sz="450" b="0">
                  <a:solidFill>
                    <a:schemeClr val="bg1">
                      <a:lumMod val="50000"/>
                    </a:schemeClr>
                  </a:solidFill>
                </a:rPr>
                <a:t>Femte niveau</a:t>
              </a:r>
            </a:p>
            <a:p>
              <a:pPr algn="r"/>
              <a:endParaRPr lang="da-DK" sz="675" b="0">
                <a:solidFill>
                  <a:schemeClr val="bg1">
                    <a:lumMod val="50000"/>
                  </a:schemeClr>
                </a:solidFill>
              </a:endParaRPr>
            </a:p>
            <a:p>
              <a:pPr algn="r"/>
              <a:r>
                <a:rPr lang="da-DK" sz="675" b="0">
                  <a:solidFill>
                    <a:schemeClr val="bg1">
                      <a:lumMod val="50000"/>
                    </a:schemeClr>
                  </a:solidFill>
                </a:rPr>
                <a:t>For at gå tilbage i tekst-niveauer,</a:t>
              </a:r>
            </a:p>
            <a:p>
              <a:pPr algn="r"/>
              <a:r>
                <a:rPr lang="da-DK" sz="675" b="0">
                  <a:solidFill>
                    <a:schemeClr val="bg1">
                      <a:lumMod val="50000"/>
                    </a:schemeClr>
                  </a:solidFill>
                </a:rPr>
                <a:t>brug </a:t>
              </a:r>
              <a:r>
                <a:rPr lang="da-DK" sz="675" b="1">
                  <a:solidFill>
                    <a:schemeClr val="bg1">
                      <a:lumMod val="50000"/>
                    </a:schemeClr>
                  </a:solidFill>
                </a:rPr>
                <a:t>SHIFT + TAB</a:t>
              </a:r>
            </a:p>
            <a:p>
              <a:pPr algn="r"/>
              <a:endParaRPr lang="da-DK" sz="675" b="0">
                <a:solidFill>
                  <a:schemeClr val="bg1">
                    <a:lumMod val="50000"/>
                  </a:schemeClr>
                </a:solidFill>
              </a:endParaRPr>
            </a:p>
            <a:p>
              <a:pPr algn="r"/>
              <a:endParaRPr lang="da-DK" sz="675" b="0">
                <a:solidFill>
                  <a:schemeClr val="bg1">
                    <a:lumMod val="50000"/>
                  </a:schemeClr>
                </a:solidFill>
              </a:endParaRPr>
            </a:p>
            <a:p>
              <a:pPr algn="r"/>
              <a:r>
                <a:rPr lang="da-DK" sz="675" b="0">
                  <a:solidFill>
                    <a:schemeClr val="bg1">
                      <a:lumMod val="50000"/>
                    </a:schemeClr>
                  </a:solidFill>
                </a:rPr>
                <a:t>Alternativt kan</a:t>
              </a:r>
            </a:p>
            <a:p>
              <a:pPr algn="r"/>
              <a:r>
                <a:rPr lang="da-DK" sz="675" b="1">
                  <a:solidFill>
                    <a:schemeClr val="bg1">
                      <a:lumMod val="50000"/>
                    </a:schemeClr>
                  </a:solidFill>
                </a:rPr>
                <a:t>Forøg og Formindsk </a:t>
              </a:r>
            </a:p>
            <a:p>
              <a:pPr algn="r"/>
              <a:r>
                <a:rPr lang="da-DK" sz="675" b="0">
                  <a:solidFill>
                    <a:schemeClr val="bg1">
                      <a:lumMod val="50000"/>
                    </a:schemeClr>
                  </a:solidFill>
                </a:rPr>
                <a:t>listeniveau bruges</a:t>
              </a:r>
            </a:p>
          </p:txBody>
        </p:sp>
        <p:grpSp>
          <p:nvGrpSpPr>
            <p:cNvPr id="27" name="Gruppe 26"/>
            <p:cNvGrpSpPr/>
            <p:nvPr userDrawn="1"/>
          </p:nvGrpSpPr>
          <p:grpSpPr>
            <a:xfrm>
              <a:off x="-503503" y="3048030"/>
              <a:ext cx="358775" cy="236537"/>
              <a:chOff x="-503503" y="3171825"/>
              <a:chExt cx="358775" cy="236537"/>
            </a:xfrm>
          </p:grpSpPr>
          <p:pic>
            <p:nvPicPr>
              <p:cNvPr id="2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3503" y="3171825"/>
                <a:ext cx="358775" cy="2365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9" name="Afrundet rektangel 28"/>
              <p:cNvSpPr/>
              <p:nvPr userDrawn="1"/>
            </p:nvSpPr>
            <p:spPr>
              <a:xfrm>
                <a:off x="-503503" y="3171825"/>
                <a:ext cx="179387" cy="236537"/>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sz="750"/>
              </a:p>
            </p:txBody>
          </p:sp>
        </p:grpSp>
      </p:grpSp>
      <p:sp>
        <p:nvSpPr>
          <p:cNvPr id="30" name="Tekstboks 29"/>
          <p:cNvSpPr txBox="1"/>
          <p:nvPr userDrawn="1"/>
        </p:nvSpPr>
        <p:spPr>
          <a:xfrm>
            <a:off x="-1585485" y="0"/>
            <a:ext cx="1450682" cy="573528"/>
          </a:xfrm>
          <a:prstGeom prst="rect">
            <a:avLst/>
          </a:prstGeom>
          <a:noFill/>
        </p:spPr>
        <p:txBody>
          <a:bodyPr wrap="square" lIns="0" tIns="0" rIns="0" bIns="0" rtlCol="0">
            <a:noAutofit/>
          </a:bodyPr>
          <a:lstStyle/>
          <a:p>
            <a:pPr algn="r"/>
            <a:r>
              <a:rPr lang="da-DK" sz="675" b="1" noProof="1">
                <a:solidFill>
                  <a:schemeClr val="bg1">
                    <a:lumMod val="50000"/>
                  </a:schemeClr>
                </a:solidFill>
              </a:rPr>
              <a:t>Boks:</a:t>
            </a:r>
          </a:p>
          <a:p>
            <a:pPr algn="r"/>
            <a:r>
              <a:rPr lang="da-DK" sz="675" b="0" noProof="1">
                <a:solidFill>
                  <a:schemeClr val="bg1">
                    <a:lumMod val="50000"/>
                  </a:schemeClr>
                </a:solidFill>
              </a:rPr>
              <a:t>Mellemrubrik skrives enten med fed eller store bogstaver i regular</a:t>
            </a:r>
          </a:p>
          <a:p>
            <a:pPr algn="r"/>
            <a:endParaRPr lang="da-DK" sz="675" b="0" noProof="1">
              <a:solidFill>
                <a:schemeClr val="bg1">
                  <a:lumMod val="50000"/>
                </a:schemeClr>
              </a:solidFill>
            </a:endParaRPr>
          </a:p>
          <a:p>
            <a:pPr algn="r"/>
            <a:r>
              <a:rPr lang="da-DK" sz="675" b="0" noProof="1">
                <a:solidFill>
                  <a:schemeClr val="bg1">
                    <a:lumMod val="50000"/>
                  </a:schemeClr>
                </a:solidFill>
              </a:rPr>
              <a:t>Denne farve er egnet til print</a:t>
            </a:r>
          </a:p>
        </p:txBody>
      </p:sp>
    </p:spTree>
    <p:extLst>
      <p:ext uri="{BB962C8B-B14F-4D97-AF65-F5344CB8AC3E}">
        <p14:creationId xmlns:p14="http://schemas.microsoft.com/office/powerpoint/2010/main" val="367933458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re tekstbokse bred mørk">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a-DK"/>
              <a:t>Klik for at indsætte overskrift i en eller to linjer</a:t>
            </a:r>
          </a:p>
        </p:txBody>
      </p:sp>
      <p:sp>
        <p:nvSpPr>
          <p:cNvPr id="15" name="Pladsholder til tekst 2"/>
          <p:cNvSpPr>
            <a:spLocks noGrp="1"/>
          </p:cNvSpPr>
          <p:nvPr>
            <p:ph type="body" sz="quarter" idx="29" hasCustomPrompt="1"/>
          </p:nvPr>
        </p:nvSpPr>
        <p:spPr>
          <a:xfrm>
            <a:off x="318642" y="1014411"/>
            <a:ext cx="4185545" cy="1674000"/>
          </a:xfrm>
          <a:prstGeom prst="roundRect">
            <a:avLst>
              <a:gd name="adj" fmla="val 0"/>
            </a:avLst>
          </a:prstGeom>
          <a:solidFill>
            <a:srgbClr val="666666"/>
          </a:solidFill>
        </p:spPr>
        <p:txBody>
          <a:bodyPr lIns="126000" tIns="126000" rIns="126000" bIns="126000"/>
          <a:lstStyle>
            <a:lvl1pPr>
              <a:defRPr sz="1350">
                <a:solidFill>
                  <a:schemeClr val="bg1"/>
                </a:solidFill>
              </a:defRPr>
            </a:lvl1pPr>
            <a:lvl2pPr marL="172783" indent="-172783">
              <a:spcBef>
                <a:spcPts val="1200"/>
              </a:spcBef>
              <a:defRPr sz="1350">
                <a:solidFill>
                  <a:schemeClr val="bg1"/>
                </a:solidFill>
              </a:defRPr>
            </a:lvl2pPr>
            <a:lvl3pPr marL="404960" indent="-134987">
              <a:defRPr sz="1125">
                <a:solidFill>
                  <a:schemeClr val="bg1"/>
                </a:solidFill>
              </a:defRPr>
            </a:lvl3pPr>
            <a:lvl4pPr marL="539946" indent="-134987">
              <a:defRPr sz="900">
                <a:solidFill>
                  <a:schemeClr val="bg1"/>
                </a:solidFill>
              </a:defRPr>
            </a:lvl4pPr>
            <a:lvl5pPr marL="674933" indent="-134987">
              <a:defRPr sz="750">
                <a:solidFill>
                  <a:schemeClr val="bg1"/>
                </a:solidFill>
              </a:defRPr>
            </a:lvl5pPr>
            <a:lvl6pPr marL="674933" indent="-134987">
              <a:buFont typeface="Arial" panose="020B0604020202020204" pitchFamily="34" charset="0"/>
              <a:buChar char="•"/>
              <a:defRPr>
                <a:solidFill>
                  <a:schemeClr val="bg1"/>
                </a:solidFill>
              </a:defRPr>
            </a:lvl6pPr>
            <a:lvl7pPr marL="674933" indent="-134987">
              <a:buFont typeface="Arial" panose="020B0604020202020204" pitchFamily="34" charset="0"/>
              <a:buChar char="•"/>
              <a:defRPr>
                <a:solidFill>
                  <a:schemeClr val="bg1"/>
                </a:solidFill>
              </a:defRPr>
            </a:lvl7pPr>
            <a:lvl8pPr marL="674933" indent="-134987">
              <a:buFont typeface="Arial" panose="020B0604020202020204" pitchFamily="34" charset="0"/>
              <a:buChar char="•"/>
              <a:defRPr>
                <a:solidFill>
                  <a:schemeClr val="bg1"/>
                </a:solidFill>
              </a:defRPr>
            </a:lvl8pPr>
            <a:lvl9pPr marL="674933" indent="-134987">
              <a:defRPr>
                <a:solidFill>
                  <a:schemeClr val="bg1"/>
                </a:solidFill>
              </a:defRPr>
            </a:lvl9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16" name="Pladsholder til tekst 3"/>
          <p:cNvSpPr>
            <a:spLocks noGrp="1"/>
          </p:cNvSpPr>
          <p:nvPr>
            <p:ph type="body" sz="quarter" idx="30" hasCustomPrompt="1"/>
          </p:nvPr>
        </p:nvSpPr>
        <p:spPr>
          <a:xfrm>
            <a:off x="318641" y="2802600"/>
            <a:ext cx="8506107" cy="1674000"/>
          </a:xfrm>
          <a:prstGeom prst="roundRect">
            <a:avLst>
              <a:gd name="adj" fmla="val 0"/>
            </a:avLst>
          </a:prstGeom>
          <a:solidFill>
            <a:srgbClr val="666666"/>
          </a:solidFill>
        </p:spPr>
        <p:txBody>
          <a:bodyPr lIns="126000" tIns="126000" rIns="126000" bIns="126000"/>
          <a:lstStyle>
            <a:lvl1pPr>
              <a:defRPr sz="1350">
                <a:solidFill>
                  <a:schemeClr val="bg1"/>
                </a:solidFill>
              </a:defRPr>
            </a:lvl1pPr>
            <a:lvl2pPr marL="172783" indent="-172783">
              <a:spcBef>
                <a:spcPts val="1200"/>
              </a:spcBef>
              <a:defRPr sz="1350">
                <a:solidFill>
                  <a:schemeClr val="bg1"/>
                </a:solidFill>
              </a:defRPr>
            </a:lvl2pPr>
            <a:lvl3pPr marL="404960" indent="-134987">
              <a:defRPr sz="1125">
                <a:solidFill>
                  <a:schemeClr val="bg1"/>
                </a:solidFill>
              </a:defRPr>
            </a:lvl3pPr>
            <a:lvl4pPr marL="539946" indent="-134987">
              <a:defRPr sz="900">
                <a:solidFill>
                  <a:schemeClr val="bg1"/>
                </a:solidFill>
              </a:defRPr>
            </a:lvl4pPr>
            <a:lvl5pPr marL="674933" indent="-134987">
              <a:defRPr sz="750">
                <a:solidFill>
                  <a:schemeClr val="bg1"/>
                </a:solidFill>
              </a:defRPr>
            </a:lvl5pPr>
            <a:lvl6pPr marL="674933" indent="-134987">
              <a:buFont typeface="Arial" panose="020B0604020202020204" pitchFamily="34" charset="0"/>
              <a:buChar char="•"/>
              <a:defRPr>
                <a:solidFill>
                  <a:schemeClr val="bg1"/>
                </a:solidFill>
              </a:defRPr>
            </a:lvl6pPr>
            <a:lvl7pPr marL="674933" indent="-134987">
              <a:buFont typeface="Arial" panose="020B0604020202020204" pitchFamily="34" charset="0"/>
              <a:buChar char="•"/>
              <a:defRPr>
                <a:solidFill>
                  <a:schemeClr val="bg1"/>
                </a:solidFill>
              </a:defRPr>
            </a:lvl7pPr>
            <a:lvl8pPr marL="674933" indent="-134987">
              <a:buFont typeface="Arial" panose="020B0604020202020204" pitchFamily="34" charset="0"/>
              <a:buChar char="•"/>
              <a:defRPr>
                <a:solidFill>
                  <a:schemeClr val="bg1"/>
                </a:solidFill>
              </a:defRPr>
            </a:lvl8pPr>
            <a:lvl9pPr marL="674933" indent="-134987">
              <a:defRPr>
                <a:solidFill>
                  <a:schemeClr val="bg1"/>
                </a:solidFill>
              </a:defRPr>
            </a:lvl9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17" name="Pladsholder til tekst 4"/>
          <p:cNvSpPr>
            <a:spLocks noGrp="1"/>
          </p:cNvSpPr>
          <p:nvPr>
            <p:ph type="body" sz="quarter" idx="31" hasCustomPrompt="1"/>
          </p:nvPr>
        </p:nvSpPr>
        <p:spPr>
          <a:xfrm>
            <a:off x="4639204" y="1014412"/>
            <a:ext cx="4185545" cy="1674000"/>
          </a:xfrm>
          <a:prstGeom prst="roundRect">
            <a:avLst>
              <a:gd name="adj" fmla="val 0"/>
            </a:avLst>
          </a:prstGeom>
          <a:solidFill>
            <a:srgbClr val="666666"/>
          </a:solidFill>
        </p:spPr>
        <p:txBody>
          <a:bodyPr lIns="126000" tIns="126000" rIns="126000" bIns="126000"/>
          <a:lstStyle>
            <a:lvl1pPr>
              <a:defRPr sz="1350">
                <a:solidFill>
                  <a:schemeClr val="bg1"/>
                </a:solidFill>
              </a:defRPr>
            </a:lvl1pPr>
            <a:lvl2pPr marL="172783" indent="-172783">
              <a:spcBef>
                <a:spcPts val="1200"/>
              </a:spcBef>
              <a:defRPr sz="1350">
                <a:solidFill>
                  <a:schemeClr val="bg1"/>
                </a:solidFill>
              </a:defRPr>
            </a:lvl2pPr>
            <a:lvl3pPr marL="404960" indent="-134987">
              <a:defRPr sz="1125">
                <a:solidFill>
                  <a:schemeClr val="bg1"/>
                </a:solidFill>
              </a:defRPr>
            </a:lvl3pPr>
            <a:lvl4pPr marL="539946" indent="-134987">
              <a:defRPr sz="900">
                <a:solidFill>
                  <a:schemeClr val="bg1"/>
                </a:solidFill>
              </a:defRPr>
            </a:lvl4pPr>
            <a:lvl5pPr marL="674933" indent="-134987">
              <a:defRPr sz="750">
                <a:solidFill>
                  <a:schemeClr val="bg1"/>
                </a:solidFill>
              </a:defRPr>
            </a:lvl5pPr>
            <a:lvl6pPr marL="674933" indent="-134987">
              <a:buFont typeface="Arial" panose="020B0604020202020204" pitchFamily="34" charset="0"/>
              <a:buChar char="•"/>
              <a:defRPr>
                <a:solidFill>
                  <a:schemeClr val="bg1"/>
                </a:solidFill>
              </a:defRPr>
            </a:lvl6pPr>
            <a:lvl7pPr marL="674933" indent="-134987">
              <a:buFont typeface="Arial" panose="020B0604020202020204" pitchFamily="34" charset="0"/>
              <a:buChar char="•"/>
              <a:defRPr>
                <a:solidFill>
                  <a:schemeClr val="bg1"/>
                </a:solidFill>
              </a:defRPr>
            </a:lvl7pPr>
            <a:lvl8pPr marL="674933" indent="-134987">
              <a:buFont typeface="Arial" panose="020B0604020202020204" pitchFamily="34" charset="0"/>
              <a:buChar char="•"/>
              <a:defRPr>
                <a:solidFill>
                  <a:schemeClr val="bg1"/>
                </a:solidFill>
              </a:defRPr>
            </a:lvl8pPr>
            <a:lvl9pPr marL="674933" indent="-134987">
              <a:defRPr>
                <a:solidFill>
                  <a:schemeClr val="bg1"/>
                </a:solidFill>
              </a:defRPr>
            </a:lvl9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3" name="Pladsholder til dato 2"/>
          <p:cNvSpPr>
            <a:spLocks noGrp="1"/>
          </p:cNvSpPr>
          <p:nvPr>
            <p:ph type="dt" sz="half" idx="10"/>
          </p:nvPr>
        </p:nvSpPr>
        <p:spPr/>
        <p:txBody>
          <a:bodyPr/>
          <a:lstStyle/>
          <a:p>
            <a:r>
              <a:rPr lang="sv-SE"/>
              <a:t>26/03/2026</a:t>
            </a:r>
            <a:endParaRPr lang="da-DK"/>
          </a:p>
        </p:txBody>
      </p:sp>
      <p:sp>
        <p:nvSpPr>
          <p:cNvPr id="4" name="Pladsholder til sidefod 3" hidden="1"/>
          <p:cNvSpPr>
            <a:spLocks noGrp="1"/>
          </p:cNvSpPr>
          <p:nvPr>
            <p:ph type="ftr" sz="quarter" idx="11"/>
          </p:nvPr>
        </p:nvSpPr>
        <p:spPr/>
        <p:txBody>
          <a:bodyPr/>
          <a:lstStyle/>
          <a:p>
            <a:r>
              <a:rPr lang="en-US"/>
              <a:t>Stakeholder Forum Agenda - Classification: External</a:t>
            </a:r>
            <a:endParaRPr lang="da-DK"/>
          </a:p>
        </p:txBody>
      </p:sp>
      <p:sp>
        <p:nvSpPr>
          <p:cNvPr id="5" name="Pladsholder til diasnummer 4"/>
          <p:cNvSpPr>
            <a:spLocks noGrp="1"/>
          </p:cNvSpPr>
          <p:nvPr>
            <p:ph type="sldNum" sz="quarter" idx="12"/>
          </p:nvPr>
        </p:nvSpPr>
        <p:spPr/>
        <p:txBody>
          <a:bodyPr/>
          <a:lstStyle/>
          <a:p>
            <a:fld id="{667EC89C-17A0-4E64-A6D2-B825673CEEDF}" type="slidenum">
              <a:rPr lang="da-DK" smtClean="0"/>
              <a:pPr/>
              <a:t>‹#›</a:t>
            </a:fld>
            <a:endParaRPr lang="da-DK"/>
          </a:p>
        </p:txBody>
      </p:sp>
      <p:grpSp>
        <p:nvGrpSpPr>
          <p:cNvPr id="23" name="Gruppe 22"/>
          <p:cNvGrpSpPr/>
          <p:nvPr userDrawn="1"/>
        </p:nvGrpSpPr>
        <p:grpSpPr>
          <a:xfrm>
            <a:off x="-1215674" y="1015605"/>
            <a:ext cx="1107114" cy="1826177"/>
            <a:chOff x="-1620688" y="1354138"/>
            <a:chExt cx="1475960" cy="2434902"/>
          </a:xfrm>
        </p:grpSpPr>
        <p:sp>
          <p:nvSpPr>
            <p:cNvPr id="24" name="Tekstboks 23"/>
            <p:cNvSpPr txBox="1"/>
            <p:nvPr userDrawn="1"/>
          </p:nvSpPr>
          <p:spPr>
            <a:xfrm>
              <a:off x="-1620688" y="1354138"/>
              <a:ext cx="1475960" cy="2434902"/>
            </a:xfrm>
            <a:prstGeom prst="rect">
              <a:avLst/>
            </a:prstGeom>
            <a:noFill/>
          </p:spPr>
          <p:txBody>
            <a:bodyPr wrap="square" lIns="0" tIns="0" rIns="0" bIns="0" rtlCol="0">
              <a:noAutofit/>
            </a:bodyPr>
            <a:lstStyle/>
            <a:p>
              <a:pPr algn="r"/>
              <a:r>
                <a:rPr lang="da-DK" sz="675" b="1">
                  <a:solidFill>
                    <a:schemeClr val="bg1">
                      <a:lumMod val="50000"/>
                    </a:schemeClr>
                  </a:solidFill>
                </a:rPr>
                <a:t>Tekst-typografier</a:t>
              </a:r>
            </a:p>
            <a:p>
              <a:pPr algn="r"/>
              <a:r>
                <a:rPr lang="da-DK" sz="675" b="0">
                  <a:solidFill>
                    <a:schemeClr val="bg1">
                      <a:lumMod val="50000"/>
                    </a:schemeClr>
                  </a:solidFill>
                </a:rPr>
                <a:t>Brug </a:t>
              </a:r>
              <a:r>
                <a:rPr lang="da-DK" sz="675" b="1">
                  <a:solidFill>
                    <a:schemeClr val="bg1">
                      <a:lumMod val="50000"/>
                    </a:schemeClr>
                  </a:solidFill>
                </a:rPr>
                <a:t>TAB</a:t>
              </a:r>
              <a:r>
                <a:rPr lang="da-DK" sz="675" b="0">
                  <a:solidFill>
                    <a:schemeClr val="bg1">
                      <a:lumMod val="50000"/>
                    </a:schemeClr>
                  </a:solidFill>
                </a:rPr>
                <a:t> for at gå frem</a:t>
              </a:r>
            </a:p>
            <a:p>
              <a:pPr algn="r"/>
              <a:r>
                <a:rPr lang="da-DK" sz="675" b="0">
                  <a:solidFill>
                    <a:schemeClr val="bg1">
                      <a:lumMod val="50000"/>
                    </a:schemeClr>
                  </a:solidFill>
                </a:rPr>
                <a:t>i tekst-niveauer</a:t>
              </a:r>
            </a:p>
            <a:p>
              <a:pPr algn="r"/>
              <a:endParaRPr lang="da-DK" sz="675" b="0">
                <a:solidFill>
                  <a:schemeClr val="bg1">
                    <a:lumMod val="50000"/>
                  </a:schemeClr>
                </a:solidFill>
              </a:endParaRPr>
            </a:p>
            <a:p>
              <a:pPr algn="l"/>
              <a:r>
                <a:rPr lang="da-DK" sz="675" b="0">
                  <a:solidFill>
                    <a:schemeClr val="bg1">
                      <a:lumMod val="50000"/>
                    </a:schemeClr>
                  </a:solidFill>
                </a:rPr>
                <a:t>Klik for at indsætte tekst</a:t>
              </a:r>
            </a:p>
            <a:p>
              <a:pPr marL="80992" indent="-80992" algn="l">
                <a:buFont typeface="Arial" panose="020B0604020202020204" pitchFamily="34" charset="0"/>
                <a:buChar char="•"/>
              </a:pPr>
              <a:r>
                <a:rPr lang="da-DK" sz="675" b="0">
                  <a:solidFill>
                    <a:schemeClr val="bg1">
                      <a:lumMod val="50000"/>
                    </a:schemeClr>
                  </a:solidFill>
                </a:rPr>
                <a:t>Andet niveau</a:t>
              </a:r>
            </a:p>
            <a:p>
              <a:pPr marL="215978" indent="-80992" algn="l">
                <a:buFont typeface="Arial" panose="020B0604020202020204" pitchFamily="34" charset="0"/>
                <a:buChar char="•"/>
              </a:pPr>
              <a:r>
                <a:rPr lang="da-DK" sz="600" b="0">
                  <a:solidFill>
                    <a:schemeClr val="bg1">
                      <a:lumMod val="50000"/>
                    </a:schemeClr>
                  </a:solidFill>
                </a:rPr>
                <a:t>Tredje niveau</a:t>
              </a:r>
            </a:p>
            <a:p>
              <a:pPr marL="350965" indent="-80992" algn="l">
                <a:buFont typeface="Arial" panose="020B0604020202020204" pitchFamily="34" charset="0"/>
                <a:buChar char="•"/>
              </a:pPr>
              <a:r>
                <a:rPr lang="da-DK" sz="450" b="0">
                  <a:solidFill>
                    <a:schemeClr val="bg1">
                      <a:lumMod val="50000"/>
                    </a:schemeClr>
                  </a:solidFill>
                </a:rPr>
                <a:t>Fjerde niveau</a:t>
              </a:r>
            </a:p>
            <a:p>
              <a:pPr marL="458954" indent="-80992" algn="l">
                <a:buFont typeface="Arial" panose="020B0604020202020204" pitchFamily="34" charset="0"/>
                <a:buChar char="•"/>
              </a:pPr>
              <a:r>
                <a:rPr lang="da-DK" sz="450" b="0">
                  <a:solidFill>
                    <a:schemeClr val="bg1">
                      <a:lumMod val="50000"/>
                    </a:schemeClr>
                  </a:solidFill>
                </a:rPr>
                <a:t>Femte niveau</a:t>
              </a:r>
            </a:p>
            <a:p>
              <a:pPr algn="r"/>
              <a:endParaRPr lang="da-DK" sz="675" b="0">
                <a:solidFill>
                  <a:schemeClr val="bg1">
                    <a:lumMod val="50000"/>
                  </a:schemeClr>
                </a:solidFill>
              </a:endParaRPr>
            </a:p>
            <a:p>
              <a:pPr algn="r"/>
              <a:r>
                <a:rPr lang="da-DK" sz="675" b="0">
                  <a:solidFill>
                    <a:schemeClr val="bg1">
                      <a:lumMod val="50000"/>
                    </a:schemeClr>
                  </a:solidFill>
                </a:rPr>
                <a:t>For at gå tilbage i tekst-niveauer,</a:t>
              </a:r>
            </a:p>
            <a:p>
              <a:pPr algn="r"/>
              <a:r>
                <a:rPr lang="da-DK" sz="675" b="0">
                  <a:solidFill>
                    <a:schemeClr val="bg1">
                      <a:lumMod val="50000"/>
                    </a:schemeClr>
                  </a:solidFill>
                </a:rPr>
                <a:t>brug </a:t>
              </a:r>
              <a:r>
                <a:rPr lang="da-DK" sz="675" b="1">
                  <a:solidFill>
                    <a:schemeClr val="bg1">
                      <a:lumMod val="50000"/>
                    </a:schemeClr>
                  </a:solidFill>
                </a:rPr>
                <a:t>SHIFT + TAB</a:t>
              </a:r>
            </a:p>
            <a:p>
              <a:pPr algn="r"/>
              <a:endParaRPr lang="da-DK" sz="675" b="0">
                <a:solidFill>
                  <a:schemeClr val="bg1">
                    <a:lumMod val="50000"/>
                  </a:schemeClr>
                </a:solidFill>
              </a:endParaRPr>
            </a:p>
            <a:p>
              <a:pPr algn="r"/>
              <a:endParaRPr lang="da-DK" sz="675" b="0">
                <a:solidFill>
                  <a:schemeClr val="bg1">
                    <a:lumMod val="50000"/>
                  </a:schemeClr>
                </a:solidFill>
              </a:endParaRPr>
            </a:p>
            <a:p>
              <a:pPr algn="r"/>
              <a:r>
                <a:rPr lang="da-DK" sz="675" b="0">
                  <a:solidFill>
                    <a:schemeClr val="bg1">
                      <a:lumMod val="50000"/>
                    </a:schemeClr>
                  </a:solidFill>
                </a:rPr>
                <a:t>Alternativt kan</a:t>
              </a:r>
            </a:p>
            <a:p>
              <a:pPr algn="r"/>
              <a:r>
                <a:rPr lang="da-DK" sz="675" b="1">
                  <a:solidFill>
                    <a:schemeClr val="bg1">
                      <a:lumMod val="50000"/>
                    </a:schemeClr>
                  </a:solidFill>
                </a:rPr>
                <a:t>Forøg og Formindsk </a:t>
              </a:r>
            </a:p>
            <a:p>
              <a:pPr algn="r"/>
              <a:r>
                <a:rPr lang="da-DK" sz="675" b="0">
                  <a:solidFill>
                    <a:schemeClr val="bg1">
                      <a:lumMod val="50000"/>
                    </a:schemeClr>
                  </a:solidFill>
                </a:rPr>
                <a:t>listeniveau bruges</a:t>
              </a:r>
            </a:p>
          </p:txBody>
        </p:sp>
        <p:grpSp>
          <p:nvGrpSpPr>
            <p:cNvPr id="25" name="Gruppe 24"/>
            <p:cNvGrpSpPr/>
            <p:nvPr userDrawn="1"/>
          </p:nvGrpSpPr>
          <p:grpSpPr>
            <a:xfrm>
              <a:off x="-503503" y="3048030"/>
              <a:ext cx="358775" cy="236537"/>
              <a:chOff x="-503503" y="3171825"/>
              <a:chExt cx="358775" cy="236537"/>
            </a:xfrm>
          </p:grpSpPr>
          <p:pic>
            <p:nvPicPr>
              <p:cNvPr id="2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3503" y="3171825"/>
                <a:ext cx="358775" cy="2365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7" name="Afrundet rektangel 26"/>
              <p:cNvSpPr/>
              <p:nvPr userDrawn="1"/>
            </p:nvSpPr>
            <p:spPr>
              <a:xfrm>
                <a:off x="-503503" y="3171825"/>
                <a:ext cx="179387" cy="236537"/>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sz="750"/>
              </a:p>
            </p:txBody>
          </p:sp>
        </p:grpSp>
      </p:grpSp>
      <p:sp>
        <p:nvSpPr>
          <p:cNvPr id="28" name="Tekstboks 27"/>
          <p:cNvSpPr txBox="1"/>
          <p:nvPr userDrawn="1"/>
        </p:nvSpPr>
        <p:spPr>
          <a:xfrm>
            <a:off x="-1585485" y="0"/>
            <a:ext cx="1450682" cy="681540"/>
          </a:xfrm>
          <a:prstGeom prst="rect">
            <a:avLst/>
          </a:prstGeom>
          <a:noFill/>
        </p:spPr>
        <p:txBody>
          <a:bodyPr wrap="square" lIns="0" tIns="0" rIns="0" bIns="0" rtlCol="0">
            <a:noAutofit/>
          </a:bodyPr>
          <a:lstStyle/>
          <a:p>
            <a:pPr algn="r"/>
            <a:r>
              <a:rPr lang="da-DK" sz="675" b="1" noProof="1">
                <a:solidFill>
                  <a:schemeClr val="bg1">
                    <a:lumMod val="50000"/>
                  </a:schemeClr>
                </a:solidFill>
              </a:rPr>
              <a:t>Boks:</a:t>
            </a:r>
          </a:p>
          <a:p>
            <a:pPr algn="r"/>
            <a:r>
              <a:rPr lang="da-DK" sz="675" b="0" noProof="1">
                <a:solidFill>
                  <a:schemeClr val="bg1">
                    <a:lumMod val="50000"/>
                  </a:schemeClr>
                </a:solidFill>
              </a:rPr>
              <a:t>Mellemrubrik skrives enten med fed eller store bogstaver i regular</a:t>
            </a:r>
          </a:p>
          <a:p>
            <a:pPr algn="r"/>
            <a:endParaRPr lang="da-DK" sz="675" b="0" noProof="1">
              <a:solidFill>
                <a:schemeClr val="bg1">
                  <a:lumMod val="50000"/>
                </a:schemeClr>
              </a:solidFill>
            </a:endParaRPr>
          </a:p>
          <a:p>
            <a:pPr algn="r"/>
            <a:r>
              <a:rPr lang="da-DK" sz="675" b="0" noProof="1">
                <a:solidFill>
                  <a:schemeClr val="bg1">
                    <a:lumMod val="50000"/>
                  </a:schemeClr>
                </a:solidFill>
              </a:rPr>
              <a:t>Denne farve er mest egnet til skærm eller projektor</a:t>
            </a:r>
          </a:p>
        </p:txBody>
      </p:sp>
    </p:spTree>
    <p:extLst>
      <p:ext uri="{BB962C8B-B14F-4D97-AF65-F5344CB8AC3E}">
        <p14:creationId xmlns:p14="http://schemas.microsoft.com/office/powerpoint/2010/main" val="361512596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re tekstbokse bred ly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a-DK"/>
              <a:t>Klik for at indsætte overskrift i en eller to linjer</a:t>
            </a:r>
          </a:p>
        </p:txBody>
      </p:sp>
      <p:sp>
        <p:nvSpPr>
          <p:cNvPr id="3" name="Pladsholder til dato 2"/>
          <p:cNvSpPr>
            <a:spLocks noGrp="1"/>
          </p:cNvSpPr>
          <p:nvPr>
            <p:ph type="dt" sz="half" idx="10"/>
          </p:nvPr>
        </p:nvSpPr>
        <p:spPr/>
        <p:txBody>
          <a:bodyPr/>
          <a:lstStyle/>
          <a:p>
            <a:r>
              <a:rPr lang="sv-SE"/>
              <a:t>26/03/2026</a:t>
            </a:r>
            <a:endParaRPr lang="da-DK"/>
          </a:p>
        </p:txBody>
      </p:sp>
      <p:sp>
        <p:nvSpPr>
          <p:cNvPr id="4" name="Pladsholder til sidefod 3"/>
          <p:cNvSpPr>
            <a:spLocks noGrp="1"/>
          </p:cNvSpPr>
          <p:nvPr>
            <p:ph type="ftr" sz="quarter" idx="11"/>
          </p:nvPr>
        </p:nvSpPr>
        <p:spPr/>
        <p:txBody>
          <a:bodyPr/>
          <a:lstStyle/>
          <a:p>
            <a:r>
              <a:rPr lang="en-US"/>
              <a:t>Stakeholder Forum Agenda - Classification: External</a:t>
            </a:r>
            <a:endParaRPr lang="da-DK"/>
          </a:p>
        </p:txBody>
      </p:sp>
      <p:sp>
        <p:nvSpPr>
          <p:cNvPr id="5" name="Pladsholder til diasnummer 4"/>
          <p:cNvSpPr>
            <a:spLocks noGrp="1"/>
          </p:cNvSpPr>
          <p:nvPr>
            <p:ph type="sldNum" sz="quarter" idx="12"/>
          </p:nvPr>
        </p:nvSpPr>
        <p:spPr/>
        <p:txBody>
          <a:bodyPr/>
          <a:lstStyle/>
          <a:p>
            <a:fld id="{667EC89C-17A0-4E64-A6D2-B825673CEEDF}" type="slidenum">
              <a:rPr lang="da-DK" smtClean="0"/>
              <a:pPr/>
              <a:t>‹#›</a:t>
            </a:fld>
            <a:endParaRPr lang="da-DK"/>
          </a:p>
        </p:txBody>
      </p:sp>
      <p:sp>
        <p:nvSpPr>
          <p:cNvPr id="14" name="Tekstboks 13"/>
          <p:cNvSpPr txBox="1"/>
          <p:nvPr userDrawn="1"/>
        </p:nvSpPr>
        <p:spPr>
          <a:xfrm>
            <a:off x="-1585485" y="0"/>
            <a:ext cx="1450682" cy="573528"/>
          </a:xfrm>
          <a:prstGeom prst="rect">
            <a:avLst/>
          </a:prstGeom>
          <a:noFill/>
        </p:spPr>
        <p:txBody>
          <a:bodyPr wrap="square" lIns="0" tIns="0" rIns="0" bIns="0" rtlCol="0">
            <a:noAutofit/>
          </a:bodyPr>
          <a:lstStyle/>
          <a:p>
            <a:pPr algn="r"/>
            <a:r>
              <a:rPr lang="da-DK" sz="675" b="1" noProof="1">
                <a:solidFill>
                  <a:schemeClr val="bg1">
                    <a:lumMod val="50000"/>
                  </a:schemeClr>
                </a:solidFill>
              </a:rPr>
              <a:t>Boks:</a:t>
            </a:r>
          </a:p>
          <a:p>
            <a:pPr algn="r"/>
            <a:r>
              <a:rPr lang="da-DK" sz="675" b="0" noProof="1">
                <a:solidFill>
                  <a:schemeClr val="bg1">
                    <a:lumMod val="50000"/>
                  </a:schemeClr>
                </a:solidFill>
              </a:rPr>
              <a:t>Mellemrubrik skrives enten med fed eller store bogstaver i regular</a:t>
            </a:r>
          </a:p>
          <a:p>
            <a:pPr algn="r"/>
            <a:endParaRPr lang="da-DK" sz="675" b="0" noProof="1">
              <a:solidFill>
                <a:schemeClr val="bg1">
                  <a:lumMod val="50000"/>
                </a:schemeClr>
              </a:solidFill>
            </a:endParaRPr>
          </a:p>
          <a:p>
            <a:pPr algn="r"/>
            <a:r>
              <a:rPr lang="da-DK" sz="675" b="0" noProof="1">
                <a:solidFill>
                  <a:schemeClr val="bg1">
                    <a:lumMod val="50000"/>
                  </a:schemeClr>
                </a:solidFill>
              </a:rPr>
              <a:t>Denne farve er egnet til print</a:t>
            </a:r>
          </a:p>
        </p:txBody>
      </p:sp>
      <p:sp>
        <p:nvSpPr>
          <p:cNvPr id="15" name="Pladsholder til tekst 2"/>
          <p:cNvSpPr>
            <a:spLocks noGrp="1"/>
          </p:cNvSpPr>
          <p:nvPr>
            <p:ph type="body" sz="quarter" idx="29" hasCustomPrompt="1"/>
          </p:nvPr>
        </p:nvSpPr>
        <p:spPr>
          <a:xfrm>
            <a:off x="318642" y="1014411"/>
            <a:ext cx="4185545" cy="1674000"/>
          </a:xfrm>
          <a:prstGeom prst="roundRect">
            <a:avLst>
              <a:gd name="adj" fmla="val 0"/>
            </a:avLst>
          </a:prstGeom>
          <a:solidFill>
            <a:schemeClr val="accent5"/>
          </a:solidFill>
        </p:spPr>
        <p:txBody>
          <a:bodyPr lIns="126000" tIns="126000" rIns="126000" bIns="126000"/>
          <a:lstStyle>
            <a:lvl1pPr>
              <a:defRPr sz="1350">
                <a:solidFill>
                  <a:schemeClr val="tx1"/>
                </a:solidFill>
              </a:defRPr>
            </a:lvl1pPr>
            <a:lvl2pPr marL="172783" indent="-172783">
              <a:spcBef>
                <a:spcPts val="1200"/>
              </a:spcBef>
              <a:defRPr sz="1350">
                <a:solidFill>
                  <a:schemeClr val="tx1"/>
                </a:solidFill>
              </a:defRPr>
            </a:lvl2pPr>
            <a:lvl3pPr marL="404960" indent="-134987">
              <a:defRPr sz="1125">
                <a:solidFill>
                  <a:schemeClr val="tx1"/>
                </a:solidFill>
              </a:defRPr>
            </a:lvl3pPr>
            <a:lvl4pPr marL="539946" indent="-134987">
              <a:defRPr sz="900">
                <a:solidFill>
                  <a:schemeClr val="tx1"/>
                </a:solidFill>
              </a:defRPr>
            </a:lvl4pPr>
            <a:lvl5pPr marL="674933" indent="-134987">
              <a:defRPr sz="750">
                <a:solidFill>
                  <a:schemeClr val="tx1"/>
                </a:solidFill>
              </a:defRPr>
            </a:lvl5pPr>
            <a:lvl6pPr marL="674933" indent="-134987">
              <a:buFont typeface="Arial" panose="020B0604020202020204" pitchFamily="34" charset="0"/>
              <a:buChar char="•"/>
              <a:defRPr>
                <a:solidFill>
                  <a:schemeClr val="tx1"/>
                </a:solidFill>
              </a:defRPr>
            </a:lvl6pPr>
            <a:lvl7pPr marL="674933" indent="-134987">
              <a:buFont typeface="Arial" panose="020B0604020202020204" pitchFamily="34" charset="0"/>
              <a:buChar char="•"/>
              <a:defRPr>
                <a:solidFill>
                  <a:schemeClr val="tx1"/>
                </a:solidFill>
              </a:defRPr>
            </a:lvl7pPr>
            <a:lvl8pPr marL="674933" indent="-134987">
              <a:buFont typeface="Arial" panose="020B0604020202020204" pitchFamily="34" charset="0"/>
              <a:buChar char="•"/>
              <a:defRPr>
                <a:solidFill>
                  <a:schemeClr val="tx1"/>
                </a:solidFill>
              </a:defRPr>
            </a:lvl8pPr>
            <a:lvl9pPr marL="674933" indent="-134987">
              <a:defRPr>
                <a:solidFill>
                  <a:schemeClr val="tx1"/>
                </a:solidFill>
              </a:defRPr>
            </a:lvl9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16" name="Pladsholder til tekst 3"/>
          <p:cNvSpPr>
            <a:spLocks noGrp="1"/>
          </p:cNvSpPr>
          <p:nvPr>
            <p:ph type="body" sz="quarter" idx="30" hasCustomPrompt="1"/>
          </p:nvPr>
        </p:nvSpPr>
        <p:spPr>
          <a:xfrm>
            <a:off x="318641" y="2802600"/>
            <a:ext cx="8506107" cy="1674000"/>
          </a:xfrm>
          <a:prstGeom prst="roundRect">
            <a:avLst>
              <a:gd name="adj" fmla="val 0"/>
            </a:avLst>
          </a:prstGeom>
          <a:solidFill>
            <a:schemeClr val="accent5"/>
          </a:solidFill>
        </p:spPr>
        <p:txBody>
          <a:bodyPr lIns="126000" tIns="126000" rIns="126000" bIns="126000"/>
          <a:lstStyle>
            <a:lvl1pPr>
              <a:defRPr sz="1350">
                <a:solidFill>
                  <a:schemeClr val="tx1"/>
                </a:solidFill>
              </a:defRPr>
            </a:lvl1pPr>
            <a:lvl2pPr marL="172783" indent="-172783">
              <a:spcBef>
                <a:spcPts val="1200"/>
              </a:spcBef>
              <a:defRPr sz="1350">
                <a:solidFill>
                  <a:schemeClr val="tx1"/>
                </a:solidFill>
              </a:defRPr>
            </a:lvl2pPr>
            <a:lvl3pPr marL="404960" indent="-134987">
              <a:defRPr sz="1125">
                <a:solidFill>
                  <a:schemeClr val="tx1"/>
                </a:solidFill>
              </a:defRPr>
            </a:lvl3pPr>
            <a:lvl4pPr marL="539946" indent="-134987">
              <a:defRPr sz="900">
                <a:solidFill>
                  <a:schemeClr val="tx1"/>
                </a:solidFill>
              </a:defRPr>
            </a:lvl4pPr>
            <a:lvl5pPr marL="674933" indent="-134987">
              <a:defRPr sz="750">
                <a:solidFill>
                  <a:schemeClr val="tx1"/>
                </a:solidFill>
              </a:defRPr>
            </a:lvl5pPr>
            <a:lvl6pPr marL="674933" indent="-134987">
              <a:buFont typeface="Arial" panose="020B0604020202020204" pitchFamily="34" charset="0"/>
              <a:buChar char="•"/>
              <a:defRPr>
                <a:solidFill>
                  <a:schemeClr val="tx1"/>
                </a:solidFill>
              </a:defRPr>
            </a:lvl6pPr>
            <a:lvl7pPr marL="674933" indent="-134987">
              <a:buFont typeface="Arial" panose="020B0604020202020204" pitchFamily="34" charset="0"/>
              <a:buChar char="•"/>
              <a:defRPr>
                <a:solidFill>
                  <a:schemeClr val="tx1"/>
                </a:solidFill>
              </a:defRPr>
            </a:lvl7pPr>
            <a:lvl8pPr marL="674933" indent="-134987">
              <a:buFont typeface="Arial" panose="020B0604020202020204" pitchFamily="34" charset="0"/>
              <a:buChar char="•"/>
              <a:defRPr>
                <a:solidFill>
                  <a:schemeClr val="tx1"/>
                </a:solidFill>
              </a:defRPr>
            </a:lvl8pPr>
            <a:lvl9pPr marL="674933" indent="-134987">
              <a:defRPr>
                <a:solidFill>
                  <a:schemeClr val="tx1"/>
                </a:solidFill>
              </a:defRPr>
            </a:lvl9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17" name="Pladsholder til tekst 4"/>
          <p:cNvSpPr>
            <a:spLocks noGrp="1"/>
          </p:cNvSpPr>
          <p:nvPr>
            <p:ph type="body" sz="quarter" idx="31" hasCustomPrompt="1"/>
          </p:nvPr>
        </p:nvSpPr>
        <p:spPr>
          <a:xfrm>
            <a:off x="4639204" y="1014412"/>
            <a:ext cx="4185545" cy="1674000"/>
          </a:xfrm>
          <a:prstGeom prst="roundRect">
            <a:avLst>
              <a:gd name="adj" fmla="val 0"/>
            </a:avLst>
          </a:prstGeom>
          <a:solidFill>
            <a:schemeClr val="accent5"/>
          </a:solidFill>
        </p:spPr>
        <p:txBody>
          <a:bodyPr lIns="126000" tIns="126000" rIns="126000" bIns="126000"/>
          <a:lstStyle>
            <a:lvl1pPr>
              <a:defRPr sz="1350">
                <a:solidFill>
                  <a:schemeClr val="tx1"/>
                </a:solidFill>
              </a:defRPr>
            </a:lvl1pPr>
            <a:lvl2pPr marL="172783" indent="-172783">
              <a:spcBef>
                <a:spcPts val="1200"/>
              </a:spcBef>
              <a:defRPr sz="1350">
                <a:solidFill>
                  <a:schemeClr val="tx1"/>
                </a:solidFill>
              </a:defRPr>
            </a:lvl2pPr>
            <a:lvl3pPr marL="404960" indent="-134987">
              <a:defRPr sz="1125">
                <a:solidFill>
                  <a:schemeClr val="tx1"/>
                </a:solidFill>
              </a:defRPr>
            </a:lvl3pPr>
            <a:lvl4pPr marL="539946" indent="-134987">
              <a:defRPr sz="900">
                <a:solidFill>
                  <a:schemeClr val="tx1"/>
                </a:solidFill>
              </a:defRPr>
            </a:lvl4pPr>
            <a:lvl5pPr marL="674933" indent="-134987">
              <a:defRPr sz="750">
                <a:solidFill>
                  <a:schemeClr val="tx1"/>
                </a:solidFill>
              </a:defRPr>
            </a:lvl5pPr>
            <a:lvl6pPr marL="674933" indent="-134987">
              <a:buFont typeface="Arial" panose="020B0604020202020204" pitchFamily="34" charset="0"/>
              <a:buChar char="•"/>
              <a:defRPr>
                <a:solidFill>
                  <a:schemeClr val="tx1"/>
                </a:solidFill>
              </a:defRPr>
            </a:lvl6pPr>
            <a:lvl7pPr marL="674933" indent="-134987">
              <a:buFont typeface="Arial" panose="020B0604020202020204" pitchFamily="34" charset="0"/>
              <a:buChar char="•"/>
              <a:defRPr>
                <a:solidFill>
                  <a:schemeClr val="tx1"/>
                </a:solidFill>
              </a:defRPr>
            </a:lvl7pPr>
            <a:lvl8pPr marL="674933" indent="-134987">
              <a:buFont typeface="Arial" panose="020B0604020202020204" pitchFamily="34" charset="0"/>
              <a:buChar char="•"/>
              <a:defRPr>
                <a:solidFill>
                  <a:schemeClr val="tx1"/>
                </a:solidFill>
              </a:defRPr>
            </a:lvl8pPr>
            <a:lvl9pPr marL="674933" indent="-134987">
              <a:defRPr>
                <a:solidFill>
                  <a:schemeClr val="tx1"/>
                </a:solidFill>
              </a:defRPr>
            </a:lvl9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grpSp>
        <p:nvGrpSpPr>
          <p:cNvPr id="23" name="Gruppe 22"/>
          <p:cNvGrpSpPr/>
          <p:nvPr userDrawn="1"/>
        </p:nvGrpSpPr>
        <p:grpSpPr>
          <a:xfrm>
            <a:off x="-1215674" y="1015605"/>
            <a:ext cx="1107114" cy="1826177"/>
            <a:chOff x="-1620688" y="1354138"/>
            <a:chExt cx="1475960" cy="2434902"/>
          </a:xfrm>
        </p:grpSpPr>
        <p:sp>
          <p:nvSpPr>
            <p:cNvPr id="24" name="Tekstboks 23"/>
            <p:cNvSpPr txBox="1"/>
            <p:nvPr userDrawn="1"/>
          </p:nvSpPr>
          <p:spPr>
            <a:xfrm>
              <a:off x="-1620688" y="1354138"/>
              <a:ext cx="1475960" cy="2434902"/>
            </a:xfrm>
            <a:prstGeom prst="rect">
              <a:avLst/>
            </a:prstGeom>
            <a:noFill/>
          </p:spPr>
          <p:txBody>
            <a:bodyPr wrap="square" lIns="0" tIns="0" rIns="0" bIns="0" rtlCol="0">
              <a:noAutofit/>
            </a:bodyPr>
            <a:lstStyle/>
            <a:p>
              <a:pPr algn="r"/>
              <a:r>
                <a:rPr lang="da-DK" sz="675" b="1">
                  <a:solidFill>
                    <a:schemeClr val="bg1">
                      <a:lumMod val="50000"/>
                    </a:schemeClr>
                  </a:solidFill>
                </a:rPr>
                <a:t>Tekst-typografier</a:t>
              </a:r>
            </a:p>
            <a:p>
              <a:pPr algn="r"/>
              <a:r>
                <a:rPr lang="da-DK" sz="675" b="0">
                  <a:solidFill>
                    <a:schemeClr val="bg1">
                      <a:lumMod val="50000"/>
                    </a:schemeClr>
                  </a:solidFill>
                </a:rPr>
                <a:t>Brug </a:t>
              </a:r>
              <a:r>
                <a:rPr lang="da-DK" sz="675" b="1">
                  <a:solidFill>
                    <a:schemeClr val="bg1">
                      <a:lumMod val="50000"/>
                    </a:schemeClr>
                  </a:solidFill>
                </a:rPr>
                <a:t>TAB</a:t>
              </a:r>
              <a:r>
                <a:rPr lang="da-DK" sz="675" b="0">
                  <a:solidFill>
                    <a:schemeClr val="bg1">
                      <a:lumMod val="50000"/>
                    </a:schemeClr>
                  </a:solidFill>
                </a:rPr>
                <a:t> for at gå frem</a:t>
              </a:r>
            </a:p>
            <a:p>
              <a:pPr algn="r"/>
              <a:r>
                <a:rPr lang="da-DK" sz="675" b="0">
                  <a:solidFill>
                    <a:schemeClr val="bg1">
                      <a:lumMod val="50000"/>
                    </a:schemeClr>
                  </a:solidFill>
                </a:rPr>
                <a:t>i tekst-niveauer</a:t>
              </a:r>
            </a:p>
            <a:p>
              <a:pPr algn="r"/>
              <a:endParaRPr lang="da-DK" sz="675" b="0">
                <a:solidFill>
                  <a:schemeClr val="bg1">
                    <a:lumMod val="50000"/>
                  </a:schemeClr>
                </a:solidFill>
              </a:endParaRPr>
            </a:p>
            <a:p>
              <a:pPr algn="l"/>
              <a:r>
                <a:rPr lang="da-DK" sz="675" b="0">
                  <a:solidFill>
                    <a:schemeClr val="bg1">
                      <a:lumMod val="50000"/>
                    </a:schemeClr>
                  </a:solidFill>
                </a:rPr>
                <a:t>Klik for at indsætte tekst</a:t>
              </a:r>
            </a:p>
            <a:p>
              <a:pPr marL="80992" indent="-80992" algn="l">
                <a:buFont typeface="Arial" panose="020B0604020202020204" pitchFamily="34" charset="0"/>
                <a:buChar char="•"/>
              </a:pPr>
              <a:r>
                <a:rPr lang="da-DK" sz="675" b="0">
                  <a:solidFill>
                    <a:schemeClr val="bg1">
                      <a:lumMod val="50000"/>
                    </a:schemeClr>
                  </a:solidFill>
                </a:rPr>
                <a:t>Andet niveau</a:t>
              </a:r>
            </a:p>
            <a:p>
              <a:pPr marL="215978" indent="-80992" algn="l">
                <a:buFont typeface="Arial" panose="020B0604020202020204" pitchFamily="34" charset="0"/>
                <a:buChar char="•"/>
              </a:pPr>
              <a:r>
                <a:rPr lang="da-DK" sz="600" b="0">
                  <a:solidFill>
                    <a:schemeClr val="bg1">
                      <a:lumMod val="50000"/>
                    </a:schemeClr>
                  </a:solidFill>
                </a:rPr>
                <a:t>Tredje niveau</a:t>
              </a:r>
            </a:p>
            <a:p>
              <a:pPr marL="350965" indent="-80992" algn="l">
                <a:buFont typeface="Arial" panose="020B0604020202020204" pitchFamily="34" charset="0"/>
                <a:buChar char="•"/>
              </a:pPr>
              <a:r>
                <a:rPr lang="da-DK" sz="450" b="0">
                  <a:solidFill>
                    <a:schemeClr val="bg1">
                      <a:lumMod val="50000"/>
                    </a:schemeClr>
                  </a:solidFill>
                </a:rPr>
                <a:t>Fjerde niveau</a:t>
              </a:r>
            </a:p>
            <a:p>
              <a:pPr marL="458954" indent="-80992" algn="l">
                <a:buFont typeface="Arial" panose="020B0604020202020204" pitchFamily="34" charset="0"/>
                <a:buChar char="•"/>
              </a:pPr>
              <a:r>
                <a:rPr lang="da-DK" sz="450" b="0">
                  <a:solidFill>
                    <a:schemeClr val="bg1">
                      <a:lumMod val="50000"/>
                    </a:schemeClr>
                  </a:solidFill>
                </a:rPr>
                <a:t>Femte niveau</a:t>
              </a:r>
            </a:p>
            <a:p>
              <a:pPr algn="r"/>
              <a:endParaRPr lang="da-DK" sz="675" b="0">
                <a:solidFill>
                  <a:schemeClr val="bg1">
                    <a:lumMod val="50000"/>
                  </a:schemeClr>
                </a:solidFill>
              </a:endParaRPr>
            </a:p>
            <a:p>
              <a:pPr algn="r"/>
              <a:r>
                <a:rPr lang="da-DK" sz="675" b="0">
                  <a:solidFill>
                    <a:schemeClr val="bg1">
                      <a:lumMod val="50000"/>
                    </a:schemeClr>
                  </a:solidFill>
                </a:rPr>
                <a:t>For at gå tilbage i tekst-niveauer,</a:t>
              </a:r>
            </a:p>
            <a:p>
              <a:pPr algn="r"/>
              <a:r>
                <a:rPr lang="da-DK" sz="675" b="0">
                  <a:solidFill>
                    <a:schemeClr val="bg1">
                      <a:lumMod val="50000"/>
                    </a:schemeClr>
                  </a:solidFill>
                </a:rPr>
                <a:t>brug </a:t>
              </a:r>
              <a:r>
                <a:rPr lang="da-DK" sz="675" b="1">
                  <a:solidFill>
                    <a:schemeClr val="bg1">
                      <a:lumMod val="50000"/>
                    </a:schemeClr>
                  </a:solidFill>
                </a:rPr>
                <a:t>SHIFT + TAB</a:t>
              </a:r>
            </a:p>
            <a:p>
              <a:pPr algn="r"/>
              <a:endParaRPr lang="da-DK" sz="675" b="0">
                <a:solidFill>
                  <a:schemeClr val="bg1">
                    <a:lumMod val="50000"/>
                  </a:schemeClr>
                </a:solidFill>
              </a:endParaRPr>
            </a:p>
            <a:p>
              <a:pPr algn="r"/>
              <a:endParaRPr lang="da-DK" sz="675" b="0">
                <a:solidFill>
                  <a:schemeClr val="bg1">
                    <a:lumMod val="50000"/>
                  </a:schemeClr>
                </a:solidFill>
              </a:endParaRPr>
            </a:p>
            <a:p>
              <a:pPr algn="r"/>
              <a:r>
                <a:rPr lang="da-DK" sz="675" b="0">
                  <a:solidFill>
                    <a:schemeClr val="bg1">
                      <a:lumMod val="50000"/>
                    </a:schemeClr>
                  </a:solidFill>
                </a:rPr>
                <a:t>Alternativt kan</a:t>
              </a:r>
            </a:p>
            <a:p>
              <a:pPr algn="r"/>
              <a:r>
                <a:rPr lang="da-DK" sz="675" b="1">
                  <a:solidFill>
                    <a:schemeClr val="bg1">
                      <a:lumMod val="50000"/>
                    </a:schemeClr>
                  </a:solidFill>
                </a:rPr>
                <a:t>Forøg og Formindsk </a:t>
              </a:r>
            </a:p>
            <a:p>
              <a:pPr algn="r"/>
              <a:r>
                <a:rPr lang="da-DK" sz="675" b="0">
                  <a:solidFill>
                    <a:schemeClr val="bg1">
                      <a:lumMod val="50000"/>
                    </a:schemeClr>
                  </a:solidFill>
                </a:rPr>
                <a:t>listeniveau bruges</a:t>
              </a:r>
            </a:p>
          </p:txBody>
        </p:sp>
        <p:grpSp>
          <p:nvGrpSpPr>
            <p:cNvPr id="25" name="Gruppe 24"/>
            <p:cNvGrpSpPr/>
            <p:nvPr userDrawn="1"/>
          </p:nvGrpSpPr>
          <p:grpSpPr>
            <a:xfrm>
              <a:off x="-503503" y="3048030"/>
              <a:ext cx="358775" cy="236537"/>
              <a:chOff x="-503503" y="3171825"/>
              <a:chExt cx="358775" cy="236537"/>
            </a:xfrm>
          </p:grpSpPr>
          <p:pic>
            <p:nvPicPr>
              <p:cNvPr id="2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3503" y="3171825"/>
                <a:ext cx="358775" cy="2365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7" name="Afrundet rektangel 26"/>
              <p:cNvSpPr/>
              <p:nvPr userDrawn="1"/>
            </p:nvSpPr>
            <p:spPr>
              <a:xfrm>
                <a:off x="-503503" y="3171825"/>
                <a:ext cx="179387" cy="236537"/>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sz="750"/>
              </a:p>
            </p:txBody>
          </p:sp>
        </p:grpSp>
      </p:grpSp>
    </p:spTree>
    <p:extLst>
      <p:ext uri="{BB962C8B-B14F-4D97-AF65-F5344CB8AC3E}">
        <p14:creationId xmlns:p14="http://schemas.microsoft.com/office/powerpoint/2010/main" val="151331725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Proces to kolonn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a-DK"/>
              <a:t>Klik for at indsætte overskrift i en eller to linjer</a:t>
            </a:r>
          </a:p>
        </p:txBody>
      </p:sp>
      <p:sp>
        <p:nvSpPr>
          <p:cNvPr id="6" name="Pladsholder til tekst 2"/>
          <p:cNvSpPr>
            <a:spLocks noGrp="1"/>
          </p:cNvSpPr>
          <p:nvPr>
            <p:ph type="body" sz="quarter" idx="13" hasCustomPrompt="1"/>
          </p:nvPr>
        </p:nvSpPr>
        <p:spPr>
          <a:xfrm>
            <a:off x="318641" y="1014413"/>
            <a:ext cx="4239552" cy="405000"/>
          </a:xfrm>
          <a:prstGeom prst="chevron">
            <a:avLst>
              <a:gd name="adj" fmla="val 27849"/>
            </a:avLst>
          </a:prstGeom>
          <a:gradFill>
            <a:gsLst>
              <a:gs pos="0">
                <a:schemeClr val="accent1"/>
              </a:gs>
              <a:gs pos="100000">
                <a:schemeClr val="accent2"/>
              </a:gs>
            </a:gsLst>
            <a:lin ang="0" scaled="1"/>
          </a:gradFill>
        </p:spPr>
        <p:txBody>
          <a:bodyPr lIns="0" tIns="0" rIns="0" anchor="ctr" anchorCtr="0"/>
          <a:lstStyle>
            <a:lvl1pPr marL="0" indent="0" algn="ctr">
              <a:lnSpc>
                <a:spcPct val="100000"/>
              </a:lnSpc>
              <a:spcBef>
                <a:spcPts val="0"/>
              </a:spcBef>
              <a:buNone/>
              <a:defRPr sz="1350" cap="all" baseline="0">
                <a:solidFill>
                  <a:schemeClr val="bg1"/>
                </a:solidFill>
              </a:defRPr>
            </a:lvl1pPr>
          </a:lstStyle>
          <a:p>
            <a:pPr lvl="0"/>
            <a:r>
              <a:rPr lang="da-DK"/>
              <a:t>Indsæt tekst</a:t>
            </a:r>
          </a:p>
        </p:txBody>
      </p:sp>
      <p:sp>
        <p:nvSpPr>
          <p:cNvPr id="8" name="Pladsholder til tekst 3"/>
          <p:cNvSpPr>
            <a:spLocks noGrp="1"/>
          </p:cNvSpPr>
          <p:nvPr>
            <p:ph type="body" sz="quarter" idx="17" hasCustomPrompt="1"/>
          </p:nvPr>
        </p:nvSpPr>
        <p:spPr>
          <a:xfrm>
            <a:off x="318643" y="1555200"/>
            <a:ext cx="4118036" cy="2943000"/>
          </a:xfrm>
        </p:spPr>
        <p:txBody>
          <a:bodyPr tIns="90000" rIns="180000"/>
          <a:lstStyle>
            <a:lvl1pPr>
              <a:spcBef>
                <a:spcPts val="900"/>
              </a:spcBef>
              <a:defRPr sz="1050" b="0"/>
            </a:lvl1pPr>
            <a:lvl2pPr marL="172783" indent="-172783">
              <a:spcBef>
                <a:spcPts val="900"/>
              </a:spcBef>
              <a:defRPr sz="1050" b="0"/>
            </a:lvl2pPr>
            <a:lvl3pPr marL="345566" indent="-172783">
              <a:spcBef>
                <a:spcPts val="375"/>
              </a:spcBef>
              <a:defRPr sz="1050"/>
            </a:lvl3pPr>
            <a:lvl4pPr marL="404960" indent="-134987">
              <a:spcBef>
                <a:spcPts val="375"/>
              </a:spcBef>
              <a:defRPr sz="900"/>
            </a:lvl4pPr>
            <a:lvl5pPr marL="539946" indent="-134987">
              <a:spcBef>
                <a:spcPts val="375"/>
              </a:spcBef>
              <a:defRPr sz="750"/>
            </a:lvl5pPr>
            <a:lvl6pPr marL="539946" indent="-134987">
              <a:defRPr baseline="0"/>
            </a:lvl6pPr>
            <a:lvl7pPr marL="539946" indent="-134987">
              <a:defRPr/>
            </a:lvl7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a:p>
            <a:pPr lvl="5"/>
            <a:r>
              <a:rPr lang="da-DK"/>
              <a:t>6 niveau</a:t>
            </a:r>
          </a:p>
          <a:p>
            <a:pPr lvl="6"/>
            <a:r>
              <a:rPr lang="da-DK"/>
              <a:t>7 niveau</a:t>
            </a:r>
          </a:p>
          <a:p>
            <a:pPr lvl="6"/>
            <a:r>
              <a:rPr lang="da-DK"/>
              <a:t>8 niveau</a:t>
            </a:r>
          </a:p>
          <a:p>
            <a:pPr lvl="6"/>
            <a:r>
              <a:rPr lang="da-DK"/>
              <a:t>9 niveau</a:t>
            </a:r>
          </a:p>
        </p:txBody>
      </p:sp>
      <p:sp>
        <p:nvSpPr>
          <p:cNvPr id="9" name="Pladsholder til tekst  4"/>
          <p:cNvSpPr>
            <a:spLocks noGrp="1"/>
          </p:cNvSpPr>
          <p:nvPr>
            <p:ph type="body" sz="quarter" idx="19" hasCustomPrompt="1"/>
          </p:nvPr>
        </p:nvSpPr>
        <p:spPr>
          <a:xfrm>
            <a:off x="4585197" y="1015200"/>
            <a:ext cx="4239552" cy="405000"/>
          </a:xfrm>
          <a:prstGeom prst="chevron">
            <a:avLst>
              <a:gd name="adj" fmla="val 27849"/>
            </a:avLst>
          </a:prstGeom>
          <a:gradFill>
            <a:gsLst>
              <a:gs pos="0">
                <a:schemeClr val="accent2"/>
              </a:gs>
              <a:gs pos="100000">
                <a:schemeClr val="accent3"/>
              </a:gs>
            </a:gsLst>
            <a:lin ang="0" scaled="1"/>
          </a:gradFill>
        </p:spPr>
        <p:txBody>
          <a:bodyPr lIns="0" tIns="0" rIns="0" anchor="ctr" anchorCtr="0"/>
          <a:lstStyle>
            <a:lvl1pPr marL="0" indent="0" algn="ctr">
              <a:lnSpc>
                <a:spcPct val="100000"/>
              </a:lnSpc>
              <a:spcBef>
                <a:spcPts val="0"/>
              </a:spcBef>
              <a:buNone/>
              <a:defRPr sz="1350" cap="all" baseline="0">
                <a:solidFill>
                  <a:schemeClr val="bg1"/>
                </a:solidFill>
              </a:defRPr>
            </a:lvl1pPr>
          </a:lstStyle>
          <a:p>
            <a:pPr lvl="0"/>
            <a:r>
              <a:rPr lang="da-DK"/>
              <a:t>Indsæt tekst</a:t>
            </a:r>
          </a:p>
        </p:txBody>
      </p:sp>
      <p:sp>
        <p:nvSpPr>
          <p:cNvPr id="16" name="Pladsholder til tekst 5"/>
          <p:cNvSpPr>
            <a:spLocks noGrp="1"/>
          </p:cNvSpPr>
          <p:nvPr>
            <p:ph type="body" sz="quarter" idx="22" hasCustomPrompt="1"/>
          </p:nvPr>
        </p:nvSpPr>
        <p:spPr>
          <a:xfrm>
            <a:off x="4585199" y="1555200"/>
            <a:ext cx="4118036" cy="2943000"/>
          </a:xfrm>
        </p:spPr>
        <p:txBody>
          <a:bodyPr tIns="90000" rIns="180000"/>
          <a:lstStyle>
            <a:lvl1pPr>
              <a:spcBef>
                <a:spcPts val="900"/>
              </a:spcBef>
              <a:defRPr sz="1050" b="0"/>
            </a:lvl1pPr>
            <a:lvl2pPr marL="172783" indent="-172783">
              <a:spcBef>
                <a:spcPts val="900"/>
              </a:spcBef>
              <a:defRPr sz="1050" b="0"/>
            </a:lvl2pPr>
            <a:lvl3pPr marL="345566" indent="-172783">
              <a:spcBef>
                <a:spcPts val="375"/>
              </a:spcBef>
              <a:defRPr sz="1050"/>
            </a:lvl3pPr>
            <a:lvl4pPr marL="404960" indent="-134987">
              <a:spcBef>
                <a:spcPts val="375"/>
              </a:spcBef>
              <a:defRPr sz="900"/>
            </a:lvl4pPr>
            <a:lvl5pPr marL="539946" indent="-134987">
              <a:spcBef>
                <a:spcPts val="375"/>
              </a:spcBef>
              <a:defRPr sz="750"/>
            </a:lvl5pPr>
            <a:lvl6pPr marL="539946" indent="-134987">
              <a:defRPr baseline="0"/>
            </a:lvl6pPr>
            <a:lvl7pPr marL="539946" indent="-134987">
              <a:defRPr/>
            </a:lvl7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a:p>
            <a:pPr lvl="5"/>
            <a:r>
              <a:rPr lang="da-DK"/>
              <a:t>6 niveau</a:t>
            </a:r>
          </a:p>
          <a:p>
            <a:pPr lvl="6"/>
            <a:r>
              <a:rPr lang="da-DK"/>
              <a:t>7 niveau</a:t>
            </a:r>
          </a:p>
          <a:p>
            <a:pPr lvl="6"/>
            <a:r>
              <a:rPr lang="da-DK"/>
              <a:t>8 niveau</a:t>
            </a:r>
          </a:p>
          <a:p>
            <a:pPr lvl="6"/>
            <a:r>
              <a:rPr lang="da-DK"/>
              <a:t>9 niveau</a:t>
            </a:r>
          </a:p>
        </p:txBody>
      </p:sp>
      <p:sp>
        <p:nvSpPr>
          <p:cNvPr id="3" name="Pladsholder til dato 2"/>
          <p:cNvSpPr>
            <a:spLocks noGrp="1"/>
          </p:cNvSpPr>
          <p:nvPr>
            <p:ph type="dt" sz="half" idx="10"/>
          </p:nvPr>
        </p:nvSpPr>
        <p:spPr/>
        <p:txBody>
          <a:bodyPr/>
          <a:lstStyle/>
          <a:p>
            <a:r>
              <a:rPr lang="sv-SE"/>
              <a:t>26/03/2026</a:t>
            </a:r>
            <a:endParaRPr lang="da-DK"/>
          </a:p>
        </p:txBody>
      </p:sp>
      <p:sp>
        <p:nvSpPr>
          <p:cNvPr id="4" name="Pladsholder til sidefod 3" hidden="1"/>
          <p:cNvSpPr>
            <a:spLocks noGrp="1"/>
          </p:cNvSpPr>
          <p:nvPr>
            <p:ph type="ftr" sz="quarter" idx="11"/>
          </p:nvPr>
        </p:nvSpPr>
        <p:spPr/>
        <p:txBody>
          <a:bodyPr/>
          <a:lstStyle/>
          <a:p>
            <a:r>
              <a:rPr lang="en-US"/>
              <a:t>Stakeholder Forum Agenda - Classification: External</a:t>
            </a:r>
            <a:endParaRPr lang="da-DK"/>
          </a:p>
        </p:txBody>
      </p:sp>
      <p:sp>
        <p:nvSpPr>
          <p:cNvPr id="5" name="Pladsholder til diasnummer 4"/>
          <p:cNvSpPr>
            <a:spLocks noGrp="1"/>
          </p:cNvSpPr>
          <p:nvPr>
            <p:ph type="sldNum" sz="quarter" idx="12"/>
          </p:nvPr>
        </p:nvSpPr>
        <p:spPr/>
        <p:txBody>
          <a:bodyPr/>
          <a:lstStyle/>
          <a:p>
            <a:fld id="{667EC89C-17A0-4E64-A6D2-B825673CEEDF}" type="slidenum">
              <a:rPr lang="da-DK" smtClean="0"/>
              <a:pPr/>
              <a:t>‹#›</a:t>
            </a:fld>
            <a:endParaRPr lang="da-DK"/>
          </a:p>
        </p:txBody>
      </p:sp>
      <p:sp>
        <p:nvSpPr>
          <p:cNvPr id="15" name="Tekstboks 14"/>
          <p:cNvSpPr txBox="1"/>
          <p:nvPr userDrawn="1"/>
        </p:nvSpPr>
        <p:spPr>
          <a:xfrm>
            <a:off x="-1585485" y="0"/>
            <a:ext cx="1450682" cy="573528"/>
          </a:xfrm>
          <a:prstGeom prst="rect">
            <a:avLst/>
          </a:prstGeom>
          <a:noFill/>
        </p:spPr>
        <p:txBody>
          <a:bodyPr wrap="square" lIns="0" tIns="0" rIns="0" bIns="0" rtlCol="0">
            <a:noAutofit/>
          </a:bodyPr>
          <a:lstStyle/>
          <a:p>
            <a:pPr algn="r"/>
            <a:r>
              <a:rPr lang="da-DK" sz="675" b="1" noProof="1">
                <a:solidFill>
                  <a:schemeClr val="bg1">
                    <a:lumMod val="50000"/>
                  </a:schemeClr>
                </a:solidFill>
              </a:rPr>
              <a:t>Procesoversigter:</a:t>
            </a:r>
          </a:p>
          <a:p>
            <a:pPr algn="r"/>
            <a:r>
              <a:rPr lang="da-DK" sz="675" b="0" noProof="1">
                <a:solidFill>
                  <a:schemeClr val="bg1">
                    <a:lumMod val="50000"/>
                  </a:schemeClr>
                </a:solidFill>
              </a:rPr>
              <a:t>Findes i 2, 3 eller 4 spalter.</a:t>
            </a:r>
          </a:p>
          <a:p>
            <a:pPr algn="r"/>
            <a:endParaRPr lang="da-DK" sz="675" b="0" noProof="1">
              <a:solidFill>
                <a:schemeClr val="bg1">
                  <a:lumMod val="50000"/>
                </a:schemeClr>
              </a:solidFill>
            </a:endParaRPr>
          </a:p>
          <a:p>
            <a:pPr algn="r"/>
            <a:r>
              <a:rPr lang="da-DK" sz="675" b="0" noProof="1">
                <a:solidFill>
                  <a:schemeClr val="bg1">
                    <a:lumMod val="50000"/>
                  </a:schemeClr>
                </a:solidFill>
              </a:rPr>
              <a:t>Mellemrubrik skrives enten med fed eller store bogstaver i regular</a:t>
            </a:r>
          </a:p>
          <a:p>
            <a:pPr algn="r"/>
            <a:endParaRPr lang="da-DK" sz="675" b="0" noProof="1">
              <a:solidFill>
                <a:schemeClr val="bg1">
                  <a:lumMod val="50000"/>
                </a:schemeClr>
              </a:solidFill>
            </a:endParaRPr>
          </a:p>
        </p:txBody>
      </p:sp>
      <p:grpSp>
        <p:nvGrpSpPr>
          <p:cNvPr id="17" name="Gruppe 16"/>
          <p:cNvGrpSpPr/>
          <p:nvPr userDrawn="1"/>
        </p:nvGrpSpPr>
        <p:grpSpPr>
          <a:xfrm>
            <a:off x="-1215674" y="1545638"/>
            <a:ext cx="1107114" cy="1826177"/>
            <a:chOff x="-1620688" y="1354138"/>
            <a:chExt cx="1475960" cy="2434902"/>
          </a:xfrm>
        </p:grpSpPr>
        <p:sp>
          <p:nvSpPr>
            <p:cNvPr id="18" name="Tekstboks 17"/>
            <p:cNvSpPr txBox="1"/>
            <p:nvPr userDrawn="1"/>
          </p:nvSpPr>
          <p:spPr>
            <a:xfrm>
              <a:off x="-1620688" y="1354138"/>
              <a:ext cx="1475960" cy="2434902"/>
            </a:xfrm>
            <a:prstGeom prst="rect">
              <a:avLst/>
            </a:prstGeom>
            <a:noFill/>
          </p:spPr>
          <p:txBody>
            <a:bodyPr wrap="square" lIns="0" tIns="0" rIns="0" bIns="0" rtlCol="0">
              <a:noAutofit/>
            </a:bodyPr>
            <a:lstStyle/>
            <a:p>
              <a:pPr algn="r"/>
              <a:r>
                <a:rPr lang="da-DK" sz="675" b="1">
                  <a:solidFill>
                    <a:schemeClr val="bg1">
                      <a:lumMod val="50000"/>
                    </a:schemeClr>
                  </a:solidFill>
                </a:rPr>
                <a:t>Tekst-typografier</a:t>
              </a:r>
            </a:p>
            <a:p>
              <a:pPr algn="r"/>
              <a:r>
                <a:rPr lang="da-DK" sz="675" b="0">
                  <a:solidFill>
                    <a:schemeClr val="bg1">
                      <a:lumMod val="50000"/>
                    </a:schemeClr>
                  </a:solidFill>
                </a:rPr>
                <a:t>Brug </a:t>
              </a:r>
              <a:r>
                <a:rPr lang="da-DK" sz="675" b="1">
                  <a:solidFill>
                    <a:schemeClr val="bg1">
                      <a:lumMod val="50000"/>
                    </a:schemeClr>
                  </a:solidFill>
                </a:rPr>
                <a:t>TAB</a:t>
              </a:r>
              <a:r>
                <a:rPr lang="da-DK" sz="675" b="0">
                  <a:solidFill>
                    <a:schemeClr val="bg1">
                      <a:lumMod val="50000"/>
                    </a:schemeClr>
                  </a:solidFill>
                </a:rPr>
                <a:t> for at gå frem</a:t>
              </a:r>
            </a:p>
            <a:p>
              <a:pPr algn="r"/>
              <a:r>
                <a:rPr lang="da-DK" sz="675" b="0">
                  <a:solidFill>
                    <a:schemeClr val="bg1">
                      <a:lumMod val="50000"/>
                    </a:schemeClr>
                  </a:solidFill>
                </a:rPr>
                <a:t>i tekst-niveauer</a:t>
              </a:r>
            </a:p>
            <a:p>
              <a:pPr algn="r"/>
              <a:endParaRPr lang="da-DK" sz="675" b="0">
                <a:solidFill>
                  <a:schemeClr val="bg1">
                    <a:lumMod val="50000"/>
                  </a:schemeClr>
                </a:solidFill>
              </a:endParaRPr>
            </a:p>
            <a:p>
              <a:pPr algn="l"/>
              <a:r>
                <a:rPr lang="da-DK" sz="675" b="0">
                  <a:solidFill>
                    <a:schemeClr val="bg1">
                      <a:lumMod val="50000"/>
                    </a:schemeClr>
                  </a:solidFill>
                </a:rPr>
                <a:t>Klik for at indsætte tekst</a:t>
              </a:r>
            </a:p>
            <a:p>
              <a:pPr marL="80992" indent="-80992" algn="l">
                <a:buFont typeface="Arial" panose="020B0604020202020204" pitchFamily="34" charset="0"/>
                <a:buChar char="•"/>
              </a:pPr>
              <a:r>
                <a:rPr lang="da-DK" sz="675" b="0">
                  <a:solidFill>
                    <a:schemeClr val="bg1">
                      <a:lumMod val="50000"/>
                    </a:schemeClr>
                  </a:solidFill>
                </a:rPr>
                <a:t>Andet niveau</a:t>
              </a:r>
            </a:p>
            <a:p>
              <a:pPr marL="215978" indent="-80992" algn="l">
                <a:buFont typeface="Arial" panose="020B0604020202020204" pitchFamily="34" charset="0"/>
                <a:buChar char="•"/>
              </a:pPr>
              <a:r>
                <a:rPr lang="da-DK" sz="600" b="0">
                  <a:solidFill>
                    <a:schemeClr val="bg1">
                      <a:lumMod val="50000"/>
                    </a:schemeClr>
                  </a:solidFill>
                </a:rPr>
                <a:t>Tredje niveau</a:t>
              </a:r>
            </a:p>
            <a:p>
              <a:pPr marL="350965" indent="-80992" algn="l">
                <a:buFont typeface="Arial" panose="020B0604020202020204" pitchFamily="34" charset="0"/>
                <a:buChar char="•"/>
              </a:pPr>
              <a:r>
                <a:rPr lang="da-DK" sz="450" b="0">
                  <a:solidFill>
                    <a:schemeClr val="bg1">
                      <a:lumMod val="50000"/>
                    </a:schemeClr>
                  </a:solidFill>
                </a:rPr>
                <a:t>Fjerde niveau</a:t>
              </a:r>
            </a:p>
            <a:p>
              <a:pPr marL="458954" indent="-80992" algn="l">
                <a:buFont typeface="Arial" panose="020B0604020202020204" pitchFamily="34" charset="0"/>
                <a:buChar char="•"/>
              </a:pPr>
              <a:r>
                <a:rPr lang="da-DK" sz="450" b="0">
                  <a:solidFill>
                    <a:schemeClr val="bg1">
                      <a:lumMod val="50000"/>
                    </a:schemeClr>
                  </a:solidFill>
                </a:rPr>
                <a:t>Femte niveau</a:t>
              </a:r>
            </a:p>
            <a:p>
              <a:pPr algn="r"/>
              <a:endParaRPr lang="da-DK" sz="675" b="0">
                <a:solidFill>
                  <a:schemeClr val="bg1">
                    <a:lumMod val="50000"/>
                  </a:schemeClr>
                </a:solidFill>
              </a:endParaRPr>
            </a:p>
            <a:p>
              <a:pPr algn="r"/>
              <a:r>
                <a:rPr lang="da-DK" sz="675" b="0">
                  <a:solidFill>
                    <a:schemeClr val="bg1">
                      <a:lumMod val="50000"/>
                    </a:schemeClr>
                  </a:solidFill>
                </a:rPr>
                <a:t>For at gå tilbage i tekst-niveauer,</a:t>
              </a:r>
            </a:p>
            <a:p>
              <a:pPr algn="r"/>
              <a:r>
                <a:rPr lang="da-DK" sz="675" b="0">
                  <a:solidFill>
                    <a:schemeClr val="bg1">
                      <a:lumMod val="50000"/>
                    </a:schemeClr>
                  </a:solidFill>
                </a:rPr>
                <a:t>brug </a:t>
              </a:r>
              <a:r>
                <a:rPr lang="da-DK" sz="675" b="1">
                  <a:solidFill>
                    <a:schemeClr val="bg1">
                      <a:lumMod val="50000"/>
                    </a:schemeClr>
                  </a:solidFill>
                </a:rPr>
                <a:t>SHIFT + TAB</a:t>
              </a:r>
            </a:p>
            <a:p>
              <a:pPr algn="r"/>
              <a:endParaRPr lang="da-DK" sz="675" b="0">
                <a:solidFill>
                  <a:schemeClr val="bg1">
                    <a:lumMod val="50000"/>
                  </a:schemeClr>
                </a:solidFill>
              </a:endParaRPr>
            </a:p>
            <a:p>
              <a:pPr algn="r"/>
              <a:endParaRPr lang="da-DK" sz="675" b="0">
                <a:solidFill>
                  <a:schemeClr val="bg1">
                    <a:lumMod val="50000"/>
                  </a:schemeClr>
                </a:solidFill>
              </a:endParaRPr>
            </a:p>
            <a:p>
              <a:pPr algn="r"/>
              <a:r>
                <a:rPr lang="da-DK" sz="675" b="0">
                  <a:solidFill>
                    <a:schemeClr val="bg1">
                      <a:lumMod val="50000"/>
                    </a:schemeClr>
                  </a:solidFill>
                </a:rPr>
                <a:t>Alternativt kan</a:t>
              </a:r>
            </a:p>
            <a:p>
              <a:pPr algn="r"/>
              <a:r>
                <a:rPr lang="da-DK" sz="675" b="1">
                  <a:solidFill>
                    <a:schemeClr val="bg1">
                      <a:lumMod val="50000"/>
                    </a:schemeClr>
                  </a:solidFill>
                </a:rPr>
                <a:t>Forøg og Formindsk </a:t>
              </a:r>
            </a:p>
            <a:p>
              <a:pPr algn="r"/>
              <a:r>
                <a:rPr lang="da-DK" sz="675" b="0">
                  <a:solidFill>
                    <a:schemeClr val="bg1">
                      <a:lumMod val="50000"/>
                    </a:schemeClr>
                  </a:solidFill>
                </a:rPr>
                <a:t>listeniveau bruges</a:t>
              </a:r>
            </a:p>
          </p:txBody>
        </p:sp>
        <p:grpSp>
          <p:nvGrpSpPr>
            <p:cNvPr id="19" name="Gruppe 18"/>
            <p:cNvGrpSpPr/>
            <p:nvPr userDrawn="1"/>
          </p:nvGrpSpPr>
          <p:grpSpPr>
            <a:xfrm>
              <a:off x="-503503" y="3048030"/>
              <a:ext cx="358775" cy="236537"/>
              <a:chOff x="-503503" y="3171825"/>
              <a:chExt cx="358775" cy="236537"/>
            </a:xfrm>
          </p:grpSpPr>
          <p:pic>
            <p:nvPicPr>
              <p:cNvPr id="2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3503" y="3171825"/>
                <a:ext cx="358775" cy="2365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Afrundet rektangel 20"/>
              <p:cNvSpPr/>
              <p:nvPr userDrawn="1"/>
            </p:nvSpPr>
            <p:spPr>
              <a:xfrm>
                <a:off x="-503503" y="3171825"/>
                <a:ext cx="179387" cy="236537"/>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sz="750"/>
              </a:p>
            </p:txBody>
          </p:sp>
        </p:grpSp>
      </p:grpSp>
    </p:spTree>
    <p:extLst>
      <p:ext uri="{BB962C8B-B14F-4D97-AF65-F5344CB8AC3E}">
        <p14:creationId xmlns:p14="http://schemas.microsoft.com/office/powerpoint/2010/main" val="136545210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Proces tre kolonn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a-DK"/>
              <a:t>Klik for at indsætte overskrift i en eller to linjer</a:t>
            </a:r>
          </a:p>
        </p:txBody>
      </p:sp>
      <p:sp>
        <p:nvSpPr>
          <p:cNvPr id="6" name="Pladsholder til tekst 2"/>
          <p:cNvSpPr>
            <a:spLocks noGrp="1"/>
          </p:cNvSpPr>
          <p:nvPr>
            <p:ph type="body" sz="quarter" idx="13" hasCustomPrompt="1"/>
          </p:nvPr>
        </p:nvSpPr>
        <p:spPr>
          <a:xfrm>
            <a:off x="318642" y="1014413"/>
            <a:ext cx="2821868" cy="405000"/>
          </a:xfrm>
          <a:prstGeom prst="chevron">
            <a:avLst>
              <a:gd name="adj" fmla="val 27849"/>
            </a:avLst>
          </a:prstGeom>
          <a:gradFill>
            <a:gsLst>
              <a:gs pos="0">
                <a:schemeClr val="accent1"/>
              </a:gs>
              <a:gs pos="100000">
                <a:schemeClr val="accent2"/>
              </a:gs>
            </a:gsLst>
            <a:lin ang="0" scaled="1"/>
          </a:gradFill>
        </p:spPr>
        <p:txBody>
          <a:bodyPr lIns="0" tIns="0" rIns="0" anchor="ctr" anchorCtr="0"/>
          <a:lstStyle>
            <a:lvl1pPr marL="0" indent="0" algn="ctr">
              <a:lnSpc>
                <a:spcPct val="100000"/>
              </a:lnSpc>
              <a:spcBef>
                <a:spcPts val="0"/>
              </a:spcBef>
              <a:buNone/>
              <a:defRPr sz="1350" cap="all" baseline="0">
                <a:solidFill>
                  <a:schemeClr val="bg1"/>
                </a:solidFill>
              </a:defRPr>
            </a:lvl1pPr>
          </a:lstStyle>
          <a:p>
            <a:pPr lvl="0"/>
            <a:r>
              <a:rPr lang="da-DK"/>
              <a:t>Indsæt tekst</a:t>
            </a:r>
          </a:p>
        </p:txBody>
      </p:sp>
      <p:sp>
        <p:nvSpPr>
          <p:cNvPr id="8" name="Pladsholder til tekst 3"/>
          <p:cNvSpPr>
            <a:spLocks noGrp="1"/>
          </p:cNvSpPr>
          <p:nvPr>
            <p:ph type="body" sz="quarter" idx="17" hasCustomPrompt="1"/>
          </p:nvPr>
        </p:nvSpPr>
        <p:spPr>
          <a:xfrm>
            <a:off x="318643" y="1555200"/>
            <a:ext cx="2700353" cy="2943000"/>
          </a:xfrm>
        </p:spPr>
        <p:txBody>
          <a:bodyPr tIns="90000" rIns="180000"/>
          <a:lstStyle>
            <a:lvl1pPr>
              <a:spcBef>
                <a:spcPts val="900"/>
              </a:spcBef>
              <a:defRPr sz="1050" b="0"/>
            </a:lvl1pPr>
            <a:lvl2pPr marL="172783" indent="-172783">
              <a:spcBef>
                <a:spcPts val="900"/>
              </a:spcBef>
              <a:defRPr sz="1050" b="0"/>
            </a:lvl2pPr>
            <a:lvl3pPr marL="345566" indent="-172783">
              <a:spcBef>
                <a:spcPts val="375"/>
              </a:spcBef>
              <a:defRPr sz="1050"/>
            </a:lvl3pPr>
            <a:lvl4pPr marL="404960" indent="-134987">
              <a:spcBef>
                <a:spcPts val="375"/>
              </a:spcBef>
              <a:defRPr sz="900"/>
            </a:lvl4pPr>
            <a:lvl5pPr marL="539946" indent="-134987">
              <a:spcBef>
                <a:spcPts val="375"/>
              </a:spcBef>
              <a:defRPr sz="750"/>
            </a:lvl5pPr>
            <a:lvl6pPr marL="539946" indent="-134987">
              <a:defRPr baseline="0"/>
            </a:lvl6pPr>
            <a:lvl7pPr marL="539946" indent="-134987">
              <a:defRPr/>
            </a:lvl7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a:p>
            <a:pPr lvl="5"/>
            <a:r>
              <a:rPr lang="da-DK"/>
              <a:t>6 niveau</a:t>
            </a:r>
          </a:p>
          <a:p>
            <a:pPr lvl="6"/>
            <a:r>
              <a:rPr lang="da-DK"/>
              <a:t>7 niveau</a:t>
            </a:r>
          </a:p>
          <a:p>
            <a:pPr lvl="6"/>
            <a:r>
              <a:rPr lang="da-DK"/>
              <a:t>8 niveau</a:t>
            </a:r>
          </a:p>
          <a:p>
            <a:pPr lvl="6"/>
            <a:r>
              <a:rPr lang="da-DK"/>
              <a:t>9 niveau</a:t>
            </a:r>
          </a:p>
        </p:txBody>
      </p:sp>
      <p:sp>
        <p:nvSpPr>
          <p:cNvPr id="9" name="Pladsholder til tekst  4"/>
          <p:cNvSpPr>
            <a:spLocks noGrp="1"/>
          </p:cNvSpPr>
          <p:nvPr>
            <p:ph type="body" sz="quarter" idx="19" hasCustomPrompt="1"/>
          </p:nvPr>
        </p:nvSpPr>
        <p:spPr>
          <a:xfrm>
            <a:off x="3159412" y="1015200"/>
            <a:ext cx="2821868" cy="405000"/>
          </a:xfrm>
          <a:prstGeom prst="chevron">
            <a:avLst>
              <a:gd name="adj" fmla="val 27849"/>
            </a:avLst>
          </a:prstGeom>
          <a:gradFill>
            <a:gsLst>
              <a:gs pos="0">
                <a:schemeClr val="accent2"/>
              </a:gs>
              <a:gs pos="100000">
                <a:schemeClr val="accent3"/>
              </a:gs>
            </a:gsLst>
            <a:lin ang="0" scaled="1"/>
          </a:gradFill>
        </p:spPr>
        <p:txBody>
          <a:bodyPr lIns="0" tIns="0" rIns="0" anchor="ctr" anchorCtr="0"/>
          <a:lstStyle>
            <a:lvl1pPr marL="0" indent="0" algn="ctr">
              <a:lnSpc>
                <a:spcPct val="100000"/>
              </a:lnSpc>
              <a:spcBef>
                <a:spcPts val="0"/>
              </a:spcBef>
              <a:buNone/>
              <a:defRPr sz="1350" cap="all" baseline="0">
                <a:solidFill>
                  <a:schemeClr val="bg1"/>
                </a:solidFill>
              </a:defRPr>
            </a:lvl1pPr>
          </a:lstStyle>
          <a:p>
            <a:pPr lvl="0"/>
            <a:r>
              <a:rPr lang="da-DK"/>
              <a:t>Indsæt tekst</a:t>
            </a:r>
          </a:p>
        </p:txBody>
      </p:sp>
      <p:sp>
        <p:nvSpPr>
          <p:cNvPr id="16" name="Pladsholder til tekst 5"/>
          <p:cNvSpPr>
            <a:spLocks noGrp="1"/>
          </p:cNvSpPr>
          <p:nvPr>
            <p:ph type="body" sz="quarter" idx="22" hasCustomPrompt="1"/>
          </p:nvPr>
        </p:nvSpPr>
        <p:spPr>
          <a:xfrm>
            <a:off x="3159411" y="1555200"/>
            <a:ext cx="2700353" cy="2943000"/>
          </a:xfrm>
        </p:spPr>
        <p:txBody>
          <a:bodyPr tIns="90000" rIns="180000"/>
          <a:lstStyle>
            <a:lvl1pPr>
              <a:spcBef>
                <a:spcPts val="900"/>
              </a:spcBef>
              <a:defRPr sz="1050" b="0"/>
            </a:lvl1pPr>
            <a:lvl2pPr marL="172783" indent="-172783">
              <a:spcBef>
                <a:spcPts val="900"/>
              </a:spcBef>
              <a:defRPr sz="1050" b="0"/>
            </a:lvl2pPr>
            <a:lvl3pPr marL="345566" indent="-172783">
              <a:spcBef>
                <a:spcPts val="375"/>
              </a:spcBef>
              <a:defRPr sz="1050"/>
            </a:lvl3pPr>
            <a:lvl4pPr marL="404960" indent="-134987">
              <a:spcBef>
                <a:spcPts val="375"/>
              </a:spcBef>
              <a:defRPr sz="900"/>
            </a:lvl4pPr>
            <a:lvl5pPr marL="539946" indent="-134987">
              <a:spcBef>
                <a:spcPts val="375"/>
              </a:spcBef>
              <a:defRPr sz="750"/>
            </a:lvl5pPr>
            <a:lvl6pPr marL="539946" indent="-134987">
              <a:defRPr baseline="0"/>
            </a:lvl6pPr>
            <a:lvl7pPr marL="539946" indent="-134987">
              <a:defRPr/>
            </a:lvl7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a:p>
            <a:pPr lvl="5"/>
            <a:r>
              <a:rPr lang="da-DK"/>
              <a:t>6 niveau</a:t>
            </a:r>
          </a:p>
          <a:p>
            <a:pPr lvl="6"/>
            <a:r>
              <a:rPr lang="da-DK"/>
              <a:t>7 niveau</a:t>
            </a:r>
          </a:p>
          <a:p>
            <a:pPr lvl="6"/>
            <a:r>
              <a:rPr lang="da-DK"/>
              <a:t>8 niveau</a:t>
            </a:r>
          </a:p>
          <a:p>
            <a:pPr lvl="6"/>
            <a:r>
              <a:rPr lang="da-DK"/>
              <a:t>9 niveau</a:t>
            </a:r>
          </a:p>
        </p:txBody>
      </p:sp>
      <p:sp>
        <p:nvSpPr>
          <p:cNvPr id="17" name="Pladsholder til tekst  6"/>
          <p:cNvSpPr>
            <a:spLocks noGrp="1"/>
          </p:cNvSpPr>
          <p:nvPr>
            <p:ph type="body" sz="quarter" idx="23" hasCustomPrompt="1"/>
          </p:nvPr>
        </p:nvSpPr>
        <p:spPr>
          <a:xfrm>
            <a:off x="6002881" y="1014413"/>
            <a:ext cx="2821868" cy="405000"/>
          </a:xfrm>
          <a:prstGeom prst="chevron">
            <a:avLst>
              <a:gd name="adj" fmla="val 27849"/>
            </a:avLst>
          </a:prstGeom>
          <a:gradFill>
            <a:gsLst>
              <a:gs pos="0">
                <a:schemeClr val="accent3"/>
              </a:gs>
              <a:gs pos="100000">
                <a:schemeClr val="accent4"/>
              </a:gs>
            </a:gsLst>
            <a:lin ang="0" scaled="1"/>
          </a:gradFill>
        </p:spPr>
        <p:txBody>
          <a:bodyPr lIns="0" tIns="0" rIns="0" anchor="ctr" anchorCtr="0"/>
          <a:lstStyle>
            <a:lvl1pPr marL="0" indent="0" algn="ctr">
              <a:lnSpc>
                <a:spcPct val="100000"/>
              </a:lnSpc>
              <a:spcBef>
                <a:spcPts val="0"/>
              </a:spcBef>
              <a:buNone/>
              <a:defRPr sz="1350" cap="all" baseline="0">
                <a:solidFill>
                  <a:schemeClr val="bg1"/>
                </a:solidFill>
              </a:defRPr>
            </a:lvl1pPr>
          </a:lstStyle>
          <a:p>
            <a:pPr lvl="0"/>
            <a:r>
              <a:rPr lang="da-DK"/>
              <a:t>Indsæt tekst</a:t>
            </a:r>
          </a:p>
        </p:txBody>
      </p:sp>
      <p:sp>
        <p:nvSpPr>
          <p:cNvPr id="18" name="Pladsholder til tekst 7"/>
          <p:cNvSpPr>
            <a:spLocks noGrp="1"/>
          </p:cNvSpPr>
          <p:nvPr>
            <p:ph type="body" sz="quarter" idx="24" hasCustomPrompt="1"/>
          </p:nvPr>
        </p:nvSpPr>
        <p:spPr>
          <a:xfrm>
            <a:off x="6002882" y="1555200"/>
            <a:ext cx="2700353" cy="2943000"/>
          </a:xfrm>
        </p:spPr>
        <p:txBody>
          <a:bodyPr tIns="90000" rIns="180000"/>
          <a:lstStyle>
            <a:lvl1pPr>
              <a:spcBef>
                <a:spcPts val="900"/>
              </a:spcBef>
              <a:defRPr sz="1050" b="0"/>
            </a:lvl1pPr>
            <a:lvl2pPr marL="172783" indent="-172783">
              <a:spcBef>
                <a:spcPts val="900"/>
              </a:spcBef>
              <a:defRPr sz="1050" b="0"/>
            </a:lvl2pPr>
            <a:lvl3pPr marL="345566" indent="-172783">
              <a:spcBef>
                <a:spcPts val="375"/>
              </a:spcBef>
              <a:defRPr sz="1050"/>
            </a:lvl3pPr>
            <a:lvl4pPr marL="404960" indent="-134987">
              <a:spcBef>
                <a:spcPts val="375"/>
              </a:spcBef>
              <a:defRPr sz="900"/>
            </a:lvl4pPr>
            <a:lvl5pPr marL="539946" indent="-134987">
              <a:spcBef>
                <a:spcPts val="375"/>
              </a:spcBef>
              <a:defRPr sz="750"/>
            </a:lvl5pPr>
            <a:lvl6pPr marL="539946" indent="-134987">
              <a:defRPr baseline="0"/>
            </a:lvl6pPr>
            <a:lvl7pPr marL="539946" indent="-134987">
              <a:defRPr/>
            </a:lvl7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a:p>
            <a:pPr lvl="5"/>
            <a:r>
              <a:rPr lang="da-DK"/>
              <a:t>6 niveau</a:t>
            </a:r>
          </a:p>
          <a:p>
            <a:pPr lvl="6"/>
            <a:r>
              <a:rPr lang="da-DK"/>
              <a:t>7 niveau</a:t>
            </a:r>
          </a:p>
          <a:p>
            <a:pPr lvl="6"/>
            <a:r>
              <a:rPr lang="da-DK"/>
              <a:t>8 niveau</a:t>
            </a:r>
          </a:p>
          <a:p>
            <a:pPr lvl="6"/>
            <a:r>
              <a:rPr lang="da-DK"/>
              <a:t>9 niveau</a:t>
            </a:r>
          </a:p>
        </p:txBody>
      </p:sp>
      <p:sp>
        <p:nvSpPr>
          <p:cNvPr id="3" name="Pladsholder til dato 2"/>
          <p:cNvSpPr>
            <a:spLocks noGrp="1"/>
          </p:cNvSpPr>
          <p:nvPr>
            <p:ph type="dt" sz="half" idx="10"/>
          </p:nvPr>
        </p:nvSpPr>
        <p:spPr/>
        <p:txBody>
          <a:bodyPr/>
          <a:lstStyle/>
          <a:p>
            <a:r>
              <a:rPr lang="sv-SE"/>
              <a:t>26/03/2026</a:t>
            </a:r>
            <a:endParaRPr lang="da-DK"/>
          </a:p>
        </p:txBody>
      </p:sp>
      <p:sp>
        <p:nvSpPr>
          <p:cNvPr id="4" name="Pladsholder til sidefod 3" hidden="1"/>
          <p:cNvSpPr>
            <a:spLocks noGrp="1"/>
          </p:cNvSpPr>
          <p:nvPr>
            <p:ph type="ftr" sz="quarter" idx="11"/>
          </p:nvPr>
        </p:nvSpPr>
        <p:spPr/>
        <p:txBody>
          <a:bodyPr/>
          <a:lstStyle/>
          <a:p>
            <a:r>
              <a:rPr lang="en-US"/>
              <a:t>Stakeholder Forum Agenda - Classification: External</a:t>
            </a:r>
            <a:endParaRPr lang="da-DK"/>
          </a:p>
        </p:txBody>
      </p:sp>
      <p:sp>
        <p:nvSpPr>
          <p:cNvPr id="5" name="Pladsholder til diasnummer 4"/>
          <p:cNvSpPr>
            <a:spLocks noGrp="1"/>
          </p:cNvSpPr>
          <p:nvPr>
            <p:ph type="sldNum" sz="quarter" idx="12"/>
          </p:nvPr>
        </p:nvSpPr>
        <p:spPr/>
        <p:txBody>
          <a:bodyPr/>
          <a:lstStyle/>
          <a:p>
            <a:fld id="{667EC89C-17A0-4E64-A6D2-B825673CEEDF}" type="slidenum">
              <a:rPr lang="da-DK" smtClean="0"/>
              <a:pPr/>
              <a:t>‹#›</a:t>
            </a:fld>
            <a:endParaRPr lang="da-DK"/>
          </a:p>
        </p:txBody>
      </p:sp>
      <p:sp>
        <p:nvSpPr>
          <p:cNvPr id="15" name="Tekstboks 14"/>
          <p:cNvSpPr txBox="1"/>
          <p:nvPr userDrawn="1"/>
        </p:nvSpPr>
        <p:spPr>
          <a:xfrm>
            <a:off x="-1585485" y="0"/>
            <a:ext cx="1450682" cy="573528"/>
          </a:xfrm>
          <a:prstGeom prst="rect">
            <a:avLst/>
          </a:prstGeom>
          <a:noFill/>
        </p:spPr>
        <p:txBody>
          <a:bodyPr wrap="square" lIns="0" tIns="0" rIns="0" bIns="0" rtlCol="0">
            <a:noAutofit/>
          </a:bodyPr>
          <a:lstStyle/>
          <a:p>
            <a:pPr algn="r"/>
            <a:r>
              <a:rPr lang="da-DK" sz="675" b="1" noProof="1">
                <a:solidFill>
                  <a:schemeClr val="bg1">
                    <a:lumMod val="50000"/>
                  </a:schemeClr>
                </a:solidFill>
              </a:rPr>
              <a:t>Procesoversigter:</a:t>
            </a:r>
          </a:p>
          <a:p>
            <a:pPr algn="r"/>
            <a:r>
              <a:rPr lang="da-DK" sz="675" b="0" noProof="1">
                <a:solidFill>
                  <a:schemeClr val="bg1">
                    <a:lumMod val="50000"/>
                  </a:schemeClr>
                </a:solidFill>
              </a:rPr>
              <a:t>Findes i 2, 3 eller 4 spalter.</a:t>
            </a:r>
          </a:p>
          <a:p>
            <a:pPr algn="r"/>
            <a:endParaRPr lang="da-DK" sz="675" b="0" noProof="1">
              <a:solidFill>
                <a:schemeClr val="bg1">
                  <a:lumMod val="50000"/>
                </a:schemeClr>
              </a:solidFill>
            </a:endParaRPr>
          </a:p>
          <a:p>
            <a:pPr algn="r"/>
            <a:r>
              <a:rPr lang="da-DK" sz="675" b="0" noProof="1">
                <a:solidFill>
                  <a:schemeClr val="bg1">
                    <a:lumMod val="50000"/>
                  </a:schemeClr>
                </a:solidFill>
              </a:rPr>
              <a:t>Mellemrubrik skrives enten med fed eller store bogstaver i regular</a:t>
            </a:r>
          </a:p>
          <a:p>
            <a:pPr algn="r"/>
            <a:endParaRPr lang="da-DK" sz="675" b="0" noProof="1">
              <a:solidFill>
                <a:schemeClr val="bg1">
                  <a:lumMod val="50000"/>
                </a:schemeClr>
              </a:solidFill>
            </a:endParaRPr>
          </a:p>
        </p:txBody>
      </p:sp>
      <p:grpSp>
        <p:nvGrpSpPr>
          <p:cNvPr id="24" name="Gruppe 23"/>
          <p:cNvGrpSpPr/>
          <p:nvPr userDrawn="1"/>
        </p:nvGrpSpPr>
        <p:grpSpPr>
          <a:xfrm>
            <a:off x="-1215674" y="1545638"/>
            <a:ext cx="1107114" cy="1826177"/>
            <a:chOff x="-1620688" y="1354138"/>
            <a:chExt cx="1475960" cy="2434902"/>
          </a:xfrm>
        </p:grpSpPr>
        <p:sp>
          <p:nvSpPr>
            <p:cNvPr id="25" name="Tekstboks 24"/>
            <p:cNvSpPr txBox="1"/>
            <p:nvPr userDrawn="1"/>
          </p:nvSpPr>
          <p:spPr>
            <a:xfrm>
              <a:off x="-1620688" y="1354138"/>
              <a:ext cx="1475960" cy="2434902"/>
            </a:xfrm>
            <a:prstGeom prst="rect">
              <a:avLst/>
            </a:prstGeom>
            <a:noFill/>
          </p:spPr>
          <p:txBody>
            <a:bodyPr wrap="square" lIns="0" tIns="0" rIns="0" bIns="0" rtlCol="0">
              <a:noAutofit/>
            </a:bodyPr>
            <a:lstStyle/>
            <a:p>
              <a:pPr algn="r"/>
              <a:r>
                <a:rPr lang="da-DK" sz="675" b="1">
                  <a:solidFill>
                    <a:schemeClr val="bg1">
                      <a:lumMod val="50000"/>
                    </a:schemeClr>
                  </a:solidFill>
                </a:rPr>
                <a:t>Tekst-typografier</a:t>
              </a:r>
            </a:p>
            <a:p>
              <a:pPr algn="r"/>
              <a:r>
                <a:rPr lang="da-DK" sz="675" b="0">
                  <a:solidFill>
                    <a:schemeClr val="bg1">
                      <a:lumMod val="50000"/>
                    </a:schemeClr>
                  </a:solidFill>
                </a:rPr>
                <a:t>Brug </a:t>
              </a:r>
              <a:r>
                <a:rPr lang="da-DK" sz="675" b="1">
                  <a:solidFill>
                    <a:schemeClr val="bg1">
                      <a:lumMod val="50000"/>
                    </a:schemeClr>
                  </a:solidFill>
                </a:rPr>
                <a:t>TAB</a:t>
              </a:r>
              <a:r>
                <a:rPr lang="da-DK" sz="675" b="0">
                  <a:solidFill>
                    <a:schemeClr val="bg1">
                      <a:lumMod val="50000"/>
                    </a:schemeClr>
                  </a:solidFill>
                </a:rPr>
                <a:t> for at gå frem</a:t>
              </a:r>
            </a:p>
            <a:p>
              <a:pPr algn="r"/>
              <a:r>
                <a:rPr lang="da-DK" sz="675" b="0">
                  <a:solidFill>
                    <a:schemeClr val="bg1">
                      <a:lumMod val="50000"/>
                    </a:schemeClr>
                  </a:solidFill>
                </a:rPr>
                <a:t>i tekst-niveauer</a:t>
              </a:r>
            </a:p>
            <a:p>
              <a:pPr algn="r"/>
              <a:endParaRPr lang="da-DK" sz="675" b="0">
                <a:solidFill>
                  <a:schemeClr val="bg1">
                    <a:lumMod val="50000"/>
                  </a:schemeClr>
                </a:solidFill>
              </a:endParaRPr>
            </a:p>
            <a:p>
              <a:pPr algn="l"/>
              <a:r>
                <a:rPr lang="da-DK" sz="675" b="0">
                  <a:solidFill>
                    <a:schemeClr val="bg1">
                      <a:lumMod val="50000"/>
                    </a:schemeClr>
                  </a:solidFill>
                </a:rPr>
                <a:t>Klik for at indsætte tekst</a:t>
              </a:r>
            </a:p>
            <a:p>
              <a:pPr marL="80992" indent="-80992" algn="l">
                <a:buFont typeface="Arial" panose="020B0604020202020204" pitchFamily="34" charset="0"/>
                <a:buChar char="•"/>
              </a:pPr>
              <a:r>
                <a:rPr lang="da-DK" sz="675" b="0">
                  <a:solidFill>
                    <a:schemeClr val="bg1">
                      <a:lumMod val="50000"/>
                    </a:schemeClr>
                  </a:solidFill>
                </a:rPr>
                <a:t>Andet niveau</a:t>
              </a:r>
            </a:p>
            <a:p>
              <a:pPr marL="215978" indent="-80992" algn="l">
                <a:buFont typeface="Arial" panose="020B0604020202020204" pitchFamily="34" charset="0"/>
                <a:buChar char="•"/>
              </a:pPr>
              <a:r>
                <a:rPr lang="da-DK" sz="600" b="0">
                  <a:solidFill>
                    <a:schemeClr val="bg1">
                      <a:lumMod val="50000"/>
                    </a:schemeClr>
                  </a:solidFill>
                </a:rPr>
                <a:t>Tredje niveau</a:t>
              </a:r>
            </a:p>
            <a:p>
              <a:pPr marL="350965" indent="-80992" algn="l">
                <a:buFont typeface="Arial" panose="020B0604020202020204" pitchFamily="34" charset="0"/>
                <a:buChar char="•"/>
              </a:pPr>
              <a:r>
                <a:rPr lang="da-DK" sz="450" b="0">
                  <a:solidFill>
                    <a:schemeClr val="bg1">
                      <a:lumMod val="50000"/>
                    </a:schemeClr>
                  </a:solidFill>
                </a:rPr>
                <a:t>Fjerde niveau</a:t>
              </a:r>
            </a:p>
            <a:p>
              <a:pPr marL="458954" indent="-80992" algn="l">
                <a:buFont typeface="Arial" panose="020B0604020202020204" pitchFamily="34" charset="0"/>
                <a:buChar char="•"/>
              </a:pPr>
              <a:r>
                <a:rPr lang="da-DK" sz="450" b="0">
                  <a:solidFill>
                    <a:schemeClr val="bg1">
                      <a:lumMod val="50000"/>
                    </a:schemeClr>
                  </a:solidFill>
                </a:rPr>
                <a:t>Femte niveau</a:t>
              </a:r>
            </a:p>
            <a:p>
              <a:pPr algn="r"/>
              <a:endParaRPr lang="da-DK" sz="675" b="0">
                <a:solidFill>
                  <a:schemeClr val="bg1">
                    <a:lumMod val="50000"/>
                  </a:schemeClr>
                </a:solidFill>
              </a:endParaRPr>
            </a:p>
            <a:p>
              <a:pPr algn="r"/>
              <a:r>
                <a:rPr lang="da-DK" sz="675" b="0">
                  <a:solidFill>
                    <a:schemeClr val="bg1">
                      <a:lumMod val="50000"/>
                    </a:schemeClr>
                  </a:solidFill>
                </a:rPr>
                <a:t>For at gå tilbage i tekst-niveauer,</a:t>
              </a:r>
            </a:p>
            <a:p>
              <a:pPr algn="r"/>
              <a:r>
                <a:rPr lang="da-DK" sz="675" b="0">
                  <a:solidFill>
                    <a:schemeClr val="bg1">
                      <a:lumMod val="50000"/>
                    </a:schemeClr>
                  </a:solidFill>
                </a:rPr>
                <a:t>brug </a:t>
              </a:r>
              <a:r>
                <a:rPr lang="da-DK" sz="675" b="1">
                  <a:solidFill>
                    <a:schemeClr val="bg1">
                      <a:lumMod val="50000"/>
                    </a:schemeClr>
                  </a:solidFill>
                </a:rPr>
                <a:t>SHIFT + TAB</a:t>
              </a:r>
            </a:p>
            <a:p>
              <a:pPr algn="r"/>
              <a:endParaRPr lang="da-DK" sz="675" b="0">
                <a:solidFill>
                  <a:schemeClr val="bg1">
                    <a:lumMod val="50000"/>
                  </a:schemeClr>
                </a:solidFill>
              </a:endParaRPr>
            </a:p>
            <a:p>
              <a:pPr algn="r"/>
              <a:endParaRPr lang="da-DK" sz="675" b="0">
                <a:solidFill>
                  <a:schemeClr val="bg1">
                    <a:lumMod val="50000"/>
                  </a:schemeClr>
                </a:solidFill>
              </a:endParaRPr>
            </a:p>
            <a:p>
              <a:pPr algn="r"/>
              <a:r>
                <a:rPr lang="da-DK" sz="675" b="0">
                  <a:solidFill>
                    <a:schemeClr val="bg1">
                      <a:lumMod val="50000"/>
                    </a:schemeClr>
                  </a:solidFill>
                </a:rPr>
                <a:t>Alternativt kan</a:t>
              </a:r>
            </a:p>
            <a:p>
              <a:pPr algn="r"/>
              <a:r>
                <a:rPr lang="da-DK" sz="675" b="1">
                  <a:solidFill>
                    <a:schemeClr val="bg1">
                      <a:lumMod val="50000"/>
                    </a:schemeClr>
                  </a:solidFill>
                </a:rPr>
                <a:t>Forøg og Formindsk </a:t>
              </a:r>
            </a:p>
            <a:p>
              <a:pPr algn="r"/>
              <a:r>
                <a:rPr lang="da-DK" sz="675" b="0">
                  <a:solidFill>
                    <a:schemeClr val="bg1">
                      <a:lumMod val="50000"/>
                    </a:schemeClr>
                  </a:solidFill>
                </a:rPr>
                <a:t>listeniveau bruges</a:t>
              </a:r>
            </a:p>
          </p:txBody>
        </p:sp>
        <p:grpSp>
          <p:nvGrpSpPr>
            <p:cNvPr id="26" name="Gruppe 25"/>
            <p:cNvGrpSpPr/>
            <p:nvPr userDrawn="1"/>
          </p:nvGrpSpPr>
          <p:grpSpPr>
            <a:xfrm>
              <a:off x="-503503" y="3048030"/>
              <a:ext cx="358775" cy="236537"/>
              <a:chOff x="-503503" y="3171825"/>
              <a:chExt cx="358775" cy="236537"/>
            </a:xfrm>
          </p:grpSpPr>
          <p:pic>
            <p:nvPicPr>
              <p:cNvPr id="2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3503" y="3171825"/>
                <a:ext cx="358775" cy="2365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 name="Afrundet rektangel 27"/>
              <p:cNvSpPr/>
              <p:nvPr userDrawn="1"/>
            </p:nvSpPr>
            <p:spPr>
              <a:xfrm>
                <a:off x="-503503" y="3171825"/>
                <a:ext cx="179387" cy="236537"/>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sz="750"/>
              </a:p>
            </p:txBody>
          </p:sp>
        </p:grpSp>
      </p:grpSp>
    </p:spTree>
    <p:extLst>
      <p:ext uri="{BB962C8B-B14F-4D97-AF65-F5344CB8AC3E}">
        <p14:creationId xmlns:p14="http://schemas.microsoft.com/office/powerpoint/2010/main" val="222202445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roces fire kolonn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a-DK"/>
              <a:t>Klik for at indsætte overskrift i en eller to linjer</a:t>
            </a:r>
          </a:p>
        </p:txBody>
      </p:sp>
      <p:sp>
        <p:nvSpPr>
          <p:cNvPr id="6" name="Pladsholder til tekst 2"/>
          <p:cNvSpPr>
            <a:spLocks noGrp="1"/>
          </p:cNvSpPr>
          <p:nvPr>
            <p:ph type="body" sz="quarter" idx="13" hasCustomPrompt="1"/>
          </p:nvPr>
        </p:nvSpPr>
        <p:spPr>
          <a:xfrm>
            <a:off x="318641" y="1014413"/>
            <a:ext cx="2133278" cy="405000"/>
          </a:xfrm>
          <a:prstGeom prst="chevron">
            <a:avLst>
              <a:gd name="adj" fmla="val 27849"/>
            </a:avLst>
          </a:prstGeom>
          <a:gradFill>
            <a:gsLst>
              <a:gs pos="0">
                <a:schemeClr val="accent1"/>
              </a:gs>
              <a:gs pos="100000">
                <a:srgbClr val="454545"/>
              </a:gs>
            </a:gsLst>
            <a:lin ang="0" scaled="1"/>
          </a:gradFill>
        </p:spPr>
        <p:txBody>
          <a:bodyPr lIns="0" tIns="0" rIns="0" anchor="ctr" anchorCtr="0"/>
          <a:lstStyle>
            <a:lvl1pPr marL="0" indent="0" algn="ctr">
              <a:lnSpc>
                <a:spcPct val="100000"/>
              </a:lnSpc>
              <a:spcBef>
                <a:spcPts val="0"/>
              </a:spcBef>
              <a:buNone/>
              <a:defRPr sz="1350" cap="all" baseline="0">
                <a:solidFill>
                  <a:schemeClr val="bg1"/>
                </a:solidFill>
              </a:defRPr>
            </a:lvl1pPr>
          </a:lstStyle>
          <a:p>
            <a:pPr lvl="0"/>
            <a:r>
              <a:rPr lang="da-DK"/>
              <a:t>Indsæt tekst</a:t>
            </a:r>
          </a:p>
        </p:txBody>
      </p:sp>
      <p:sp>
        <p:nvSpPr>
          <p:cNvPr id="8" name="Pladsholder til tekst 3"/>
          <p:cNvSpPr>
            <a:spLocks noGrp="1"/>
          </p:cNvSpPr>
          <p:nvPr>
            <p:ph type="body" sz="quarter" idx="17" hasCustomPrompt="1"/>
          </p:nvPr>
        </p:nvSpPr>
        <p:spPr>
          <a:xfrm>
            <a:off x="318644" y="1555200"/>
            <a:ext cx="2025263" cy="2943000"/>
          </a:xfrm>
        </p:spPr>
        <p:txBody>
          <a:bodyPr tIns="90000" rIns="180000"/>
          <a:lstStyle>
            <a:lvl1pPr>
              <a:spcBef>
                <a:spcPts val="900"/>
              </a:spcBef>
              <a:defRPr sz="1050" b="0"/>
            </a:lvl1pPr>
            <a:lvl2pPr marL="172783" indent="-172783">
              <a:spcBef>
                <a:spcPts val="900"/>
              </a:spcBef>
              <a:defRPr sz="1050" b="0"/>
            </a:lvl2pPr>
            <a:lvl3pPr marL="345566" indent="-172783">
              <a:spcBef>
                <a:spcPts val="375"/>
              </a:spcBef>
              <a:defRPr sz="1050"/>
            </a:lvl3pPr>
            <a:lvl4pPr marL="404960" indent="-134987">
              <a:spcBef>
                <a:spcPts val="375"/>
              </a:spcBef>
              <a:defRPr sz="900"/>
            </a:lvl4pPr>
            <a:lvl5pPr marL="539946" indent="-134987">
              <a:spcBef>
                <a:spcPts val="375"/>
              </a:spcBef>
              <a:defRPr sz="750"/>
            </a:lvl5pPr>
            <a:lvl6pPr marL="539946" indent="-134987">
              <a:defRPr baseline="0"/>
            </a:lvl6pPr>
            <a:lvl7pPr marL="539946" indent="-134987">
              <a:defRPr/>
            </a:lvl7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a:p>
            <a:pPr lvl="5"/>
            <a:r>
              <a:rPr lang="da-DK"/>
              <a:t>6 niveau</a:t>
            </a:r>
          </a:p>
          <a:p>
            <a:pPr lvl="6"/>
            <a:r>
              <a:rPr lang="da-DK"/>
              <a:t>7 niveau</a:t>
            </a:r>
          </a:p>
          <a:p>
            <a:pPr lvl="6"/>
            <a:r>
              <a:rPr lang="da-DK"/>
              <a:t>8 niveau</a:t>
            </a:r>
          </a:p>
          <a:p>
            <a:pPr lvl="6"/>
            <a:r>
              <a:rPr lang="da-DK"/>
              <a:t>9 niveau</a:t>
            </a:r>
          </a:p>
        </p:txBody>
      </p:sp>
      <p:sp>
        <p:nvSpPr>
          <p:cNvPr id="9" name="Pladsholder til tekst  4"/>
          <p:cNvSpPr>
            <a:spLocks noGrp="1"/>
          </p:cNvSpPr>
          <p:nvPr>
            <p:ph type="body" sz="quarter" idx="19" hasCustomPrompt="1"/>
          </p:nvPr>
        </p:nvSpPr>
        <p:spPr>
          <a:xfrm>
            <a:off x="2443818" y="1015200"/>
            <a:ext cx="2133278" cy="405000"/>
          </a:xfrm>
          <a:prstGeom prst="chevron">
            <a:avLst>
              <a:gd name="adj" fmla="val 27849"/>
            </a:avLst>
          </a:prstGeom>
          <a:gradFill>
            <a:gsLst>
              <a:gs pos="0">
                <a:srgbClr val="454545"/>
              </a:gs>
              <a:gs pos="100000">
                <a:schemeClr val="accent2"/>
              </a:gs>
            </a:gsLst>
            <a:lin ang="0" scaled="1"/>
          </a:gradFill>
        </p:spPr>
        <p:txBody>
          <a:bodyPr lIns="0" tIns="0" rIns="0" anchor="ctr" anchorCtr="0"/>
          <a:lstStyle>
            <a:lvl1pPr marL="0" indent="0" algn="ctr">
              <a:lnSpc>
                <a:spcPct val="100000"/>
              </a:lnSpc>
              <a:spcBef>
                <a:spcPts val="0"/>
              </a:spcBef>
              <a:buNone/>
              <a:defRPr sz="1350" cap="all" baseline="0">
                <a:solidFill>
                  <a:schemeClr val="bg1"/>
                </a:solidFill>
              </a:defRPr>
            </a:lvl1pPr>
          </a:lstStyle>
          <a:p>
            <a:pPr lvl="0"/>
            <a:r>
              <a:rPr lang="da-DK"/>
              <a:t>Indsæt tekst</a:t>
            </a:r>
          </a:p>
        </p:txBody>
      </p:sp>
      <p:sp>
        <p:nvSpPr>
          <p:cNvPr id="16" name="Pladsholder til tekst 5"/>
          <p:cNvSpPr>
            <a:spLocks noGrp="1"/>
          </p:cNvSpPr>
          <p:nvPr>
            <p:ph type="body" sz="quarter" idx="22" hasCustomPrompt="1"/>
          </p:nvPr>
        </p:nvSpPr>
        <p:spPr>
          <a:xfrm>
            <a:off x="2443820" y="1555200"/>
            <a:ext cx="2025263" cy="2943000"/>
          </a:xfrm>
        </p:spPr>
        <p:txBody>
          <a:bodyPr tIns="90000" rIns="180000"/>
          <a:lstStyle>
            <a:lvl1pPr>
              <a:spcBef>
                <a:spcPts val="900"/>
              </a:spcBef>
              <a:defRPr sz="1050" b="0"/>
            </a:lvl1pPr>
            <a:lvl2pPr marL="172783" indent="-172783">
              <a:spcBef>
                <a:spcPts val="900"/>
              </a:spcBef>
              <a:defRPr sz="1050" b="0"/>
            </a:lvl2pPr>
            <a:lvl3pPr marL="345566" indent="-172783">
              <a:spcBef>
                <a:spcPts val="375"/>
              </a:spcBef>
              <a:defRPr sz="1050"/>
            </a:lvl3pPr>
            <a:lvl4pPr marL="404960" indent="-134987">
              <a:spcBef>
                <a:spcPts val="375"/>
              </a:spcBef>
              <a:defRPr sz="900"/>
            </a:lvl4pPr>
            <a:lvl5pPr marL="539946" indent="-134987">
              <a:spcBef>
                <a:spcPts val="375"/>
              </a:spcBef>
              <a:defRPr sz="750"/>
            </a:lvl5pPr>
            <a:lvl6pPr marL="539946" indent="-134987">
              <a:defRPr baseline="0"/>
            </a:lvl6pPr>
            <a:lvl7pPr marL="539946" indent="-134987">
              <a:defRPr/>
            </a:lvl7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a:p>
            <a:pPr lvl="5"/>
            <a:r>
              <a:rPr lang="da-DK"/>
              <a:t>6 niveau</a:t>
            </a:r>
          </a:p>
          <a:p>
            <a:pPr lvl="6"/>
            <a:r>
              <a:rPr lang="da-DK"/>
              <a:t>7 niveau</a:t>
            </a:r>
          </a:p>
          <a:p>
            <a:pPr lvl="6"/>
            <a:r>
              <a:rPr lang="da-DK"/>
              <a:t>8 niveau</a:t>
            </a:r>
          </a:p>
          <a:p>
            <a:pPr lvl="6"/>
            <a:r>
              <a:rPr lang="da-DK"/>
              <a:t>9 niveau</a:t>
            </a:r>
          </a:p>
        </p:txBody>
      </p:sp>
      <p:sp>
        <p:nvSpPr>
          <p:cNvPr id="17" name="Pladsholder til tekst  6"/>
          <p:cNvSpPr>
            <a:spLocks noGrp="1"/>
          </p:cNvSpPr>
          <p:nvPr>
            <p:ph type="body" sz="quarter" idx="23" hasCustomPrompt="1"/>
          </p:nvPr>
        </p:nvSpPr>
        <p:spPr>
          <a:xfrm>
            <a:off x="4563594" y="1014413"/>
            <a:ext cx="2133278" cy="405000"/>
          </a:xfrm>
          <a:prstGeom prst="chevron">
            <a:avLst>
              <a:gd name="adj" fmla="val 27849"/>
            </a:avLst>
          </a:prstGeom>
          <a:gradFill>
            <a:gsLst>
              <a:gs pos="0">
                <a:schemeClr val="accent2"/>
              </a:gs>
              <a:gs pos="100000">
                <a:schemeClr val="accent3"/>
              </a:gs>
            </a:gsLst>
            <a:lin ang="0" scaled="1"/>
          </a:gradFill>
        </p:spPr>
        <p:txBody>
          <a:bodyPr lIns="0" tIns="0" rIns="0" anchor="ctr" anchorCtr="0"/>
          <a:lstStyle>
            <a:lvl1pPr marL="0" indent="0" algn="ctr">
              <a:lnSpc>
                <a:spcPct val="100000"/>
              </a:lnSpc>
              <a:spcBef>
                <a:spcPts val="0"/>
              </a:spcBef>
              <a:buNone/>
              <a:defRPr sz="1350" cap="all" baseline="0">
                <a:solidFill>
                  <a:schemeClr val="bg1"/>
                </a:solidFill>
              </a:defRPr>
            </a:lvl1pPr>
          </a:lstStyle>
          <a:p>
            <a:pPr lvl="0"/>
            <a:r>
              <a:rPr lang="da-DK"/>
              <a:t>Indsæt tekst</a:t>
            </a:r>
          </a:p>
        </p:txBody>
      </p:sp>
      <p:sp>
        <p:nvSpPr>
          <p:cNvPr id="18" name="Pladsholder til tekst 7"/>
          <p:cNvSpPr>
            <a:spLocks noGrp="1"/>
          </p:cNvSpPr>
          <p:nvPr>
            <p:ph type="body" sz="quarter" idx="24" hasCustomPrompt="1"/>
          </p:nvPr>
        </p:nvSpPr>
        <p:spPr>
          <a:xfrm>
            <a:off x="4563596" y="1555200"/>
            <a:ext cx="2025263" cy="2943000"/>
          </a:xfrm>
        </p:spPr>
        <p:txBody>
          <a:bodyPr tIns="90000" rIns="180000"/>
          <a:lstStyle>
            <a:lvl1pPr>
              <a:spcBef>
                <a:spcPts val="900"/>
              </a:spcBef>
              <a:defRPr sz="1050" b="0"/>
            </a:lvl1pPr>
            <a:lvl2pPr marL="172783" indent="-172783">
              <a:spcBef>
                <a:spcPts val="900"/>
              </a:spcBef>
              <a:defRPr sz="1050" b="0"/>
            </a:lvl2pPr>
            <a:lvl3pPr marL="345566" indent="-172783">
              <a:spcBef>
                <a:spcPts val="375"/>
              </a:spcBef>
              <a:defRPr sz="1050"/>
            </a:lvl3pPr>
            <a:lvl4pPr marL="404960" indent="-134987">
              <a:spcBef>
                <a:spcPts val="375"/>
              </a:spcBef>
              <a:defRPr sz="900"/>
            </a:lvl4pPr>
            <a:lvl5pPr marL="539946" indent="-134987">
              <a:spcBef>
                <a:spcPts val="375"/>
              </a:spcBef>
              <a:defRPr sz="750"/>
            </a:lvl5pPr>
            <a:lvl6pPr marL="539946" indent="-134987">
              <a:defRPr baseline="0"/>
            </a:lvl6pPr>
            <a:lvl7pPr marL="539946" indent="-134987">
              <a:defRPr/>
            </a:lvl7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a:p>
            <a:pPr lvl="5"/>
            <a:r>
              <a:rPr lang="da-DK"/>
              <a:t>6 niveau</a:t>
            </a:r>
          </a:p>
          <a:p>
            <a:pPr lvl="6"/>
            <a:r>
              <a:rPr lang="da-DK"/>
              <a:t>7 niveau</a:t>
            </a:r>
          </a:p>
          <a:p>
            <a:pPr lvl="6"/>
            <a:r>
              <a:rPr lang="da-DK"/>
              <a:t>8 niveau</a:t>
            </a:r>
          </a:p>
          <a:p>
            <a:pPr lvl="6"/>
            <a:r>
              <a:rPr lang="da-DK"/>
              <a:t>9 niveau</a:t>
            </a:r>
          </a:p>
        </p:txBody>
      </p:sp>
      <p:sp>
        <p:nvSpPr>
          <p:cNvPr id="19" name="Pladsholder til tekst  8"/>
          <p:cNvSpPr>
            <a:spLocks noGrp="1"/>
          </p:cNvSpPr>
          <p:nvPr>
            <p:ph type="body" sz="quarter" idx="25" hasCustomPrompt="1"/>
          </p:nvPr>
        </p:nvSpPr>
        <p:spPr>
          <a:xfrm>
            <a:off x="6691471" y="1008245"/>
            <a:ext cx="2133278" cy="405000"/>
          </a:xfrm>
          <a:prstGeom prst="chevron">
            <a:avLst>
              <a:gd name="adj" fmla="val 27849"/>
            </a:avLst>
          </a:prstGeom>
          <a:gradFill>
            <a:gsLst>
              <a:gs pos="0">
                <a:schemeClr val="accent3"/>
              </a:gs>
              <a:gs pos="100000">
                <a:schemeClr val="accent4"/>
              </a:gs>
            </a:gsLst>
            <a:lin ang="0" scaled="1"/>
          </a:gradFill>
        </p:spPr>
        <p:txBody>
          <a:bodyPr lIns="0" tIns="0" rIns="0" anchor="ctr" anchorCtr="0"/>
          <a:lstStyle>
            <a:lvl1pPr marL="0" indent="0" algn="ctr">
              <a:lnSpc>
                <a:spcPct val="100000"/>
              </a:lnSpc>
              <a:spcBef>
                <a:spcPts val="0"/>
              </a:spcBef>
              <a:buNone/>
              <a:defRPr sz="1350" cap="all" baseline="0">
                <a:solidFill>
                  <a:schemeClr val="bg1"/>
                </a:solidFill>
              </a:defRPr>
            </a:lvl1pPr>
          </a:lstStyle>
          <a:p>
            <a:pPr lvl="0"/>
            <a:r>
              <a:rPr lang="da-DK"/>
              <a:t>Indsæt tekst</a:t>
            </a:r>
          </a:p>
        </p:txBody>
      </p:sp>
      <p:sp>
        <p:nvSpPr>
          <p:cNvPr id="20" name="Pladsholder til tekst 9"/>
          <p:cNvSpPr>
            <a:spLocks noGrp="1"/>
          </p:cNvSpPr>
          <p:nvPr>
            <p:ph type="body" sz="quarter" idx="26" hasCustomPrompt="1"/>
          </p:nvPr>
        </p:nvSpPr>
        <p:spPr>
          <a:xfrm>
            <a:off x="6691473" y="1555200"/>
            <a:ext cx="2025263" cy="2943000"/>
          </a:xfrm>
        </p:spPr>
        <p:txBody>
          <a:bodyPr tIns="90000" rIns="180000"/>
          <a:lstStyle>
            <a:lvl1pPr>
              <a:spcBef>
                <a:spcPts val="900"/>
              </a:spcBef>
              <a:defRPr sz="1050" b="0"/>
            </a:lvl1pPr>
            <a:lvl2pPr marL="172783" indent="-172783">
              <a:spcBef>
                <a:spcPts val="900"/>
              </a:spcBef>
              <a:defRPr sz="1050" b="0"/>
            </a:lvl2pPr>
            <a:lvl3pPr marL="345566" indent="-172783">
              <a:spcBef>
                <a:spcPts val="375"/>
              </a:spcBef>
              <a:defRPr sz="1050"/>
            </a:lvl3pPr>
            <a:lvl4pPr marL="404960" indent="-134987">
              <a:spcBef>
                <a:spcPts val="375"/>
              </a:spcBef>
              <a:defRPr sz="900"/>
            </a:lvl4pPr>
            <a:lvl5pPr marL="539946" indent="-134987">
              <a:spcBef>
                <a:spcPts val="375"/>
              </a:spcBef>
              <a:defRPr sz="750"/>
            </a:lvl5pPr>
            <a:lvl6pPr marL="539946" indent="-134987">
              <a:defRPr baseline="0"/>
            </a:lvl6pPr>
            <a:lvl7pPr marL="539946" indent="-134987">
              <a:defRPr/>
            </a:lvl7p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a:p>
            <a:pPr lvl="5"/>
            <a:r>
              <a:rPr lang="da-DK"/>
              <a:t>6 niveau</a:t>
            </a:r>
          </a:p>
          <a:p>
            <a:pPr lvl="6"/>
            <a:r>
              <a:rPr lang="da-DK"/>
              <a:t>7 niveau</a:t>
            </a:r>
          </a:p>
          <a:p>
            <a:pPr lvl="6"/>
            <a:r>
              <a:rPr lang="da-DK"/>
              <a:t>8 niveau</a:t>
            </a:r>
          </a:p>
          <a:p>
            <a:pPr lvl="6"/>
            <a:r>
              <a:rPr lang="da-DK"/>
              <a:t>9 niveau</a:t>
            </a:r>
          </a:p>
        </p:txBody>
      </p:sp>
      <p:sp>
        <p:nvSpPr>
          <p:cNvPr id="3" name="Pladsholder til dato 2"/>
          <p:cNvSpPr>
            <a:spLocks noGrp="1"/>
          </p:cNvSpPr>
          <p:nvPr>
            <p:ph type="dt" sz="half" idx="10"/>
          </p:nvPr>
        </p:nvSpPr>
        <p:spPr/>
        <p:txBody>
          <a:bodyPr/>
          <a:lstStyle/>
          <a:p>
            <a:r>
              <a:rPr lang="sv-SE"/>
              <a:t>26/03/2026</a:t>
            </a:r>
            <a:endParaRPr lang="da-DK"/>
          </a:p>
        </p:txBody>
      </p:sp>
      <p:sp>
        <p:nvSpPr>
          <p:cNvPr id="4" name="Pladsholder til sidefod 3" hidden="1"/>
          <p:cNvSpPr>
            <a:spLocks noGrp="1"/>
          </p:cNvSpPr>
          <p:nvPr>
            <p:ph type="ftr" sz="quarter" idx="11"/>
          </p:nvPr>
        </p:nvSpPr>
        <p:spPr/>
        <p:txBody>
          <a:bodyPr/>
          <a:lstStyle/>
          <a:p>
            <a:r>
              <a:rPr lang="en-US"/>
              <a:t>Stakeholder Forum Agenda - Classification: External</a:t>
            </a:r>
            <a:endParaRPr lang="da-DK"/>
          </a:p>
        </p:txBody>
      </p:sp>
      <p:sp>
        <p:nvSpPr>
          <p:cNvPr id="5" name="Pladsholder til diasnummer 4"/>
          <p:cNvSpPr>
            <a:spLocks noGrp="1"/>
          </p:cNvSpPr>
          <p:nvPr>
            <p:ph type="sldNum" sz="quarter" idx="12"/>
          </p:nvPr>
        </p:nvSpPr>
        <p:spPr/>
        <p:txBody>
          <a:bodyPr/>
          <a:lstStyle/>
          <a:p>
            <a:fld id="{667EC89C-17A0-4E64-A6D2-B825673CEEDF}" type="slidenum">
              <a:rPr lang="da-DK" smtClean="0"/>
              <a:pPr/>
              <a:t>‹#›</a:t>
            </a:fld>
            <a:endParaRPr lang="da-DK"/>
          </a:p>
        </p:txBody>
      </p:sp>
      <p:sp>
        <p:nvSpPr>
          <p:cNvPr id="15" name="Tekstboks 14"/>
          <p:cNvSpPr txBox="1"/>
          <p:nvPr userDrawn="1"/>
        </p:nvSpPr>
        <p:spPr>
          <a:xfrm>
            <a:off x="-1585485" y="0"/>
            <a:ext cx="1450682" cy="573528"/>
          </a:xfrm>
          <a:prstGeom prst="rect">
            <a:avLst/>
          </a:prstGeom>
          <a:noFill/>
        </p:spPr>
        <p:txBody>
          <a:bodyPr wrap="square" lIns="0" tIns="0" rIns="0" bIns="0" rtlCol="0">
            <a:noAutofit/>
          </a:bodyPr>
          <a:lstStyle/>
          <a:p>
            <a:pPr algn="r"/>
            <a:r>
              <a:rPr lang="da-DK" sz="675" b="1" noProof="1">
                <a:solidFill>
                  <a:schemeClr val="bg1">
                    <a:lumMod val="50000"/>
                  </a:schemeClr>
                </a:solidFill>
              </a:rPr>
              <a:t>Procesoversigter:</a:t>
            </a:r>
          </a:p>
          <a:p>
            <a:pPr algn="r"/>
            <a:r>
              <a:rPr lang="da-DK" sz="675" b="0" noProof="1">
                <a:solidFill>
                  <a:schemeClr val="bg1">
                    <a:lumMod val="50000"/>
                  </a:schemeClr>
                </a:solidFill>
              </a:rPr>
              <a:t>Findes i 2, 3 eller 4 spalter.</a:t>
            </a:r>
          </a:p>
          <a:p>
            <a:pPr algn="r"/>
            <a:endParaRPr lang="da-DK" sz="675" b="0" noProof="1">
              <a:solidFill>
                <a:schemeClr val="bg1">
                  <a:lumMod val="50000"/>
                </a:schemeClr>
              </a:solidFill>
            </a:endParaRPr>
          </a:p>
          <a:p>
            <a:pPr algn="r"/>
            <a:r>
              <a:rPr lang="da-DK" sz="675" b="0" noProof="1">
                <a:solidFill>
                  <a:schemeClr val="bg1">
                    <a:lumMod val="50000"/>
                  </a:schemeClr>
                </a:solidFill>
              </a:rPr>
              <a:t>Mellemrubrik skrives enten med fed eller store bogstaver i regular</a:t>
            </a:r>
          </a:p>
          <a:p>
            <a:pPr algn="r"/>
            <a:endParaRPr lang="da-DK" sz="675" b="0" noProof="1">
              <a:solidFill>
                <a:schemeClr val="bg1">
                  <a:lumMod val="50000"/>
                </a:schemeClr>
              </a:solidFill>
            </a:endParaRPr>
          </a:p>
        </p:txBody>
      </p:sp>
      <p:grpSp>
        <p:nvGrpSpPr>
          <p:cNvPr id="26" name="Gruppe 25"/>
          <p:cNvGrpSpPr/>
          <p:nvPr userDrawn="1"/>
        </p:nvGrpSpPr>
        <p:grpSpPr>
          <a:xfrm>
            <a:off x="-1215674" y="1545638"/>
            <a:ext cx="1107114" cy="1826177"/>
            <a:chOff x="-1620688" y="1354138"/>
            <a:chExt cx="1475960" cy="2434902"/>
          </a:xfrm>
        </p:grpSpPr>
        <p:sp>
          <p:nvSpPr>
            <p:cNvPr id="27" name="Tekstboks 26"/>
            <p:cNvSpPr txBox="1"/>
            <p:nvPr userDrawn="1"/>
          </p:nvSpPr>
          <p:spPr>
            <a:xfrm>
              <a:off x="-1620688" y="1354138"/>
              <a:ext cx="1475960" cy="2434902"/>
            </a:xfrm>
            <a:prstGeom prst="rect">
              <a:avLst/>
            </a:prstGeom>
            <a:noFill/>
          </p:spPr>
          <p:txBody>
            <a:bodyPr wrap="square" lIns="0" tIns="0" rIns="0" bIns="0" rtlCol="0">
              <a:noAutofit/>
            </a:bodyPr>
            <a:lstStyle/>
            <a:p>
              <a:pPr algn="r"/>
              <a:r>
                <a:rPr lang="da-DK" sz="675" b="1">
                  <a:solidFill>
                    <a:schemeClr val="bg1">
                      <a:lumMod val="50000"/>
                    </a:schemeClr>
                  </a:solidFill>
                </a:rPr>
                <a:t>Tekst-typografier</a:t>
              </a:r>
            </a:p>
            <a:p>
              <a:pPr algn="r"/>
              <a:r>
                <a:rPr lang="da-DK" sz="675" b="0">
                  <a:solidFill>
                    <a:schemeClr val="bg1">
                      <a:lumMod val="50000"/>
                    </a:schemeClr>
                  </a:solidFill>
                </a:rPr>
                <a:t>Brug </a:t>
              </a:r>
              <a:r>
                <a:rPr lang="da-DK" sz="675" b="1">
                  <a:solidFill>
                    <a:schemeClr val="bg1">
                      <a:lumMod val="50000"/>
                    </a:schemeClr>
                  </a:solidFill>
                </a:rPr>
                <a:t>TAB</a:t>
              </a:r>
              <a:r>
                <a:rPr lang="da-DK" sz="675" b="0">
                  <a:solidFill>
                    <a:schemeClr val="bg1">
                      <a:lumMod val="50000"/>
                    </a:schemeClr>
                  </a:solidFill>
                </a:rPr>
                <a:t> for at gå frem</a:t>
              </a:r>
            </a:p>
            <a:p>
              <a:pPr algn="r"/>
              <a:r>
                <a:rPr lang="da-DK" sz="675" b="0">
                  <a:solidFill>
                    <a:schemeClr val="bg1">
                      <a:lumMod val="50000"/>
                    </a:schemeClr>
                  </a:solidFill>
                </a:rPr>
                <a:t>i tekst-niveauer</a:t>
              </a:r>
            </a:p>
            <a:p>
              <a:pPr algn="r"/>
              <a:endParaRPr lang="da-DK" sz="675" b="0">
                <a:solidFill>
                  <a:schemeClr val="bg1">
                    <a:lumMod val="50000"/>
                  </a:schemeClr>
                </a:solidFill>
              </a:endParaRPr>
            </a:p>
            <a:p>
              <a:pPr algn="l"/>
              <a:r>
                <a:rPr lang="da-DK" sz="675" b="0">
                  <a:solidFill>
                    <a:schemeClr val="bg1">
                      <a:lumMod val="50000"/>
                    </a:schemeClr>
                  </a:solidFill>
                </a:rPr>
                <a:t>Klik for at indsætte tekst</a:t>
              </a:r>
            </a:p>
            <a:p>
              <a:pPr marL="80992" indent="-80992" algn="l">
                <a:buFont typeface="Arial" panose="020B0604020202020204" pitchFamily="34" charset="0"/>
                <a:buChar char="•"/>
              </a:pPr>
              <a:r>
                <a:rPr lang="da-DK" sz="675" b="0">
                  <a:solidFill>
                    <a:schemeClr val="bg1">
                      <a:lumMod val="50000"/>
                    </a:schemeClr>
                  </a:solidFill>
                </a:rPr>
                <a:t>Andet niveau</a:t>
              </a:r>
            </a:p>
            <a:p>
              <a:pPr marL="215978" indent="-80992" algn="l">
                <a:buFont typeface="Arial" panose="020B0604020202020204" pitchFamily="34" charset="0"/>
                <a:buChar char="•"/>
              </a:pPr>
              <a:r>
                <a:rPr lang="da-DK" sz="600" b="0">
                  <a:solidFill>
                    <a:schemeClr val="bg1">
                      <a:lumMod val="50000"/>
                    </a:schemeClr>
                  </a:solidFill>
                </a:rPr>
                <a:t>Tredje niveau</a:t>
              </a:r>
            </a:p>
            <a:p>
              <a:pPr marL="350965" indent="-80992" algn="l">
                <a:buFont typeface="Arial" panose="020B0604020202020204" pitchFamily="34" charset="0"/>
                <a:buChar char="•"/>
              </a:pPr>
              <a:r>
                <a:rPr lang="da-DK" sz="450" b="0">
                  <a:solidFill>
                    <a:schemeClr val="bg1">
                      <a:lumMod val="50000"/>
                    </a:schemeClr>
                  </a:solidFill>
                </a:rPr>
                <a:t>Fjerde niveau</a:t>
              </a:r>
            </a:p>
            <a:p>
              <a:pPr marL="458954" indent="-80992" algn="l">
                <a:buFont typeface="Arial" panose="020B0604020202020204" pitchFamily="34" charset="0"/>
                <a:buChar char="•"/>
              </a:pPr>
              <a:r>
                <a:rPr lang="da-DK" sz="450" b="0">
                  <a:solidFill>
                    <a:schemeClr val="bg1">
                      <a:lumMod val="50000"/>
                    </a:schemeClr>
                  </a:solidFill>
                </a:rPr>
                <a:t>Femte niveau</a:t>
              </a:r>
            </a:p>
            <a:p>
              <a:pPr algn="r"/>
              <a:endParaRPr lang="da-DK" sz="675" b="0">
                <a:solidFill>
                  <a:schemeClr val="bg1">
                    <a:lumMod val="50000"/>
                  </a:schemeClr>
                </a:solidFill>
              </a:endParaRPr>
            </a:p>
            <a:p>
              <a:pPr algn="r"/>
              <a:r>
                <a:rPr lang="da-DK" sz="675" b="0">
                  <a:solidFill>
                    <a:schemeClr val="bg1">
                      <a:lumMod val="50000"/>
                    </a:schemeClr>
                  </a:solidFill>
                </a:rPr>
                <a:t>For at gå tilbage i tekst-niveauer,</a:t>
              </a:r>
            </a:p>
            <a:p>
              <a:pPr algn="r"/>
              <a:r>
                <a:rPr lang="da-DK" sz="675" b="0">
                  <a:solidFill>
                    <a:schemeClr val="bg1">
                      <a:lumMod val="50000"/>
                    </a:schemeClr>
                  </a:solidFill>
                </a:rPr>
                <a:t>brug </a:t>
              </a:r>
              <a:r>
                <a:rPr lang="da-DK" sz="675" b="1">
                  <a:solidFill>
                    <a:schemeClr val="bg1">
                      <a:lumMod val="50000"/>
                    </a:schemeClr>
                  </a:solidFill>
                </a:rPr>
                <a:t>SHIFT + TAB</a:t>
              </a:r>
            </a:p>
            <a:p>
              <a:pPr algn="r"/>
              <a:endParaRPr lang="da-DK" sz="675" b="0">
                <a:solidFill>
                  <a:schemeClr val="bg1">
                    <a:lumMod val="50000"/>
                  </a:schemeClr>
                </a:solidFill>
              </a:endParaRPr>
            </a:p>
            <a:p>
              <a:pPr algn="r"/>
              <a:endParaRPr lang="da-DK" sz="675" b="0">
                <a:solidFill>
                  <a:schemeClr val="bg1">
                    <a:lumMod val="50000"/>
                  </a:schemeClr>
                </a:solidFill>
              </a:endParaRPr>
            </a:p>
            <a:p>
              <a:pPr algn="r"/>
              <a:r>
                <a:rPr lang="da-DK" sz="675" b="0">
                  <a:solidFill>
                    <a:schemeClr val="bg1">
                      <a:lumMod val="50000"/>
                    </a:schemeClr>
                  </a:solidFill>
                </a:rPr>
                <a:t>Alternativt kan</a:t>
              </a:r>
            </a:p>
            <a:p>
              <a:pPr algn="r"/>
              <a:r>
                <a:rPr lang="da-DK" sz="675" b="1">
                  <a:solidFill>
                    <a:schemeClr val="bg1">
                      <a:lumMod val="50000"/>
                    </a:schemeClr>
                  </a:solidFill>
                </a:rPr>
                <a:t>Forøg og Formindsk </a:t>
              </a:r>
            </a:p>
            <a:p>
              <a:pPr algn="r"/>
              <a:r>
                <a:rPr lang="da-DK" sz="675" b="0">
                  <a:solidFill>
                    <a:schemeClr val="bg1">
                      <a:lumMod val="50000"/>
                    </a:schemeClr>
                  </a:solidFill>
                </a:rPr>
                <a:t>listeniveau bruges</a:t>
              </a:r>
            </a:p>
          </p:txBody>
        </p:sp>
        <p:grpSp>
          <p:nvGrpSpPr>
            <p:cNvPr id="28" name="Gruppe 27"/>
            <p:cNvGrpSpPr/>
            <p:nvPr userDrawn="1"/>
          </p:nvGrpSpPr>
          <p:grpSpPr>
            <a:xfrm>
              <a:off x="-503503" y="3048030"/>
              <a:ext cx="358775" cy="236537"/>
              <a:chOff x="-503503" y="3171825"/>
              <a:chExt cx="358775" cy="236537"/>
            </a:xfrm>
          </p:grpSpPr>
          <p:pic>
            <p:nvPicPr>
              <p:cNvPr id="29"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3503" y="3171825"/>
                <a:ext cx="358775" cy="2365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Afrundet rektangel 29"/>
              <p:cNvSpPr/>
              <p:nvPr userDrawn="1"/>
            </p:nvSpPr>
            <p:spPr>
              <a:xfrm>
                <a:off x="-503503" y="3171825"/>
                <a:ext cx="179387" cy="236537"/>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sz="750"/>
              </a:p>
            </p:txBody>
          </p:sp>
        </p:grpSp>
      </p:grpSp>
    </p:spTree>
    <p:extLst>
      <p:ext uri="{BB962C8B-B14F-4D97-AF65-F5344CB8AC3E}">
        <p14:creationId xmlns:p14="http://schemas.microsoft.com/office/powerpoint/2010/main" val="189784980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3" name="Pladsholder til dato 2"/>
          <p:cNvSpPr>
            <a:spLocks noGrp="1"/>
          </p:cNvSpPr>
          <p:nvPr>
            <p:ph type="dt" sz="half" idx="10"/>
          </p:nvPr>
        </p:nvSpPr>
        <p:spPr/>
        <p:txBody>
          <a:bodyPr/>
          <a:lstStyle/>
          <a:p>
            <a:r>
              <a:rPr lang="sv-SE"/>
              <a:t>26/03/2026</a:t>
            </a:r>
            <a:endParaRPr lang="da-DK"/>
          </a:p>
        </p:txBody>
      </p:sp>
      <p:sp>
        <p:nvSpPr>
          <p:cNvPr id="4" name="Pladsholder til sidefod 3" hidden="1"/>
          <p:cNvSpPr>
            <a:spLocks noGrp="1"/>
          </p:cNvSpPr>
          <p:nvPr>
            <p:ph type="ftr" sz="quarter" idx="11"/>
          </p:nvPr>
        </p:nvSpPr>
        <p:spPr/>
        <p:txBody>
          <a:bodyPr/>
          <a:lstStyle/>
          <a:p>
            <a:r>
              <a:rPr lang="en-US"/>
              <a:t>Stakeholder Forum Agenda - Classification: External</a:t>
            </a:r>
            <a:endParaRPr lang="da-DK"/>
          </a:p>
        </p:txBody>
      </p:sp>
      <p:sp>
        <p:nvSpPr>
          <p:cNvPr id="5" name="Pladsholder til diasnummer 4"/>
          <p:cNvSpPr>
            <a:spLocks noGrp="1"/>
          </p:cNvSpPr>
          <p:nvPr>
            <p:ph type="sldNum" sz="quarter" idx="12"/>
          </p:nvPr>
        </p:nvSpPr>
        <p:spPr/>
        <p:txBody>
          <a:bodyPr/>
          <a:lstStyle/>
          <a:p>
            <a:fld id="{667EC89C-17A0-4E64-A6D2-B825673CEEDF}" type="slidenum">
              <a:rPr lang="da-DK" smtClean="0"/>
              <a:pPr/>
              <a:t>‹#›</a:t>
            </a:fld>
            <a:endParaRPr lang="da-DK"/>
          </a:p>
        </p:txBody>
      </p:sp>
      <p:sp>
        <p:nvSpPr>
          <p:cNvPr id="6" name="Text Box 8"/>
          <p:cNvSpPr txBox="1">
            <a:spLocks noChangeArrowheads="1"/>
          </p:cNvSpPr>
          <p:nvPr userDrawn="1"/>
        </p:nvSpPr>
        <p:spPr bwMode="auto">
          <a:xfrm>
            <a:off x="318641" y="213122"/>
            <a:ext cx="8506107" cy="619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lstStyle/>
          <a:p>
            <a:pPr algn="l">
              <a:lnSpc>
                <a:spcPts val="2250"/>
              </a:lnSpc>
            </a:pPr>
            <a:r>
              <a:rPr lang="da-DK" sz="2250">
                <a:latin typeface="Nationalbank" panose="020B0503040000020004" pitchFamily="2" charset="0"/>
              </a:rPr>
              <a:t>DANMARKS</a:t>
            </a:r>
            <a:br>
              <a:rPr lang="da-DK" sz="2250">
                <a:latin typeface="Nationalbank" panose="020B0503040000020004" pitchFamily="2" charset="0"/>
              </a:rPr>
            </a:br>
            <a:r>
              <a:rPr lang="da-DK" sz="2250">
                <a:latin typeface="Nationalbank" panose="020B0503040000020004" pitchFamily="2" charset="0"/>
              </a:rPr>
              <a:t>NATIONALBANK</a:t>
            </a:r>
          </a:p>
        </p:txBody>
      </p:sp>
      <p:sp>
        <p:nvSpPr>
          <p:cNvPr id="7" name="Text Placeholder 6"/>
          <p:cNvSpPr>
            <a:spLocks noGrp="1"/>
          </p:cNvSpPr>
          <p:nvPr>
            <p:ph type="body" sz="quarter" idx="13" hasCustomPrompt="1"/>
          </p:nvPr>
        </p:nvSpPr>
        <p:spPr>
          <a:xfrm>
            <a:off x="318641" y="1014413"/>
            <a:ext cx="8506107" cy="3483000"/>
          </a:xfrm>
          <a:prstGeom prst="rect">
            <a:avLst/>
          </a:prstGeom>
        </p:spPr>
        <p:txBody>
          <a:bodyPr tIns="0" rIns="0" anchor="ctr" anchorCtr="0"/>
          <a:lstStyle>
            <a:lvl1pPr marL="0" indent="0" algn="ctr">
              <a:lnSpc>
                <a:spcPct val="83000"/>
              </a:lnSpc>
              <a:spcBef>
                <a:spcPts val="0"/>
              </a:spcBef>
              <a:buNone/>
              <a:defRPr sz="2250" b="1" cap="all" baseline="0">
                <a:latin typeface="Nationalbank" panose="020B0503040000020004" pitchFamily="2" charset="0"/>
              </a:defRPr>
            </a:lvl1pPr>
          </a:lstStyle>
          <a:p>
            <a:pPr lvl="0"/>
            <a:r>
              <a:rPr lang="da-DK"/>
              <a:t>Klik for at indsætte tekst</a:t>
            </a:r>
          </a:p>
        </p:txBody>
      </p:sp>
    </p:spTree>
    <p:extLst>
      <p:ext uri="{BB962C8B-B14F-4D97-AF65-F5344CB8AC3E}">
        <p14:creationId xmlns:p14="http://schemas.microsoft.com/office/powerpoint/2010/main" val="223161652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Kun overskrif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a-DK"/>
              <a:t>Klik for at indsætte overskrift i en eller to linjer</a:t>
            </a:r>
          </a:p>
        </p:txBody>
      </p:sp>
      <p:sp>
        <p:nvSpPr>
          <p:cNvPr id="3" name="Pladsholder til dato 2"/>
          <p:cNvSpPr>
            <a:spLocks noGrp="1"/>
          </p:cNvSpPr>
          <p:nvPr>
            <p:ph type="dt" sz="half" idx="10"/>
          </p:nvPr>
        </p:nvSpPr>
        <p:spPr/>
        <p:txBody>
          <a:bodyPr/>
          <a:lstStyle/>
          <a:p>
            <a:r>
              <a:rPr lang="sv-SE"/>
              <a:t>26/03/2026</a:t>
            </a:r>
            <a:endParaRPr lang="da-DK"/>
          </a:p>
        </p:txBody>
      </p:sp>
      <p:sp>
        <p:nvSpPr>
          <p:cNvPr id="4" name="Pladsholder til sidefod 3" hidden="1"/>
          <p:cNvSpPr>
            <a:spLocks noGrp="1"/>
          </p:cNvSpPr>
          <p:nvPr>
            <p:ph type="ftr" sz="quarter" idx="11"/>
          </p:nvPr>
        </p:nvSpPr>
        <p:spPr/>
        <p:txBody>
          <a:bodyPr/>
          <a:lstStyle/>
          <a:p>
            <a:r>
              <a:rPr lang="en-US"/>
              <a:t>Stakeholder Forum Agenda - Classification: External</a:t>
            </a:r>
            <a:endParaRPr lang="da-DK"/>
          </a:p>
        </p:txBody>
      </p:sp>
      <p:sp>
        <p:nvSpPr>
          <p:cNvPr id="5" name="Pladsholder til diasnummer 4"/>
          <p:cNvSpPr>
            <a:spLocks noGrp="1"/>
          </p:cNvSpPr>
          <p:nvPr>
            <p:ph type="sldNum" sz="quarter" idx="12"/>
          </p:nvPr>
        </p:nvSpPr>
        <p:spPr/>
        <p:txBody>
          <a:bodyPr/>
          <a:lstStyle/>
          <a:p>
            <a:fld id="{667EC89C-17A0-4E64-A6D2-B825673CEEDF}" type="slidenum">
              <a:rPr lang="da-DK" smtClean="0"/>
              <a:pPr/>
              <a:t>‹#›</a:t>
            </a:fld>
            <a:endParaRPr lang="da-DK"/>
          </a:p>
        </p:txBody>
      </p:sp>
      <p:grpSp>
        <p:nvGrpSpPr>
          <p:cNvPr id="6" name="Gruppe 5"/>
          <p:cNvGrpSpPr/>
          <p:nvPr userDrawn="1"/>
        </p:nvGrpSpPr>
        <p:grpSpPr>
          <a:xfrm>
            <a:off x="-1215674" y="1015605"/>
            <a:ext cx="1107114" cy="1826177"/>
            <a:chOff x="-1620688" y="1354138"/>
            <a:chExt cx="1475960" cy="2434902"/>
          </a:xfrm>
        </p:grpSpPr>
        <p:sp>
          <p:nvSpPr>
            <p:cNvPr id="7" name="Tekstboks 6"/>
            <p:cNvSpPr txBox="1"/>
            <p:nvPr userDrawn="1"/>
          </p:nvSpPr>
          <p:spPr>
            <a:xfrm>
              <a:off x="-1620688" y="1354138"/>
              <a:ext cx="1475960" cy="2434902"/>
            </a:xfrm>
            <a:prstGeom prst="rect">
              <a:avLst/>
            </a:prstGeom>
            <a:noFill/>
          </p:spPr>
          <p:txBody>
            <a:bodyPr wrap="square" lIns="0" tIns="0" rIns="0" bIns="0" rtlCol="0">
              <a:noAutofit/>
            </a:bodyPr>
            <a:lstStyle/>
            <a:p>
              <a:pPr algn="r"/>
              <a:r>
                <a:rPr lang="da-DK" sz="675" b="1">
                  <a:solidFill>
                    <a:schemeClr val="bg1">
                      <a:lumMod val="50000"/>
                    </a:schemeClr>
                  </a:solidFill>
                </a:rPr>
                <a:t>Tekst-typografier</a:t>
              </a:r>
            </a:p>
            <a:p>
              <a:pPr algn="r"/>
              <a:r>
                <a:rPr lang="da-DK" sz="675" b="0">
                  <a:solidFill>
                    <a:schemeClr val="bg1">
                      <a:lumMod val="50000"/>
                    </a:schemeClr>
                  </a:solidFill>
                </a:rPr>
                <a:t>Brug </a:t>
              </a:r>
              <a:r>
                <a:rPr lang="da-DK" sz="675" b="1">
                  <a:solidFill>
                    <a:schemeClr val="bg1">
                      <a:lumMod val="50000"/>
                    </a:schemeClr>
                  </a:solidFill>
                </a:rPr>
                <a:t>TAB</a:t>
              </a:r>
              <a:r>
                <a:rPr lang="da-DK" sz="675" b="0">
                  <a:solidFill>
                    <a:schemeClr val="bg1">
                      <a:lumMod val="50000"/>
                    </a:schemeClr>
                  </a:solidFill>
                </a:rPr>
                <a:t> for at gå frem</a:t>
              </a:r>
            </a:p>
            <a:p>
              <a:pPr algn="r"/>
              <a:r>
                <a:rPr lang="da-DK" sz="675" b="0">
                  <a:solidFill>
                    <a:schemeClr val="bg1">
                      <a:lumMod val="50000"/>
                    </a:schemeClr>
                  </a:solidFill>
                </a:rPr>
                <a:t>i tekst-niveauer</a:t>
              </a:r>
            </a:p>
            <a:p>
              <a:pPr algn="r"/>
              <a:endParaRPr lang="da-DK" sz="675" b="0">
                <a:solidFill>
                  <a:schemeClr val="bg1">
                    <a:lumMod val="50000"/>
                  </a:schemeClr>
                </a:solidFill>
              </a:endParaRPr>
            </a:p>
            <a:p>
              <a:pPr algn="l"/>
              <a:r>
                <a:rPr lang="da-DK" sz="675" b="0">
                  <a:solidFill>
                    <a:schemeClr val="bg1">
                      <a:lumMod val="50000"/>
                    </a:schemeClr>
                  </a:solidFill>
                </a:rPr>
                <a:t>Klik for at indsætte tekst</a:t>
              </a:r>
            </a:p>
            <a:p>
              <a:pPr marL="80992" indent="-80992" algn="l">
                <a:buFont typeface="Arial" panose="020B0604020202020204" pitchFamily="34" charset="0"/>
                <a:buChar char="•"/>
              </a:pPr>
              <a:r>
                <a:rPr lang="da-DK" sz="675" b="0">
                  <a:solidFill>
                    <a:schemeClr val="bg1">
                      <a:lumMod val="50000"/>
                    </a:schemeClr>
                  </a:solidFill>
                </a:rPr>
                <a:t>Andet niveau</a:t>
              </a:r>
            </a:p>
            <a:p>
              <a:pPr marL="215978" indent="-80992" algn="l">
                <a:buFont typeface="Arial" panose="020B0604020202020204" pitchFamily="34" charset="0"/>
                <a:buChar char="•"/>
              </a:pPr>
              <a:r>
                <a:rPr lang="da-DK" sz="600" b="0">
                  <a:solidFill>
                    <a:schemeClr val="bg1">
                      <a:lumMod val="50000"/>
                    </a:schemeClr>
                  </a:solidFill>
                </a:rPr>
                <a:t>Tredje niveau</a:t>
              </a:r>
            </a:p>
            <a:p>
              <a:pPr marL="350965" indent="-80992" algn="l">
                <a:buFont typeface="Arial" panose="020B0604020202020204" pitchFamily="34" charset="0"/>
                <a:buChar char="•"/>
              </a:pPr>
              <a:r>
                <a:rPr lang="da-DK" sz="450" b="0">
                  <a:solidFill>
                    <a:schemeClr val="bg1">
                      <a:lumMod val="50000"/>
                    </a:schemeClr>
                  </a:solidFill>
                </a:rPr>
                <a:t>Fjerde niveau</a:t>
              </a:r>
            </a:p>
            <a:p>
              <a:pPr marL="458954" indent="-80992" algn="l">
                <a:buFont typeface="Arial" panose="020B0604020202020204" pitchFamily="34" charset="0"/>
                <a:buChar char="•"/>
              </a:pPr>
              <a:r>
                <a:rPr lang="da-DK" sz="450" b="0">
                  <a:solidFill>
                    <a:schemeClr val="bg1">
                      <a:lumMod val="50000"/>
                    </a:schemeClr>
                  </a:solidFill>
                </a:rPr>
                <a:t>Femte niveau</a:t>
              </a:r>
            </a:p>
            <a:p>
              <a:pPr algn="r"/>
              <a:endParaRPr lang="da-DK" sz="675" b="0">
                <a:solidFill>
                  <a:schemeClr val="bg1">
                    <a:lumMod val="50000"/>
                  </a:schemeClr>
                </a:solidFill>
              </a:endParaRPr>
            </a:p>
            <a:p>
              <a:pPr algn="r"/>
              <a:r>
                <a:rPr lang="da-DK" sz="675" b="0">
                  <a:solidFill>
                    <a:schemeClr val="bg1">
                      <a:lumMod val="50000"/>
                    </a:schemeClr>
                  </a:solidFill>
                </a:rPr>
                <a:t>For at gå tilbage i tekst-niveauer,</a:t>
              </a:r>
            </a:p>
            <a:p>
              <a:pPr algn="r"/>
              <a:r>
                <a:rPr lang="da-DK" sz="675" b="0">
                  <a:solidFill>
                    <a:schemeClr val="bg1">
                      <a:lumMod val="50000"/>
                    </a:schemeClr>
                  </a:solidFill>
                </a:rPr>
                <a:t>brug </a:t>
              </a:r>
              <a:r>
                <a:rPr lang="da-DK" sz="675" b="1">
                  <a:solidFill>
                    <a:schemeClr val="bg1">
                      <a:lumMod val="50000"/>
                    </a:schemeClr>
                  </a:solidFill>
                </a:rPr>
                <a:t>SHIFT + TAB</a:t>
              </a:r>
            </a:p>
            <a:p>
              <a:pPr algn="r"/>
              <a:endParaRPr lang="da-DK" sz="675" b="0">
                <a:solidFill>
                  <a:schemeClr val="bg1">
                    <a:lumMod val="50000"/>
                  </a:schemeClr>
                </a:solidFill>
              </a:endParaRPr>
            </a:p>
            <a:p>
              <a:pPr algn="r"/>
              <a:endParaRPr lang="da-DK" sz="675" b="0">
                <a:solidFill>
                  <a:schemeClr val="bg1">
                    <a:lumMod val="50000"/>
                  </a:schemeClr>
                </a:solidFill>
              </a:endParaRPr>
            </a:p>
            <a:p>
              <a:pPr algn="r"/>
              <a:r>
                <a:rPr lang="da-DK" sz="675" b="0">
                  <a:solidFill>
                    <a:schemeClr val="bg1">
                      <a:lumMod val="50000"/>
                    </a:schemeClr>
                  </a:solidFill>
                </a:rPr>
                <a:t>Alternativt kan</a:t>
              </a:r>
            </a:p>
            <a:p>
              <a:pPr algn="r"/>
              <a:r>
                <a:rPr lang="da-DK" sz="675" b="1">
                  <a:solidFill>
                    <a:schemeClr val="bg1">
                      <a:lumMod val="50000"/>
                    </a:schemeClr>
                  </a:solidFill>
                </a:rPr>
                <a:t>Forøg og Formindsk </a:t>
              </a:r>
            </a:p>
            <a:p>
              <a:pPr algn="r"/>
              <a:r>
                <a:rPr lang="da-DK" sz="675" b="0">
                  <a:solidFill>
                    <a:schemeClr val="bg1">
                      <a:lumMod val="50000"/>
                    </a:schemeClr>
                  </a:solidFill>
                </a:rPr>
                <a:t>listeniveau bruges</a:t>
              </a:r>
            </a:p>
          </p:txBody>
        </p:sp>
        <p:grpSp>
          <p:nvGrpSpPr>
            <p:cNvPr id="8" name="Gruppe 7"/>
            <p:cNvGrpSpPr/>
            <p:nvPr userDrawn="1"/>
          </p:nvGrpSpPr>
          <p:grpSpPr>
            <a:xfrm>
              <a:off x="-503503" y="3048030"/>
              <a:ext cx="358775" cy="236537"/>
              <a:chOff x="-503503" y="3171825"/>
              <a:chExt cx="358775" cy="236537"/>
            </a:xfrm>
          </p:grpSpPr>
          <p:pic>
            <p:nvPicPr>
              <p:cNvPr id="9"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3503" y="3171825"/>
                <a:ext cx="358775" cy="2365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Afrundet rektangel 9"/>
              <p:cNvSpPr/>
              <p:nvPr userDrawn="1"/>
            </p:nvSpPr>
            <p:spPr>
              <a:xfrm>
                <a:off x="-503503" y="3171825"/>
                <a:ext cx="179387" cy="236537"/>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sz="750"/>
              </a:p>
            </p:txBody>
          </p:sp>
        </p:grpSp>
      </p:grpSp>
    </p:spTree>
    <p:extLst>
      <p:ext uri="{BB962C8B-B14F-4D97-AF65-F5344CB8AC3E}">
        <p14:creationId xmlns:p14="http://schemas.microsoft.com/office/powerpoint/2010/main" val="1308827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1 Green">
    <p:spTree>
      <p:nvGrpSpPr>
        <p:cNvPr id="1" name=""/>
        <p:cNvGrpSpPr/>
        <p:nvPr/>
      </p:nvGrpSpPr>
      <p:grpSpPr>
        <a:xfrm>
          <a:off x="0" y="0"/>
          <a:ext cx="0" cy="0"/>
          <a:chOff x="0" y="0"/>
          <a:chExt cx="0" cy="0"/>
        </a:xfrm>
      </p:grpSpPr>
      <p:sp>
        <p:nvSpPr>
          <p:cNvPr id="20" name="Rektangel 19"/>
          <p:cNvSpPr/>
          <p:nvPr userDrawn="1"/>
        </p:nvSpPr>
        <p:spPr>
          <a:xfrm>
            <a:off x="4572000" y="0"/>
            <a:ext cx="4572000" cy="5143500"/>
          </a:xfrm>
          <a:prstGeom prst="rect">
            <a:avLst/>
          </a:prstGeom>
          <a:solidFill>
            <a:schemeClr val="accent3"/>
          </a:solidFill>
          <a:ln>
            <a:noFill/>
          </a:ln>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sv-SE"/>
          </a:p>
        </p:txBody>
      </p:sp>
      <p:grpSp>
        <p:nvGrpSpPr>
          <p:cNvPr id="22" name="Grupp 21">
            <a:extLst>
              <a:ext uri="{FF2B5EF4-FFF2-40B4-BE49-F238E27FC236}">
                <a16:creationId xmlns:a16="http://schemas.microsoft.com/office/drawing/2014/main" id="{58A4F037-5372-4F50-AB2C-80E4F015FDE0}"/>
              </a:ext>
            </a:extLst>
          </p:cNvPr>
          <p:cNvGrpSpPr/>
          <p:nvPr userDrawn="1"/>
        </p:nvGrpSpPr>
        <p:grpSpPr>
          <a:xfrm>
            <a:off x="4099911" y="-1785593"/>
            <a:ext cx="8908892" cy="8714685"/>
            <a:chOff x="3589405" y="387640"/>
            <a:chExt cx="5873827" cy="5872463"/>
          </a:xfrm>
          <a:solidFill>
            <a:schemeClr val="bg1">
              <a:alpha val="10000"/>
            </a:schemeClr>
          </a:solidFill>
        </p:grpSpPr>
        <p:sp>
          <p:nvSpPr>
            <p:cNvPr id="23" name="Freeform 5">
              <a:extLst>
                <a:ext uri="{FF2B5EF4-FFF2-40B4-BE49-F238E27FC236}">
                  <a16:creationId xmlns:a16="http://schemas.microsoft.com/office/drawing/2014/main" id="{7C1D4E85-F2CE-4336-8CC8-25E235311297}"/>
                </a:ext>
              </a:extLst>
            </p:cNvPr>
            <p:cNvSpPr>
              <a:spLocks/>
            </p:cNvSpPr>
            <p:nvPr/>
          </p:nvSpPr>
          <p:spPr bwMode="auto">
            <a:xfrm>
              <a:off x="3871774" y="678194"/>
              <a:ext cx="1392749" cy="1400934"/>
            </a:xfrm>
            <a:custGeom>
              <a:avLst/>
              <a:gdLst>
                <a:gd name="T0" fmla="*/ 2096 w 2096"/>
                <a:gd name="T1" fmla="*/ 0 h 2108"/>
                <a:gd name="T2" fmla="*/ 877 w 2096"/>
                <a:gd name="T3" fmla="*/ 863 h 2108"/>
                <a:gd name="T4" fmla="*/ 0 w 2096"/>
                <a:gd name="T5" fmla="*/ 2108 h 2108"/>
                <a:gd name="T6" fmla="*/ 981 w 2096"/>
                <a:gd name="T7" fmla="*/ 948 h 2108"/>
                <a:gd name="T8" fmla="*/ 2096 w 2096"/>
                <a:gd name="T9" fmla="*/ 0 h 2108"/>
              </a:gdLst>
              <a:ahLst/>
              <a:cxnLst>
                <a:cxn ang="0">
                  <a:pos x="T0" y="T1"/>
                </a:cxn>
                <a:cxn ang="0">
                  <a:pos x="T2" y="T3"/>
                </a:cxn>
                <a:cxn ang="0">
                  <a:pos x="T4" y="T5"/>
                </a:cxn>
                <a:cxn ang="0">
                  <a:pos x="T6" y="T7"/>
                </a:cxn>
                <a:cxn ang="0">
                  <a:pos x="T8" y="T9"/>
                </a:cxn>
              </a:cxnLst>
              <a:rect l="0" t="0" r="r" b="b"/>
              <a:pathLst>
                <a:path w="2096" h="2108">
                  <a:moveTo>
                    <a:pt x="2096" y="0"/>
                  </a:moveTo>
                  <a:cubicBezTo>
                    <a:pt x="1655" y="211"/>
                    <a:pt x="1242" y="498"/>
                    <a:pt x="877" y="863"/>
                  </a:cubicBezTo>
                  <a:cubicBezTo>
                    <a:pt x="504" y="1235"/>
                    <a:pt x="213" y="1658"/>
                    <a:pt x="0" y="2108"/>
                  </a:cubicBezTo>
                  <a:cubicBezTo>
                    <a:pt x="254" y="1741"/>
                    <a:pt x="588" y="1343"/>
                    <a:pt x="981" y="948"/>
                  </a:cubicBezTo>
                  <a:cubicBezTo>
                    <a:pt x="1360" y="571"/>
                    <a:pt x="1741" y="249"/>
                    <a:pt x="209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4" name="Freeform 6">
              <a:extLst>
                <a:ext uri="{FF2B5EF4-FFF2-40B4-BE49-F238E27FC236}">
                  <a16:creationId xmlns:a16="http://schemas.microsoft.com/office/drawing/2014/main" id="{AAC8634F-3E34-4168-8D60-19B3A00C0D81}"/>
                </a:ext>
              </a:extLst>
            </p:cNvPr>
            <p:cNvSpPr>
              <a:spLocks/>
            </p:cNvSpPr>
            <p:nvPr/>
          </p:nvSpPr>
          <p:spPr bwMode="auto">
            <a:xfrm>
              <a:off x="3635784" y="435383"/>
              <a:ext cx="2381724" cy="2399457"/>
            </a:xfrm>
            <a:custGeom>
              <a:avLst/>
              <a:gdLst>
                <a:gd name="T0" fmla="*/ 446 w 3585"/>
                <a:gd name="T1" fmla="*/ 2866 h 3609"/>
                <a:gd name="T2" fmla="*/ 484 w 3585"/>
                <a:gd name="T3" fmla="*/ 2811 h 3609"/>
                <a:gd name="T4" fmla="*/ 1565 w 3585"/>
                <a:gd name="T5" fmla="*/ 1541 h 3609"/>
                <a:gd name="T6" fmla="*/ 2835 w 3585"/>
                <a:gd name="T7" fmla="*/ 460 h 3609"/>
                <a:gd name="T8" fmla="*/ 2891 w 3585"/>
                <a:gd name="T9" fmla="*/ 422 h 3609"/>
                <a:gd name="T10" fmla="*/ 2945 w 3585"/>
                <a:gd name="T11" fmla="*/ 385 h 3609"/>
                <a:gd name="T12" fmla="*/ 3585 w 3585"/>
                <a:gd name="T13" fmla="*/ 0 h 3609"/>
                <a:gd name="T14" fmla="*/ 3071 w 3585"/>
                <a:gd name="T15" fmla="*/ 123 h 3609"/>
                <a:gd name="T16" fmla="*/ 2863 w 3585"/>
                <a:gd name="T17" fmla="*/ 239 h 3609"/>
                <a:gd name="T18" fmla="*/ 2809 w 3585"/>
                <a:gd name="T19" fmla="*/ 272 h 3609"/>
                <a:gd name="T20" fmla="*/ 2752 w 3585"/>
                <a:gd name="T21" fmla="*/ 307 h 3609"/>
                <a:gd name="T22" fmla="*/ 1420 w 3585"/>
                <a:gd name="T23" fmla="*/ 1396 h 3609"/>
                <a:gd name="T24" fmla="*/ 331 w 3585"/>
                <a:gd name="T25" fmla="*/ 2728 h 3609"/>
                <a:gd name="T26" fmla="*/ 296 w 3585"/>
                <a:gd name="T27" fmla="*/ 2785 h 3609"/>
                <a:gd name="T28" fmla="*/ 263 w 3585"/>
                <a:gd name="T29" fmla="*/ 2839 h 3609"/>
                <a:gd name="T30" fmla="*/ 113 w 3585"/>
                <a:gd name="T31" fmla="*/ 3114 h 3609"/>
                <a:gd name="T32" fmla="*/ 0 w 3585"/>
                <a:gd name="T33" fmla="*/ 3609 h 3609"/>
                <a:gd name="T34" fmla="*/ 408 w 3585"/>
                <a:gd name="T35" fmla="*/ 2921 h 3609"/>
                <a:gd name="T36" fmla="*/ 446 w 3585"/>
                <a:gd name="T37" fmla="*/ 2866 h 3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85" h="3609">
                  <a:moveTo>
                    <a:pt x="446" y="2866"/>
                  </a:moveTo>
                  <a:cubicBezTo>
                    <a:pt x="459" y="2848"/>
                    <a:pt x="471" y="2830"/>
                    <a:pt x="484" y="2811"/>
                  </a:cubicBezTo>
                  <a:cubicBezTo>
                    <a:pt x="775" y="2399"/>
                    <a:pt x="1141" y="1966"/>
                    <a:pt x="1565" y="1541"/>
                  </a:cubicBezTo>
                  <a:cubicBezTo>
                    <a:pt x="1990" y="1117"/>
                    <a:pt x="2423" y="751"/>
                    <a:pt x="2835" y="460"/>
                  </a:cubicBezTo>
                  <a:cubicBezTo>
                    <a:pt x="2854" y="447"/>
                    <a:pt x="2872" y="435"/>
                    <a:pt x="2891" y="422"/>
                  </a:cubicBezTo>
                  <a:cubicBezTo>
                    <a:pt x="2909" y="409"/>
                    <a:pt x="2927" y="397"/>
                    <a:pt x="2945" y="385"/>
                  </a:cubicBezTo>
                  <a:cubicBezTo>
                    <a:pt x="3167" y="233"/>
                    <a:pt x="3382" y="104"/>
                    <a:pt x="3585" y="0"/>
                  </a:cubicBezTo>
                  <a:cubicBezTo>
                    <a:pt x="3412" y="31"/>
                    <a:pt x="3240" y="72"/>
                    <a:pt x="3071" y="123"/>
                  </a:cubicBezTo>
                  <a:cubicBezTo>
                    <a:pt x="3004" y="158"/>
                    <a:pt x="2935" y="196"/>
                    <a:pt x="2863" y="239"/>
                  </a:cubicBezTo>
                  <a:cubicBezTo>
                    <a:pt x="2845" y="249"/>
                    <a:pt x="2827" y="261"/>
                    <a:pt x="2809" y="272"/>
                  </a:cubicBezTo>
                  <a:cubicBezTo>
                    <a:pt x="2790" y="284"/>
                    <a:pt x="2771" y="294"/>
                    <a:pt x="2752" y="307"/>
                  </a:cubicBezTo>
                  <a:cubicBezTo>
                    <a:pt x="2343" y="565"/>
                    <a:pt x="1875" y="939"/>
                    <a:pt x="1420" y="1396"/>
                  </a:cubicBezTo>
                  <a:cubicBezTo>
                    <a:pt x="963" y="1851"/>
                    <a:pt x="589" y="2319"/>
                    <a:pt x="331" y="2728"/>
                  </a:cubicBezTo>
                  <a:cubicBezTo>
                    <a:pt x="318" y="2747"/>
                    <a:pt x="308" y="2766"/>
                    <a:pt x="296" y="2785"/>
                  </a:cubicBezTo>
                  <a:cubicBezTo>
                    <a:pt x="285" y="2803"/>
                    <a:pt x="273" y="2821"/>
                    <a:pt x="263" y="2839"/>
                  </a:cubicBezTo>
                  <a:cubicBezTo>
                    <a:pt x="205" y="2935"/>
                    <a:pt x="156" y="3027"/>
                    <a:pt x="113" y="3114"/>
                  </a:cubicBezTo>
                  <a:cubicBezTo>
                    <a:pt x="65" y="3277"/>
                    <a:pt x="28" y="3443"/>
                    <a:pt x="0" y="3609"/>
                  </a:cubicBezTo>
                  <a:cubicBezTo>
                    <a:pt x="107" y="3392"/>
                    <a:pt x="245" y="3161"/>
                    <a:pt x="408" y="2921"/>
                  </a:cubicBezTo>
                  <a:cubicBezTo>
                    <a:pt x="421" y="2903"/>
                    <a:pt x="433" y="2885"/>
                    <a:pt x="446" y="28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5" name="Freeform 7">
              <a:extLst>
                <a:ext uri="{FF2B5EF4-FFF2-40B4-BE49-F238E27FC236}">
                  <a16:creationId xmlns:a16="http://schemas.microsoft.com/office/drawing/2014/main" id="{1044E1AF-5D57-4C57-A718-661729CA160C}"/>
                </a:ext>
              </a:extLst>
            </p:cNvPr>
            <p:cNvSpPr>
              <a:spLocks/>
            </p:cNvSpPr>
            <p:nvPr/>
          </p:nvSpPr>
          <p:spPr bwMode="auto">
            <a:xfrm>
              <a:off x="3589405" y="387640"/>
              <a:ext cx="3051498" cy="3077416"/>
            </a:xfrm>
            <a:custGeom>
              <a:avLst/>
              <a:gdLst>
                <a:gd name="T0" fmla="*/ 267 w 4592"/>
                <a:gd name="T1" fmla="*/ 4024 h 4629"/>
                <a:gd name="T2" fmla="*/ 1026 w 4592"/>
                <a:gd name="T3" fmla="*/ 2858 h 4629"/>
                <a:gd name="T4" fmla="*/ 1121 w 4592"/>
                <a:gd name="T5" fmla="*/ 2738 h 4629"/>
                <a:gd name="T6" fmla="*/ 1236 w 4592"/>
                <a:gd name="T7" fmla="*/ 2597 h 4629"/>
                <a:gd name="T8" fmla="*/ 1896 w 4592"/>
                <a:gd name="T9" fmla="*/ 1875 h 4629"/>
                <a:gd name="T10" fmla="*/ 2618 w 4592"/>
                <a:gd name="T11" fmla="*/ 1215 h 4629"/>
                <a:gd name="T12" fmla="*/ 2759 w 4592"/>
                <a:gd name="T13" fmla="*/ 1101 h 4629"/>
                <a:gd name="T14" fmla="*/ 2878 w 4592"/>
                <a:gd name="T15" fmla="*/ 1006 h 4629"/>
                <a:gd name="T16" fmla="*/ 4045 w 4592"/>
                <a:gd name="T17" fmla="*/ 246 h 4629"/>
                <a:gd name="T18" fmla="*/ 4104 w 4592"/>
                <a:gd name="T19" fmla="*/ 217 h 4629"/>
                <a:gd name="T20" fmla="*/ 4159 w 4592"/>
                <a:gd name="T21" fmla="*/ 189 h 4629"/>
                <a:gd name="T22" fmla="*/ 4592 w 4592"/>
                <a:gd name="T23" fmla="*/ 6 h 4629"/>
                <a:gd name="T24" fmla="*/ 4098 w 4592"/>
                <a:gd name="T25" fmla="*/ 16 h 4629"/>
                <a:gd name="T26" fmla="*/ 4059 w 4592"/>
                <a:gd name="T27" fmla="*/ 19 h 4629"/>
                <a:gd name="T28" fmla="*/ 4034 w 4592"/>
                <a:gd name="T29" fmla="*/ 29 h 4629"/>
                <a:gd name="T30" fmla="*/ 3987 w 4592"/>
                <a:gd name="T31" fmla="*/ 49 h 4629"/>
                <a:gd name="T32" fmla="*/ 3976 w 4592"/>
                <a:gd name="T33" fmla="*/ 53 h 4629"/>
                <a:gd name="T34" fmla="*/ 3018 w 4592"/>
                <a:gd name="T35" fmla="*/ 598 h 4629"/>
                <a:gd name="T36" fmla="*/ 2950 w 4592"/>
                <a:gd name="T37" fmla="*/ 644 h 4629"/>
                <a:gd name="T38" fmla="*/ 2877 w 4592"/>
                <a:gd name="T39" fmla="*/ 698 h 4629"/>
                <a:gd name="T40" fmla="*/ 1717 w 4592"/>
                <a:gd name="T41" fmla="*/ 1696 h 4629"/>
                <a:gd name="T42" fmla="*/ 718 w 4592"/>
                <a:gd name="T43" fmla="*/ 2856 h 4629"/>
                <a:gd name="T44" fmla="*/ 665 w 4592"/>
                <a:gd name="T45" fmla="*/ 2929 h 4629"/>
                <a:gd name="T46" fmla="*/ 618 w 4592"/>
                <a:gd name="T47" fmla="*/ 2997 h 4629"/>
                <a:gd name="T48" fmla="*/ 74 w 4592"/>
                <a:gd name="T49" fmla="*/ 3955 h 4629"/>
                <a:gd name="T50" fmla="*/ 50 w 4592"/>
                <a:gd name="T51" fmla="*/ 4013 h 4629"/>
                <a:gd name="T52" fmla="*/ 28 w 4592"/>
                <a:gd name="T53" fmla="*/ 4070 h 4629"/>
                <a:gd name="T54" fmla="*/ 17 w 4592"/>
                <a:gd name="T55" fmla="*/ 4101 h 4629"/>
                <a:gd name="T56" fmla="*/ 8 w 4592"/>
                <a:gd name="T57" fmla="*/ 4629 h 4629"/>
                <a:gd name="T58" fmla="*/ 210 w 4592"/>
                <a:gd name="T59" fmla="*/ 4138 h 4629"/>
                <a:gd name="T60" fmla="*/ 238 w 4592"/>
                <a:gd name="T61" fmla="*/ 4083 h 4629"/>
                <a:gd name="T62" fmla="*/ 267 w 4592"/>
                <a:gd name="T63" fmla="*/ 4024 h 4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92" h="4629">
                  <a:moveTo>
                    <a:pt x="267" y="4024"/>
                  </a:moveTo>
                  <a:cubicBezTo>
                    <a:pt x="457" y="3655"/>
                    <a:pt x="713" y="3259"/>
                    <a:pt x="1026" y="2858"/>
                  </a:cubicBezTo>
                  <a:cubicBezTo>
                    <a:pt x="1057" y="2818"/>
                    <a:pt x="1089" y="2778"/>
                    <a:pt x="1121" y="2738"/>
                  </a:cubicBezTo>
                  <a:cubicBezTo>
                    <a:pt x="1159" y="2691"/>
                    <a:pt x="1197" y="2644"/>
                    <a:pt x="1236" y="2597"/>
                  </a:cubicBezTo>
                  <a:cubicBezTo>
                    <a:pt x="1437" y="2356"/>
                    <a:pt x="1658" y="2114"/>
                    <a:pt x="1896" y="1875"/>
                  </a:cubicBezTo>
                  <a:cubicBezTo>
                    <a:pt x="2134" y="1637"/>
                    <a:pt x="2376" y="1417"/>
                    <a:pt x="2618" y="1215"/>
                  </a:cubicBezTo>
                  <a:cubicBezTo>
                    <a:pt x="2665" y="1176"/>
                    <a:pt x="2712" y="1138"/>
                    <a:pt x="2759" y="1101"/>
                  </a:cubicBezTo>
                  <a:cubicBezTo>
                    <a:pt x="2799" y="1068"/>
                    <a:pt x="2839" y="1037"/>
                    <a:pt x="2878" y="1006"/>
                  </a:cubicBezTo>
                  <a:cubicBezTo>
                    <a:pt x="3280" y="693"/>
                    <a:pt x="3675" y="437"/>
                    <a:pt x="4045" y="246"/>
                  </a:cubicBezTo>
                  <a:cubicBezTo>
                    <a:pt x="4065" y="236"/>
                    <a:pt x="4084" y="226"/>
                    <a:pt x="4104" y="217"/>
                  </a:cubicBezTo>
                  <a:cubicBezTo>
                    <a:pt x="4122" y="208"/>
                    <a:pt x="4141" y="198"/>
                    <a:pt x="4159" y="189"/>
                  </a:cubicBezTo>
                  <a:cubicBezTo>
                    <a:pt x="4309" y="116"/>
                    <a:pt x="4453" y="55"/>
                    <a:pt x="4592" y="6"/>
                  </a:cubicBezTo>
                  <a:cubicBezTo>
                    <a:pt x="4427" y="0"/>
                    <a:pt x="4262" y="3"/>
                    <a:pt x="4098" y="16"/>
                  </a:cubicBezTo>
                  <a:cubicBezTo>
                    <a:pt x="4085" y="17"/>
                    <a:pt x="4072" y="18"/>
                    <a:pt x="4059" y="19"/>
                  </a:cubicBezTo>
                  <a:cubicBezTo>
                    <a:pt x="4051" y="22"/>
                    <a:pt x="4043" y="26"/>
                    <a:pt x="4034" y="29"/>
                  </a:cubicBezTo>
                  <a:cubicBezTo>
                    <a:pt x="4019" y="35"/>
                    <a:pt x="4003" y="42"/>
                    <a:pt x="3987" y="49"/>
                  </a:cubicBezTo>
                  <a:cubicBezTo>
                    <a:pt x="3983" y="50"/>
                    <a:pt x="3980" y="51"/>
                    <a:pt x="3976" y="53"/>
                  </a:cubicBezTo>
                  <a:cubicBezTo>
                    <a:pt x="3689" y="174"/>
                    <a:pt x="3362" y="358"/>
                    <a:pt x="3018" y="598"/>
                  </a:cubicBezTo>
                  <a:cubicBezTo>
                    <a:pt x="2995" y="613"/>
                    <a:pt x="2973" y="628"/>
                    <a:pt x="2950" y="644"/>
                  </a:cubicBezTo>
                  <a:cubicBezTo>
                    <a:pt x="2926" y="661"/>
                    <a:pt x="2902" y="680"/>
                    <a:pt x="2877" y="698"/>
                  </a:cubicBezTo>
                  <a:cubicBezTo>
                    <a:pt x="2499" y="973"/>
                    <a:pt x="2103" y="1309"/>
                    <a:pt x="1717" y="1696"/>
                  </a:cubicBezTo>
                  <a:cubicBezTo>
                    <a:pt x="1330" y="2082"/>
                    <a:pt x="994" y="2478"/>
                    <a:pt x="718" y="2856"/>
                  </a:cubicBezTo>
                  <a:cubicBezTo>
                    <a:pt x="701" y="2881"/>
                    <a:pt x="682" y="2905"/>
                    <a:pt x="665" y="2929"/>
                  </a:cubicBezTo>
                  <a:cubicBezTo>
                    <a:pt x="649" y="2952"/>
                    <a:pt x="634" y="2974"/>
                    <a:pt x="618" y="2997"/>
                  </a:cubicBezTo>
                  <a:cubicBezTo>
                    <a:pt x="379" y="3341"/>
                    <a:pt x="195" y="3668"/>
                    <a:pt x="74" y="3955"/>
                  </a:cubicBezTo>
                  <a:cubicBezTo>
                    <a:pt x="66" y="3975"/>
                    <a:pt x="57" y="3994"/>
                    <a:pt x="50" y="4013"/>
                  </a:cubicBezTo>
                  <a:cubicBezTo>
                    <a:pt x="42" y="4032"/>
                    <a:pt x="35" y="4051"/>
                    <a:pt x="28" y="4070"/>
                  </a:cubicBezTo>
                  <a:cubicBezTo>
                    <a:pt x="24" y="4080"/>
                    <a:pt x="21" y="4090"/>
                    <a:pt x="17" y="4101"/>
                  </a:cubicBezTo>
                  <a:cubicBezTo>
                    <a:pt x="4" y="4276"/>
                    <a:pt x="0" y="4452"/>
                    <a:pt x="8" y="4629"/>
                  </a:cubicBezTo>
                  <a:cubicBezTo>
                    <a:pt x="60" y="4472"/>
                    <a:pt x="127" y="4309"/>
                    <a:pt x="210" y="4138"/>
                  </a:cubicBezTo>
                  <a:cubicBezTo>
                    <a:pt x="219" y="4120"/>
                    <a:pt x="228" y="4101"/>
                    <a:pt x="238" y="4083"/>
                  </a:cubicBezTo>
                  <a:cubicBezTo>
                    <a:pt x="247" y="4063"/>
                    <a:pt x="257" y="4044"/>
                    <a:pt x="267" y="40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6" name="Freeform 8">
              <a:extLst>
                <a:ext uri="{FF2B5EF4-FFF2-40B4-BE49-F238E27FC236}">
                  <a16:creationId xmlns:a16="http://schemas.microsoft.com/office/drawing/2014/main" id="{3377C1A4-0564-4448-BF92-C18ABDBCE824}"/>
                </a:ext>
              </a:extLst>
            </p:cNvPr>
            <p:cNvSpPr>
              <a:spLocks/>
            </p:cNvSpPr>
            <p:nvPr/>
          </p:nvSpPr>
          <p:spPr bwMode="auto">
            <a:xfrm>
              <a:off x="3736728" y="524050"/>
              <a:ext cx="4067755" cy="4096401"/>
            </a:xfrm>
            <a:custGeom>
              <a:avLst/>
              <a:gdLst>
                <a:gd name="T0" fmla="*/ 711 w 6120"/>
                <a:gd name="T1" fmla="*/ 4802 h 6162"/>
                <a:gd name="T2" fmla="*/ 755 w 6120"/>
                <a:gd name="T3" fmla="*/ 4721 h 6162"/>
                <a:gd name="T4" fmla="*/ 2492 w 6120"/>
                <a:gd name="T5" fmla="*/ 2487 h 6162"/>
                <a:gd name="T6" fmla="*/ 4726 w 6120"/>
                <a:gd name="T7" fmla="*/ 750 h 6162"/>
                <a:gd name="T8" fmla="*/ 4807 w 6120"/>
                <a:gd name="T9" fmla="*/ 706 h 6162"/>
                <a:gd name="T10" fmla="*/ 4883 w 6120"/>
                <a:gd name="T11" fmla="*/ 666 h 6162"/>
                <a:gd name="T12" fmla="*/ 5747 w 6120"/>
                <a:gd name="T13" fmla="*/ 308 h 6162"/>
                <a:gd name="T14" fmla="*/ 5804 w 6120"/>
                <a:gd name="T15" fmla="*/ 292 h 6162"/>
                <a:gd name="T16" fmla="*/ 5862 w 6120"/>
                <a:gd name="T17" fmla="*/ 276 h 6162"/>
                <a:gd name="T18" fmla="*/ 6120 w 6120"/>
                <a:gd name="T19" fmla="*/ 226 h 6162"/>
                <a:gd name="T20" fmla="*/ 5817 w 6120"/>
                <a:gd name="T21" fmla="*/ 96 h 6162"/>
                <a:gd name="T22" fmla="*/ 5740 w 6120"/>
                <a:gd name="T23" fmla="*/ 67 h 6162"/>
                <a:gd name="T24" fmla="*/ 5659 w 6120"/>
                <a:gd name="T25" fmla="*/ 37 h 6162"/>
                <a:gd name="T26" fmla="*/ 5541 w 6120"/>
                <a:gd name="T27" fmla="*/ 0 h 6162"/>
                <a:gd name="T28" fmla="*/ 4988 w 6120"/>
                <a:gd name="T29" fmla="*/ 131 h 6162"/>
                <a:gd name="T30" fmla="*/ 4928 w 6120"/>
                <a:gd name="T31" fmla="*/ 153 h 6162"/>
                <a:gd name="T32" fmla="*/ 4868 w 6120"/>
                <a:gd name="T33" fmla="*/ 175 h 6162"/>
                <a:gd name="T34" fmla="*/ 3700 w 6120"/>
                <a:gd name="T35" fmla="*/ 791 h 6162"/>
                <a:gd name="T36" fmla="*/ 3593 w 6120"/>
                <a:gd name="T37" fmla="*/ 862 h 6162"/>
                <a:gd name="T38" fmla="*/ 3473 w 6120"/>
                <a:gd name="T39" fmla="*/ 946 h 6162"/>
                <a:gd name="T40" fmla="*/ 2108 w 6120"/>
                <a:gd name="T41" fmla="*/ 2103 h 6162"/>
                <a:gd name="T42" fmla="*/ 951 w 6120"/>
                <a:gd name="T43" fmla="*/ 3469 h 6162"/>
                <a:gd name="T44" fmla="*/ 866 w 6120"/>
                <a:gd name="T45" fmla="*/ 3588 h 6162"/>
                <a:gd name="T46" fmla="*/ 796 w 6120"/>
                <a:gd name="T47" fmla="*/ 3695 h 6162"/>
                <a:gd name="T48" fmla="*/ 180 w 6120"/>
                <a:gd name="T49" fmla="*/ 4863 h 6162"/>
                <a:gd name="T50" fmla="*/ 157 w 6120"/>
                <a:gd name="T51" fmla="*/ 4924 h 6162"/>
                <a:gd name="T52" fmla="*/ 136 w 6120"/>
                <a:gd name="T53" fmla="*/ 4983 h 6162"/>
                <a:gd name="T54" fmla="*/ 0 w 6120"/>
                <a:gd name="T55" fmla="*/ 5601 h 6162"/>
                <a:gd name="T56" fmla="*/ 9 w 6120"/>
                <a:gd name="T57" fmla="*/ 5631 h 6162"/>
                <a:gd name="T58" fmla="*/ 39 w 6120"/>
                <a:gd name="T59" fmla="*/ 5719 h 6162"/>
                <a:gd name="T60" fmla="*/ 69 w 6120"/>
                <a:gd name="T61" fmla="*/ 5799 h 6162"/>
                <a:gd name="T62" fmla="*/ 225 w 6120"/>
                <a:gd name="T63" fmla="*/ 6162 h 6162"/>
                <a:gd name="T64" fmla="*/ 282 w 6120"/>
                <a:gd name="T65" fmla="*/ 5857 h 6162"/>
                <a:gd name="T66" fmla="*/ 297 w 6120"/>
                <a:gd name="T67" fmla="*/ 5799 h 6162"/>
                <a:gd name="T68" fmla="*/ 313 w 6120"/>
                <a:gd name="T69" fmla="*/ 5742 h 6162"/>
                <a:gd name="T70" fmla="*/ 671 w 6120"/>
                <a:gd name="T71" fmla="*/ 4877 h 6162"/>
                <a:gd name="T72" fmla="*/ 711 w 6120"/>
                <a:gd name="T73" fmla="*/ 4802 h 6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20" h="6162">
                  <a:moveTo>
                    <a:pt x="711" y="4802"/>
                  </a:moveTo>
                  <a:cubicBezTo>
                    <a:pt x="726" y="4775"/>
                    <a:pt x="740" y="4748"/>
                    <a:pt x="755" y="4721"/>
                  </a:cubicBezTo>
                  <a:cubicBezTo>
                    <a:pt x="1151" y="4012"/>
                    <a:pt x="1746" y="3234"/>
                    <a:pt x="2492" y="2487"/>
                  </a:cubicBezTo>
                  <a:cubicBezTo>
                    <a:pt x="3239" y="1741"/>
                    <a:pt x="4017" y="1146"/>
                    <a:pt x="4726" y="750"/>
                  </a:cubicBezTo>
                  <a:cubicBezTo>
                    <a:pt x="4753" y="735"/>
                    <a:pt x="4780" y="721"/>
                    <a:pt x="4807" y="706"/>
                  </a:cubicBezTo>
                  <a:cubicBezTo>
                    <a:pt x="4832" y="693"/>
                    <a:pt x="4857" y="679"/>
                    <a:pt x="4883" y="666"/>
                  </a:cubicBezTo>
                  <a:cubicBezTo>
                    <a:pt x="5189" y="506"/>
                    <a:pt x="5480" y="385"/>
                    <a:pt x="5747" y="308"/>
                  </a:cubicBezTo>
                  <a:cubicBezTo>
                    <a:pt x="5766" y="302"/>
                    <a:pt x="5785" y="297"/>
                    <a:pt x="5804" y="292"/>
                  </a:cubicBezTo>
                  <a:cubicBezTo>
                    <a:pt x="5824" y="286"/>
                    <a:pt x="5843" y="281"/>
                    <a:pt x="5862" y="276"/>
                  </a:cubicBezTo>
                  <a:cubicBezTo>
                    <a:pt x="5951" y="254"/>
                    <a:pt x="6037" y="238"/>
                    <a:pt x="6120" y="226"/>
                  </a:cubicBezTo>
                  <a:cubicBezTo>
                    <a:pt x="6020" y="179"/>
                    <a:pt x="5919" y="136"/>
                    <a:pt x="5817" y="96"/>
                  </a:cubicBezTo>
                  <a:cubicBezTo>
                    <a:pt x="5791" y="86"/>
                    <a:pt x="5766" y="76"/>
                    <a:pt x="5740" y="67"/>
                  </a:cubicBezTo>
                  <a:cubicBezTo>
                    <a:pt x="5713" y="57"/>
                    <a:pt x="5686" y="47"/>
                    <a:pt x="5659" y="37"/>
                  </a:cubicBezTo>
                  <a:cubicBezTo>
                    <a:pt x="5620" y="24"/>
                    <a:pt x="5580" y="12"/>
                    <a:pt x="5541" y="0"/>
                  </a:cubicBezTo>
                  <a:cubicBezTo>
                    <a:pt x="5373" y="19"/>
                    <a:pt x="5187" y="62"/>
                    <a:pt x="4988" y="131"/>
                  </a:cubicBezTo>
                  <a:cubicBezTo>
                    <a:pt x="4969" y="137"/>
                    <a:pt x="4948" y="145"/>
                    <a:pt x="4928" y="153"/>
                  </a:cubicBezTo>
                  <a:cubicBezTo>
                    <a:pt x="4909" y="160"/>
                    <a:pt x="4888" y="168"/>
                    <a:pt x="4868" y="175"/>
                  </a:cubicBezTo>
                  <a:cubicBezTo>
                    <a:pt x="4509" y="311"/>
                    <a:pt x="4113" y="520"/>
                    <a:pt x="3700" y="791"/>
                  </a:cubicBezTo>
                  <a:cubicBezTo>
                    <a:pt x="3665" y="815"/>
                    <a:pt x="3629" y="837"/>
                    <a:pt x="3593" y="862"/>
                  </a:cubicBezTo>
                  <a:cubicBezTo>
                    <a:pt x="3554" y="889"/>
                    <a:pt x="3513" y="918"/>
                    <a:pt x="3473" y="946"/>
                  </a:cubicBezTo>
                  <a:cubicBezTo>
                    <a:pt x="3022" y="1264"/>
                    <a:pt x="2557" y="1653"/>
                    <a:pt x="2108" y="2103"/>
                  </a:cubicBezTo>
                  <a:cubicBezTo>
                    <a:pt x="1657" y="2553"/>
                    <a:pt x="1269" y="3017"/>
                    <a:pt x="951" y="3469"/>
                  </a:cubicBezTo>
                  <a:cubicBezTo>
                    <a:pt x="922" y="3509"/>
                    <a:pt x="893" y="3549"/>
                    <a:pt x="866" y="3588"/>
                  </a:cubicBezTo>
                  <a:cubicBezTo>
                    <a:pt x="842" y="3624"/>
                    <a:pt x="819" y="3660"/>
                    <a:pt x="796" y="3695"/>
                  </a:cubicBezTo>
                  <a:cubicBezTo>
                    <a:pt x="525" y="4108"/>
                    <a:pt x="316" y="4504"/>
                    <a:pt x="180" y="4863"/>
                  </a:cubicBezTo>
                  <a:cubicBezTo>
                    <a:pt x="173" y="4883"/>
                    <a:pt x="165" y="4904"/>
                    <a:pt x="157" y="4924"/>
                  </a:cubicBezTo>
                  <a:cubicBezTo>
                    <a:pt x="150" y="4943"/>
                    <a:pt x="142" y="4964"/>
                    <a:pt x="136" y="4983"/>
                  </a:cubicBezTo>
                  <a:cubicBezTo>
                    <a:pt x="58" y="5209"/>
                    <a:pt x="13" y="5416"/>
                    <a:pt x="0" y="5601"/>
                  </a:cubicBezTo>
                  <a:cubicBezTo>
                    <a:pt x="3" y="5611"/>
                    <a:pt x="6" y="5621"/>
                    <a:pt x="9" y="5631"/>
                  </a:cubicBezTo>
                  <a:cubicBezTo>
                    <a:pt x="19" y="5660"/>
                    <a:pt x="29" y="5690"/>
                    <a:pt x="39" y="5719"/>
                  </a:cubicBezTo>
                  <a:cubicBezTo>
                    <a:pt x="49" y="5746"/>
                    <a:pt x="59" y="5772"/>
                    <a:pt x="69" y="5799"/>
                  </a:cubicBezTo>
                  <a:cubicBezTo>
                    <a:pt x="116" y="5922"/>
                    <a:pt x="168" y="6043"/>
                    <a:pt x="225" y="6162"/>
                  </a:cubicBezTo>
                  <a:cubicBezTo>
                    <a:pt x="236" y="6065"/>
                    <a:pt x="255" y="5963"/>
                    <a:pt x="282" y="5857"/>
                  </a:cubicBezTo>
                  <a:cubicBezTo>
                    <a:pt x="286" y="5838"/>
                    <a:pt x="291" y="5819"/>
                    <a:pt x="297" y="5799"/>
                  </a:cubicBezTo>
                  <a:cubicBezTo>
                    <a:pt x="302" y="5780"/>
                    <a:pt x="307" y="5761"/>
                    <a:pt x="313" y="5742"/>
                  </a:cubicBezTo>
                  <a:cubicBezTo>
                    <a:pt x="390" y="5475"/>
                    <a:pt x="511" y="5184"/>
                    <a:pt x="671" y="4877"/>
                  </a:cubicBezTo>
                  <a:cubicBezTo>
                    <a:pt x="684" y="4852"/>
                    <a:pt x="698" y="4827"/>
                    <a:pt x="711" y="48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7" name="Freeform 9">
              <a:extLst>
                <a:ext uri="{FF2B5EF4-FFF2-40B4-BE49-F238E27FC236}">
                  <a16:creationId xmlns:a16="http://schemas.microsoft.com/office/drawing/2014/main" id="{6EC9FAE3-1492-416A-BCFC-66F77187622F}"/>
                </a:ext>
              </a:extLst>
            </p:cNvPr>
            <p:cNvSpPr>
              <a:spLocks/>
            </p:cNvSpPr>
            <p:nvPr/>
          </p:nvSpPr>
          <p:spPr bwMode="auto">
            <a:xfrm>
              <a:off x="4160964" y="945558"/>
              <a:ext cx="4516544" cy="4545190"/>
            </a:xfrm>
            <a:custGeom>
              <a:avLst/>
              <a:gdLst>
                <a:gd name="T0" fmla="*/ 6710 w 6796"/>
                <a:gd name="T1" fmla="*/ 461 h 6838"/>
                <a:gd name="T2" fmla="*/ 6619 w 6796"/>
                <a:gd name="T3" fmla="*/ 375 h 6838"/>
                <a:gd name="T4" fmla="*/ 6553 w 6796"/>
                <a:gd name="T5" fmla="*/ 312 h 6838"/>
                <a:gd name="T6" fmla="*/ 6484 w 6796"/>
                <a:gd name="T7" fmla="*/ 252 h 6838"/>
                <a:gd name="T8" fmla="*/ 6170 w 6796"/>
                <a:gd name="T9" fmla="*/ 1 h 6838"/>
                <a:gd name="T10" fmla="*/ 6125 w 6796"/>
                <a:gd name="T11" fmla="*/ 0 h 6838"/>
                <a:gd name="T12" fmla="*/ 5991 w 6796"/>
                <a:gd name="T13" fmla="*/ 6 h 6838"/>
                <a:gd name="T14" fmla="*/ 5933 w 6796"/>
                <a:gd name="T15" fmla="*/ 11 h 6838"/>
                <a:gd name="T16" fmla="*/ 5874 w 6796"/>
                <a:gd name="T17" fmla="*/ 18 h 6838"/>
                <a:gd name="T18" fmla="*/ 5184 w 6796"/>
                <a:gd name="T19" fmla="*/ 205 h 6838"/>
                <a:gd name="T20" fmla="*/ 5119 w 6796"/>
                <a:gd name="T21" fmla="*/ 231 h 6838"/>
                <a:gd name="T22" fmla="*/ 5050 w 6796"/>
                <a:gd name="T23" fmla="*/ 259 h 6838"/>
                <a:gd name="T24" fmla="*/ 3758 w 6796"/>
                <a:gd name="T25" fmla="*/ 987 h 6838"/>
                <a:gd name="T26" fmla="*/ 3625 w 6796"/>
                <a:gd name="T27" fmla="*/ 1081 h 6838"/>
                <a:gd name="T28" fmla="*/ 3479 w 6796"/>
                <a:gd name="T29" fmla="*/ 1189 h 6838"/>
                <a:gd name="T30" fmla="*/ 2254 w 6796"/>
                <a:gd name="T31" fmla="*/ 2254 h 6838"/>
                <a:gd name="T32" fmla="*/ 1188 w 6796"/>
                <a:gd name="T33" fmla="*/ 3479 h 6838"/>
                <a:gd name="T34" fmla="*/ 1081 w 6796"/>
                <a:gd name="T35" fmla="*/ 3626 h 6838"/>
                <a:gd name="T36" fmla="*/ 987 w 6796"/>
                <a:gd name="T37" fmla="*/ 3758 h 6838"/>
                <a:gd name="T38" fmla="*/ 259 w 6796"/>
                <a:gd name="T39" fmla="*/ 5050 h 6838"/>
                <a:gd name="T40" fmla="*/ 231 w 6796"/>
                <a:gd name="T41" fmla="*/ 5119 h 6838"/>
                <a:gd name="T42" fmla="*/ 205 w 6796"/>
                <a:gd name="T43" fmla="*/ 5184 h 6838"/>
                <a:gd name="T44" fmla="*/ 18 w 6796"/>
                <a:gd name="T45" fmla="*/ 5874 h 6838"/>
                <a:gd name="T46" fmla="*/ 11 w 6796"/>
                <a:gd name="T47" fmla="*/ 5933 h 6838"/>
                <a:gd name="T48" fmla="*/ 6 w 6796"/>
                <a:gd name="T49" fmla="*/ 5991 h 6838"/>
                <a:gd name="T50" fmla="*/ 0 w 6796"/>
                <a:gd name="T51" fmla="*/ 6125 h 6838"/>
                <a:gd name="T52" fmla="*/ 3 w 6796"/>
                <a:gd name="T53" fmla="*/ 6220 h 6838"/>
                <a:gd name="T54" fmla="*/ 208 w 6796"/>
                <a:gd name="T55" fmla="*/ 6475 h 6838"/>
                <a:gd name="T56" fmla="*/ 270 w 6796"/>
                <a:gd name="T57" fmla="*/ 6547 h 6838"/>
                <a:gd name="T58" fmla="*/ 332 w 6796"/>
                <a:gd name="T59" fmla="*/ 6615 h 6838"/>
                <a:gd name="T60" fmla="*/ 442 w 6796"/>
                <a:gd name="T61" fmla="*/ 6729 h 6838"/>
                <a:gd name="T62" fmla="*/ 556 w 6796"/>
                <a:gd name="T63" fmla="*/ 6838 h 6838"/>
                <a:gd name="T64" fmla="*/ 548 w 6796"/>
                <a:gd name="T65" fmla="*/ 6702 h 6838"/>
                <a:gd name="T66" fmla="*/ 551 w 6796"/>
                <a:gd name="T67" fmla="*/ 6619 h 6838"/>
                <a:gd name="T68" fmla="*/ 556 w 6796"/>
                <a:gd name="T69" fmla="*/ 6560 h 6838"/>
                <a:gd name="T70" fmla="*/ 561 w 6796"/>
                <a:gd name="T71" fmla="*/ 6501 h 6838"/>
                <a:gd name="T72" fmla="*/ 700 w 6796"/>
                <a:gd name="T73" fmla="*/ 5918 h 6838"/>
                <a:gd name="T74" fmla="*/ 724 w 6796"/>
                <a:gd name="T75" fmla="*/ 5852 h 6838"/>
                <a:gd name="T76" fmla="*/ 750 w 6796"/>
                <a:gd name="T77" fmla="*/ 5782 h 6838"/>
                <a:gd name="T78" fmla="*/ 1285 w 6796"/>
                <a:gd name="T79" fmla="*/ 4735 h 6838"/>
                <a:gd name="T80" fmla="*/ 1353 w 6796"/>
                <a:gd name="T81" fmla="*/ 4628 h 6838"/>
                <a:gd name="T82" fmla="*/ 1430 w 6796"/>
                <a:gd name="T83" fmla="*/ 4511 h 6838"/>
                <a:gd name="T84" fmla="*/ 2828 w 6796"/>
                <a:gd name="T85" fmla="*/ 2828 h 6838"/>
                <a:gd name="T86" fmla="*/ 4511 w 6796"/>
                <a:gd name="T87" fmla="*/ 1430 h 6838"/>
                <a:gd name="T88" fmla="*/ 4627 w 6796"/>
                <a:gd name="T89" fmla="*/ 1354 h 6838"/>
                <a:gd name="T90" fmla="*/ 4735 w 6796"/>
                <a:gd name="T91" fmla="*/ 1285 h 6838"/>
                <a:gd name="T92" fmla="*/ 5781 w 6796"/>
                <a:gd name="T93" fmla="*/ 750 h 6838"/>
                <a:gd name="T94" fmla="*/ 5851 w 6796"/>
                <a:gd name="T95" fmla="*/ 724 h 6838"/>
                <a:gd name="T96" fmla="*/ 5918 w 6796"/>
                <a:gd name="T97" fmla="*/ 700 h 6838"/>
                <a:gd name="T98" fmla="*/ 6501 w 6796"/>
                <a:gd name="T99" fmla="*/ 561 h 6838"/>
                <a:gd name="T100" fmla="*/ 6560 w 6796"/>
                <a:gd name="T101" fmla="*/ 556 h 6838"/>
                <a:gd name="T102" fmla="*/ 6620 w 6796"/>
                <a:gd name="T103" fmla="*/ 551 h 6838"/>
                <a:gd name="T104" fmla="*/ 6702 w 6796"/>
                <a:gd name="T105" fmla="*/ 548 h 6838"/>
                <a:gd name="T106" fmla="*/ 6796 w 6796"/>
                <a:gd name="T107" fmla="*/ 552 h 6838"/>
                <a:gd name="T108" fmla="*/ 6710 w 6796"/>
                <a:gd name="T109" fmla="*/ 461 h 6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796" h="6838">
                  <a:moveTo>
                    <a:pt x="6710" y="461"/>
                  </a:moveTo>
                  <a:cubicBezTo>
                    <a:pt x="6680" y="431"/>
                    <a:pt x="6649" y="403"/>
                    <a:pt x="6619" y="375"/>
                  </a:cubicBezTo>
                  <a:cubicBezTo>
                    <a:pt x="6597" y="354"/>
                    <a:pt x="6575" y="332"/>
                    <a:pt x="6553" y="312"/>
                  </a:cubicBezTo>
                  <a:cubicBezTo>
                    <a:pt x="6530" y="291"/>
                    <a:pt x="6507" y="272"/>
                    <a:pt x="6484" y="252"/>
                  </a:cubicBezTo>
                  <a:cubicBezTo>
                    <a:pt x="6382" y="163"/>
                    <a:pt x="6278" y="79"/>
                    <a:pt x="6170" y="1"/>
                  </a:cubicBezTo>
                  <a:cubicBezTo>
                    <a:pt x="6155" y="1"/>
                    <a:pt x="6140" y="0"/>
                    <a:pt x="6125" y="0"/>
                  </a:cubicBezTo>
                  <a:cubicBezTo>
                    <a:pt x="6082" y="0"/>
                    <a:pt x="6037" y="2"/>
                    <a:pt x="5991" y="6"/>
                  </a:cubicBezTo>
                  <a:cubicBezTo>
                    <a:pt x="5972" y="7"/>
                    <a:pt x="5953" y="9"/>
                    <a:pt x="5933" y="11"/>
                  </a:cubicBezTo>
                  <a:cubicBezTo>
                    <a:pt x="5914" y="13"/>
                    <a:pt x="5894" y="15"/>
                    <a:pt x="5874" y="18"/>
                  </a:cubicBezTo>
                  <a:cubicBezTo>
                    <a:pt x="5664" y="47"/>
                    <a:pt x="5432" y="110"/>
                    <a:pt x="5184" y="205"/>
                  </a:cubicBezTo>
                  <a:cubicBezTo>
                    <a:pt x="5162" y="214"/>
                    <a:pt x="5141" y="222"/>
                    <a:pt x="5119" y="231"/>
                  </a:cubicBezTo>
                  <a:cubicBezTo>
                    <a:pt x="5096" y="240"/>
                    <a:pt x="5073" y="249"/>
                    <a:pt x="5050" y="259"/>
                  </a:cubicBezTo>
                  <a:cubicBezTo>
                    <a:pt x="4649" y="427"/>
                    <a:pt x="4210" y="673"/>
                    <a:pt x="3758" y="987"/>
                  </a:cubicBezTo>
                  <a:cubicBezTo>
                    <a:pt x="3714" y="1018"/>
                    <a:pt x="3670" y="1049"/>
                    <a:pt x="3625" y="1081"/>
                  </a:cubicBezTo>
                  <a:cubicBezTo>
                    <a:pt x="3576" y="1116"/>
                    <a:pt x="3528" y="1152"/>
                    <a:pt x="3479" y="1189"/>
                  </a:cubicBezTo>
                  <a:cubicBezTo>
                    <a:pt x="3071" y="1494"/>
                    <a:pt x="2657" y="1851"/>
                    <a:pt x="2254" y="2254"/>
                  </a:cubicBezTo>
                  <a:cubicBezTo>
                    <a:pt x="1851" y="2657"/>
                    <a:pt x="1494" y="3071"/>
                    <a:pt x="1188" y="3479"/>
                  </a:cubicBezTo>
                  <a:cubicBezTo>
                    <a:pt x="1151" y="3528"/>
                    <a:pt x="1116" y="3577"/>
                    <a:pt x="1081" y="3626"/>
                  </a:cubicBezTo>
                  <a:cubicBezTo>
                    <a:pt x="1049" y="3670"/>
                    <a:pt x="1017" y="3714"/>
                    <a:pt x="987" y="3758"/>
                  </a:cubicBezTo>
                  <a:cubicBezTo>
                    <a:pt x="673" y="4210"/>
                    <a:pt x="427" y="4649"/>
                    <a:pt x="259" y="5050"/>
                  </a:cubicBezTo>
                  <a:cubicBezTo>
                    <a:pt x="249" y="5073"/>
                    <a:pt x="240" y="5096"/>
                    <a:pt x="231" y="5119"/>
                  </a:cubicBezTo>
                  <a:cubicBezTo>
                    <a:pt x="222" y="5141"/>
                    <a:pt x="214" y="5162"/>
                    <a:pt x="205" y="5184"/>
                  </a:cubicBezTo>
                  <a:cubicBezTo>
                    <a:pt x="110" y="5432"/>
                    <a:pt x="47" y="5665"/>
                    <a:pt x="18" y="5874"/>
                  </a:cubicBezTo>
                  <a:cubicBezTo>
                    <a:pt x="15" y="5894"/>
                    <a:pt x="13" y="5914"/>
                    <a:pt x="11" y="5933"/>
                  </a:cubicBezTo>
                  <a:cubicBezTo>
                    <a:pt x="8" y="5953"/>
                    <a:pt x="7" y="5972"/>
                    <a:pt x="6" y="5991"/>
                  </a:cubicBezTo>
                  <a:cubicBezTo>
                    <a:pt x="2" y="6037"/>
                    <a:pt x="0" y="6082"/>
                    <a:pt x="0" y="6125"/>
                  </a:cubicBezTo>
                  <a:cubicBezTo>
                    <a:pt x="0" y="6157"/>
                    <a:pt x="1" y="6189"/>
                    <a:pt x="3" y="6220"/>
                  </a:cubicBezTo>
                  <a:cubicBezTo>
                    <a:pt x="67" y="6307"/>
                    <a:pt x="136" y="6392"/>
                    <a:pt x="208" y="6475"/>
                  </a:cubicBezTo>
                  <a:cubicBezTo>
                    <a:pt x="228" y="6499"/>
                    <a:pt x="249" y="6524"/>
                    <a:pt x="270" y="6547"/>
                  </a:cubicBezTo>
                  <a:cubicBezTo>
                    <a:pt x="290" y="6570"/>
                    <a:pt x="312" y="6592"/>
                    <a:pt x="332" y="6615"/>
                  </a:cubicBezTo>
                  <a:cubicBezTo>
                    <a:pt x="368" y="6653"/>
                    <a:pt x="404" y="6692"/>
                    <a:pt x="442" y="6729"/>
                  </a:cubicBezTo>
                  <a:cubicBezTo>
                    <a:pt x="479" y="6767"/>
                    <a:pt x="517" y="6802"/>
                    <a:pt x="556" y="6838"/>
                  </a:cubicBezTo>
                  <a:cubicBezTo>
                    <a:pt x="551" y="6794"/>
                    <a:pt x="548" y="6749"/>
                    <a:pt x="548" y="6702"/>
                  </a:cubicBezTo>
                  <a:cubicBezTo>
                    <a:pt x="548" y="6675"/>
                    <a:pt x="550" y="6647"/>
                    <a:pt x="551" y="6619"/>
                  </a:cubicBezTo>
                  <a:cubicBezTo>
                    <a:pt x="552" y="6600"/>
                    <a:pt x="554" y="6580"/>
                    <a:pt x="556" y="6560"/>
                  </a:cubicBezTo>
                  <a:cubicBezTo>
                    <a:pt x="557" y="6541"/>
                    <a:pt x="559" y="6521"/>
                    <a:pt x="561" y="6501"/>
                  </a:cubicBezTo>
                  <a:cubicBezTo>
                    <a:pt x="582" y="6322"/>
                    <a:pt x="629" y="6126"/>
                    <a:pt x="700" y="5918"/>
                  </a:cubicBezTo>
                  <a:cubicBezTo>
                    <a:pt x="708" y="5896"/>
                    <a:pt x="716" y="5874"/>
                    <a:pt x="724" y="5852"/>
                  </a:cubicBezTo>
                  <a:cubicBezTo>
                    <a:pt x="733" y="5828"/>
                    <a:pt x="741" y="5805"/>
                    <a:pt x="750" y="5782"/>
                  </a:cubicBezTo>
                  <a:cubicBezTo>
                    <a:pt x="875" y="5455"/>
                    <a:pt x="1056" y="5102"/>
                    <a:pt x="1285" y="4735"/>
                  </a:cubicBezTo>
                  <a:cubicBezTo>
                    <a:pt x="1308" y="4699"/>
                    <a:pt x="1330" y="4664"/>
                    <a:pt x="1353" y="4628"/>
                  </a:cubicBezTo>
                  <a:cubicBezTo>
                    <a:pt x="1378" y="4589"/>
                    <a:pt x="1404" y="4550"/>
                    <a:pt x="1430" y="4511"/>
                  </a:cubicBezTo>
                  <a:cubicBezTo>
                    <a:pt x="1799" y="3961"/>
                    <a:pt x="2271" y="3385"/>
                    <a:pt x="2828" y="2828"/>
                  </a:cubicBezTo>
                  <a:cubicBezTo>
                    <a:pt x="3385" y="2271"/>
                    <a:pt x="3960" y="1799"/>
                    <a:pt x="4511" y="1430"/>
                  </a:cubicBezTo>
                  <a:cubicBezTo>
                    <a:pt x="4550" y="1404"/>
                    <a:pt x="4589" y="1379"/>
                    <a:pt x="4627" y="1354"/>
                  </a:cubicBezTo>
                  <a:cubicBezTo>
                    <a:pt x="4663" y="1330"/>
                    <a:pt x="4699" y="1308"/>
                    <a:pt x="4735" y="1285"/>
                  </a:cubicBezTo>
                  <a:cubicBezTo>
                    <a:pt x="5102" y="1056"/>
                    <a:pt x="5455" y="875"/>
                    <a:pt x="5781" y="750"/>
                  </a:cubicBezTo>
                  <a:cubicBezTo>
                    <a:pt x="5805" y="741"/>
                    <a:pt x="5828" y="733"/>
                    <a:pt x="5851" y="724"/>
                  </a:cubicBezTo>
                  <a:cubicBezTo>
                    <a:pt x="5874" y="716"/>
                    <a:pt x="5896" y="708"/>
                    <a:pt x="5918" y="700"/>
                  </a:cubicBezTo>
                  <a:cubicBezTo>
                    <a:pt x="6126" y="629"/>
                    <a:pt x="6322" y="582"/>
                    <a:pt x="6501" y="561"/>
                  </a:cubicBezTo>
                  <a:cubicBezTo>
                    <a:pt x="6521" y="559"/>
                    <a:pt x="6541" y="557"/>
                    <a:pt x="6560" y="556"/>
                  </a:cubicBezTo>
                  <a:cubicBezTo>
                    <a:pt x="6580" y="554"/>
                    <a:pt x="6600" y="552"/>
                    <a:pt x="6620" y="551"/>
                  </a:cubicBezTo>
                  <a:cubicBezTo>
                    <a:pt x="6647" y="550"/>
                    <a:pt x="6675" y="549"/>
                    <a:pt x="6702" y="548"/>
                  </a:cubicBezTo>
                  <a:cubicBezTo>
                    <a:pt x="6734" y="548"/>
                    <a:pt x="6765" y="550"/>
                    <a:pt x="6796" y="552"/>
                  </a:cubicBezTo>
                  <a:cubicBezTo>
                    <a:pt x="6767" y="521"/>
                    <a:pt x="6739" y="491"/>
                    <a:pt x="6710" y="4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8" name="Freeform 10">
              <a:extLst>
                <a:ext uri="{FF2B5EF4-FFF2-40B4-BE49-F238E27FC236}">
                  <a16:creationId xmlns:a16="http://schemas.microsoft.com/office/drawing/2014/main" id="{54CE5925-9480-4C02-A7F9-3B31E37C904C}"/>
                </a:ext>
              </a:extLst>
            </p:cNvPr>
            <p:cNvSpPr>
              <a:spLocks/>
            </p:cNvSpPr>
            <p:nvPr/>
          </p:nvSpPr>
          <p:spPr bwMode="auto">
            <a:xfrm>
              <a:off x="3956348" y="740943"/>
              <a:ext cx="4194616" cy="4225990"/>
            </a:xfrm>
            <a:custGeom>
              <a:avLst/>
              <a:gdLst>
                <a:gd name="T0" fmla="*/ 1126 w 6312"/>
                <a:gd name="T1" fmla="*/ 4101 h 6355"/>
                <a:gd name="T2" fmla="*/ 1212 w 6312"/>
                <a:gd name="T3" fmla="*/ 3976 h 6355"/>
                <a:gd name="T4" fmla="*/ 2479 w 6312"/>
                <a:gd name="T5" fmla="*/ 2477 h 6355"/>
                <a:gd name="T6" fmla="*/ 3978 w 6312"/>
                <a:gd name="T7" fmla="*/ 1210 h 6355"/>
                <a:gd name="T8" fmla="*/ 4103 w 6312"/>
                <a:gd name="T9" fmla="*/ 1124 h 6355"/>
                <a:gd name="T10" fmla="*/ 4216 w 6312"/>
                <a:gd name="T11" fmla="*/ 1049 h 6355"/>
                <a:gd name="T12" fmla="*/ 5392 w 6312"/>
                <a:gd name="T13" fmla="*/ 423 h 6355"/>
                <a:gd name="T14" fmla="*/ 5456 w 6312"/>
                <a:gd name="T15" fmla="*/ 399 h 6355"/>
                <a:gd name="T16" fmla="*/ 5518 w 6312"/>
                <a:gd name="T17" fmla="*/ 376 h 6355"/>
                <a:gd name="T18" fmla="*/ 6164 w 6312"/>
                <a:gd name="T19" fmla="*/ 208 h 6355"/>
                <a:gd name="T20" fmla="*/ 6222 w 6312"/>
                <a:gd name="T21" fmla="*/ 201 h 6355"/>
                <a:gd name="T22" fmla="*/ 6281 w 6312"/>
                <a:gd name="T23" fmla="*/ 195 h 6355"/>
                <a:gd name="T24" fmla="*/ 6312 w 6312"/>
                <a:gd name="T25" fmla="*/ 193 h 6355"/>
                <a:gd name="T26" fmla="*/ 6276 w 6312"/>
                <a:gd name="T27" fmla="*/ 170 h 6355"/>
                <a:gd name="T28" fmla="*/ 6203 w 6312"/>
                <a:gd name="T29" fmla="*/ 124 h 6355"/>
                <a:gd name="T30" fmla="*/ 6122 w 6312"/>
                <a:gd name="T31" fmla="*/ 74 h 6355"/>
                <a:gd name="T32" fmla="*/ 5988 w 6312"/>
                <a:gd name="T33" fmla="*/ 0 h 6355"/>
                <a:gd name="T34" fmla="*/ 5542 w 6312"/>
                <a:gd name="T35" fmla="*/ 68 h 6355"/>
                <a:gd name="T36" fmla="*/ 5484 w 6312"/>
                <a:gd name="T37" fmla="*/ 83 h 6355"/>
                <a:gd name="T38" fmla="*/ 5425 w 6312"/>
                <a:gd name="T39" fmla="*/ 101 h 6355"/>
                <a:gd name="T40" fmla="*/ 4488 w 6312"/>
                <a:gd name="T41" fmla="*/ 508 h 6355"/>
                <a:gd name="T42" fmla="*/ 4405 w 6312"/>
                <a:gd name="T43" fmla="*/ 555 h 6355"/>
                <a:gd name="T44" fmla="*/ 4316 w 6312"/>
                <a:gd name="T45" fmla="*/ 606 h 6355"/>
                <a:gd name="T46" fmla="*/ 2245 w 6312"/>
                <a:gd name="T47" fmla="*/ 2243 h 6355"/>
                <a:gd name="T48" fmla="*/ 608 w 6312"/>
                <a:gd name="T49" fmla="*/ 4314 h 6355"/>
                <a:gd name="T50" fmla="*/ 557 w 6312"/>
                <a:gd name="T51" fmla="*/ 4404 h 6355"/>
                <a:gd name="T52" fmla="*/ 510 w 6312"/>
                <a:gd name="T53" fmla="*/ 4486 h 6355"/>
                <a:gd name="T54" fmla="*/ 103 w 6312"/>
                <a:gd name="T55" fmla="*/ 5423 h 6355"/>
                <a:gd name="T56" fmla="*/ 85 w 6312"/>
                <a:gd name="T57" fmla="*/ 5482 h 6355"/>
                <a:gd name="T58" fmla="*/ 70 w 6312"/>
                <a:gd name="T59" fmla="*/ 5540 h 6355"/>
                <a:gd name="T60" fmla="*/ 1 w 6312"/>
                <a:gd name="T61" fmla="*/ 6034 h 6355"/>
                <a:gd name="T62" fmla="*/ 1 w 6312"/>
                <a:gd name="T63" fmla="*/ 6039 h 6355"/>
                <a:gd name="T64" fmla="*/ 36 w 6312"/>
                <a:gd name="T65" fmla="*/ 6102 h 6355"/>
                <a:gd name="T66" fmla="*/ 85 w 6312"/>
                <a:gd name="T67" fmla="*/ 6186 h 6355"/>
                <a:gd name="T68" fmla="*/ 134 w 6312"/>
                <a:gd name="T69" fmla="*/ 6264 h 6355"/>
                <a:gd name="T70" fmla="*/ 192 w 6312"/>
                <a:gd name="T71" fmla="*/ 6355 h 6355"/>
                <a:gd name="T72" fmla="*/ 197 w 6312"/>
                <a:gd name="T73" fmla="*/ 6279 h 6355"/>
                <a:gd name="T74" fmla="*/ 203 w 6312"/>
                <a:gd name="T75" fmla="*/ 6220 h 6355"/>
                <a:gd name="T76" fmla="*/ 210 w 6312"/>
                <a:gd name="T77" fmla="*/ 6162 h 6355"/>
                <a:gd name="T78" fmla="*/ 378 w 6312"/>
                <a:gd name="T79" fmla="*/ 5516 h 6355"/>
                <a:gd name="T80" fmla="*/ 400 w 6312"/>
                <a:gd name="T81" fmla="*/ 5454 h 6355"/>
                <a:gd name="T82" fmla="*/ 425 w 6312"/>
                <a:gd name="T83" fmla="*/ 5390 h 6355"/>
                <a:gd name="T84" fmla="*/ 1050 w 6312"/>
                <a:gd name="T85" fmla="*/ 4214 h 6355"/>
                <a:gd name="T86" fmla="*/ 1126 w 6312"/>
                <a:gd name="T87" fmla="*/ 4101 h 6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2" h="6355">
                  <a:moveTo>
                    <a:pt x="1126" y="4101"/>
                  </a:moveTo>
                  <a:cubicBezTo>
                    <a:pt x="1154" y="4060"/>
                    <a:pt x="1183" y="4018"/>
                    <a:pt x="1212" y="3976"/>
                  </a:cubicBezTo>
                  <a:cubicBezTo>
                    <a:pt x="1559" y="3480"/>
                    <a:pt x="1986" y="2971"/>
                    <a:pt x="2479" y="2477"/>
                  </a:cubicBezTo>
                  <a:cubicBezTo>
                    <a:pt x="2973" y="1984"/>
                    <a:pt x="3482" y="1557"/>
                    <a:pt x="3978" y="1210"/>
                  </a:cubicBezTo>
                  <a:cubicBezTo>
                    <a:pt x="4020" y="1181"/>
                    <a:pt x="4061" y="1152"/>
                    <a:pt x="4103" y="1124"/>
                  </a:cubicBezTo>
                  <a:cubicBezTo>
                    <a:pt x="4141" y="1098"/>
                    <a:pt x="4179" y="1073"/>
                    <a:pt x="4216" y="1049"/>
                  </a:cubicBezTo>
                  <a:cubicBezTo>
                    <a:pt x="4626" y="780"/>
                    <a:pt x="5024" y="569"/>
                    <a:pt x="5392" y="423"/>
                  </a:cubicBezTo>
                  <a:cubicBezTo>
                    <a:pt x="5414" y="415"/>
                    <a:pt x="5435" y="407"/>
                    <a:pt x="5456" y="399"/>
                  </a:cubicBezTo>
                  <a:cubicBezTo>
                    <a:pt x="5477" y="391"/>
                    <a:pt x="5498" y="383"/>
                    <a:pt x="5518" y="376"/>
                  </a:cubicBezTo>
                  <a:cubicBezTo>
                    <a:pt x="5747" y="293"/>
                    <a:pt x="5964" y="236"/>
                    <a:pt x="6164" y="208"/>
                  </a:cubicBezTo>
                  <a:cubicBezTo>
                    <a:pt x="6183" y="206"/>
                    <a:pt x="6203" y="203"/>
                    <a:pt x="6222" y="201"/>
                  </a:cubicBezTo>
                  <a:cubicBezTo>
                    <a:pt x="6242" y="199"/>
                    <a:pt x="6262" y="197"/>
                    <a:pt x="6281" y="195"/>
                  </a:cubicBezTo>
                  <a:cubicBezTo>
                    <a:pt x="6292" y="194"/>
                    <a:pt x="6302" y="193"/>
                    <a:pt x="6312" y="193"/>
                  </a:cubicBezTo>
                  <a:cubicBezTo>
                    <a:pt x="6300" y="185"/>
                    <a:pt x="6288" y="178"/>
                    <a:pt x="6276" y="170"/>
                  </a:cubicBezTo>
                  <a:cubicBezTo>
                    <a:pt x="6252" y="155"/>
                    <a:pt x="6228" y="139"/>
                    <a:pt x="6203" y="124"/>
                  </a:cubicBezTo>
                  <a:cubicBezTo>
                    <a:pt x="6176" y="108"/>
                    <a:pt x="6149" y="90"/>
                    <a:pt x="6122" y="74"/>
                  </a:cubicBezTo>
                  <a:cubicBezTo>
                    <a:pt x="6077" y="49"/>
                    <a:pt x="6032" y="24"/>
                    <a:pt x="5988" y="0"/>
                  </a:cubicBezTo>
                  <a:cubicBezTo>
                    <a:pt x="5852" y="4"/>
                    <a:pt x="5703" y="27"/>
                    <a:pt x="5542" y="68"/>
                  </a:cubicBezTo>
                  <a:cubicBezTo>
                    <a:pt x="5523" y="73"/>
                    <a:pt x="5503" y="78"/>
                    <a:pt x="5484" y="83"/>
                  </a:cubicBezTo>
                  <a:cubicBezTo>
                    <a:pt x="5464" y="89"/>
                    <a:pt x="5445" y="95"/>
                    <a:pt x="5425" y="101"/>
                  </a:cubicBezTo>
                  <a:cubicBezTo>
                    <a:pt x="5140" y="186"/>
                    <a:pt x="4823" y="324"/>
                    <a:pt x="4488" y="508"/>
                  </a:cubicBezTo>
                  <a:cubicBezTo>
                    <a:pt x="4461" y="523"/>
                    <a:pt x="4433" y="539"/>
                    <a:pt x="4405" y="555"/>
                  </a:cubicBezTo>
                  <a:cubicBezTo>
                    <a:pt x="4376" y="572"/>
                    <a:pt x="4346" y="588"/>
                    <a:pt x="4316" y="606"/>
                  </a:cubicBezTo>
                  <a:cubicBezTo>
                    <a:pt x="3656" y="993"/>
                    <a:pt x="2935" y="1552"/>
                    <a:pt x="2245" y="2243"/>
                  </a:cubicBezTo>
                  <a:cubicBezTo>
                    <a:pt x="1554" y="2933"/>
                    <a:pt x="995" y="3654"/>
                    <a:pt x="608" y="4314"/>
                  </a:cubicBezTo>
                  <a:cubicBezTo>
                    <a:pt x="590" y="4344"/>
                    <a:pt x="573" y="4374"/>
                    <a:pt x="557" y="4404"/>
                  </a:cubicBezTo>
                  <a:cubicBezTo>
                    <a:pt x="541" y="4431"/>
                    <a:pt x="525" y="4459"/>
                    <a:pt x="510" y="4486"/>
                  </a:cubicBezTo>
                  <a:cubicBezTo>
                    <a:pt x="326" y="4822"/>
                    <a:pt x="188" y="5138"/>
                    <a:pt x="103" y="5423"/>
                  </a:cubicBezTo>
                  <a:cubicBezTo>
                    <a:pt x="97" y="5443"/>
                    <a:pt x="91" y="5462"/>
                    <a:pt x="85" y="5482"/>
                  </a:cubicBezTo>
                  <a:cubicBezTo>
                    <a:pt x="80" y="5501"/>
                    <a:pt x="75" y="5521"/>
                    <a:pt x="70" y="5540"/>
                  </a:cubicBezTo>
                  <a:cubicBezTo>
                    <a:pt x="24" y="5720"/>
                    <a:pt x="0" y="5886"/>
                    <a:pt x="1" y="6034"/>
                  </a:cubicBezTo>
                  <a:cubicBezTo>
                    <a:pt x="1" y="6035"/>
                    <a:pt x="1" y="6037"/>
                    <a:pt x="1" y="6039"/>
                  </a:cubicBezTo>
                  <a:cubicBezTo>
                    <a:pt x="12" y="6060"/>
                    <a:pt x="24" y="6081"/>
                    <a:pt x="36" y="6102"/>
                  </a:cubicBezTo>
                  <a:cubicBezTo>
                    <a:pt x="52" y="6130"/>
                    <a:pt x="68" y="6158"/>
                    <a:pt x="85" y="6186"/>
                  </a:cubicBezTo>
                  <a:cubicBezTo>
                    <a:pt x="101" y="6212"/>
                    <a:pt x="117" y="6238"/>
                    <a:pt x="134" y="6264"/>
                  </a:cubicBezTo>
                  <a:cubicBezTo>
                    <a:pt x="153" y="6294"/>
                    <a:pt x="172" y="6325"/>
                    <a:pt x="192" y="6355"/>
                  </a:cubicBezTo>
                  <a:cubicBezTo>
                    <a:pt x="193" y="6330"/>
                    <a:pt x="195" y="6305"/>
                    <a:pt x="197" y="6279"/>
                  </a:cubicBezTo>
                  <a:cubicBezTo>
                    <a:pt x="199" y="6260"/>
                    <a:pt x="201" y="6240"/>
                    <a:pt x="203" y="6220"/>
                  </a:cubicBezTo>
                  <a:cubicBezTo>
                    <a:pt x="205" y="6201"/>
                    <a:pt x="208" y="6181"/>
                    <a:pt x="210" y="6162"/>
                  </a:cubicBezTo>
                  <a:cubicBezTo>
                    <a:pt x="238" y="5962"/>
                    <a:pt x="295" y="5745"/>
                    <a:pt x="378" y="5516"/>
                  </a:cubicBezTo>
                  <a:cubicBezTo>
                    <a:pt x="385" y="5496"/>
                    <a:pt x="392" y="5475"/>
                    <a:pt x="400" y="5454"/>
                  </a:cubicBezTo>
                  <a:cubicBezTo>
                    <a:pt x="408" y="5433"/>
                    <a:pt x="417" y="5412"/>
                    <a:pt x="425" y="5390"/>
                  </a:cubicBezTo>
                  <a:cubicBezTo>
                    <a:pt x="571" y="5022"/>
                    <a:pt x="782" y="4624"/>
                    <a:pt x="1050" y="4214"/>
                  </a:cubicBezTo>
                  <a:cubicBezTo>
                    <a:pt x="1075" y="4177"/>
                    <a:pt x="1100" y="4139"/>
                    <a:pt x="1126" y="410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9" name="Freeform 11">
              <a:extLst>
                <a:ext uri="{FF2B5EF4-FFF2-40B4-BE49-F238E27FC236}">
                  <a16:creationId xmlns:a16="http://schemas.microsoft.com/office/drawing/2014/main" id="{9BF6A145-B04A-4D96-B42A-F9F9564194A0}"/>
                </a:ext>
              </a:extLst>
            </p:cNvPr>
            <p:cNvSpPr>
              <a:spLocks/>
            </p:cNvSpPr>
            <p:nvPr/>
          </p:nvSpPr>
          <p:spPr bwMode="auto">
            <a:xfrm>
              <a:off x="4604297" y="1387527"/>
              <a:ext cx="4412873" cy="4441519"/>
            </a:xfrm>
            <a:custGeom>
              <a:avLst/>
              <a:gdLst>
                <a:gd name="T0" fmla="*/ 4682 w 6640"/>
                <a:gd name="T1" fmla="*/ 1069 h 6679"/>
                <a:gd name="T2" fmla="*/ 4782 w 6640"/>
                <a:gd name="T3" fmla="*/ 1013 h 6679"/>
                <a:gd name="T4" fmla="*/ 4876 w 6640"/>
                <a:gd name="T5" fmla="*/ 962 h 6679"/>
                <a:gd name="T6" fmla="*/ 5665 w 6640"/>
                <a:gd name="T7" fmla="*/ 626 h 6679"/>
                <a:gd name="T8" fmla="*/ 5735 w 6640"/>
                <a:gd name="T9" fmla="*/ 605 h 6679"/>
                <a:gd name="T10" fmla="*/ 5804 w 6640"/>
                <a:gd name="T11" fmla="*/ 586 h 6679"/>
                <a:gd name="T12" fmla="*/ 6300 w 6640"/>
                <a:gd name="T13" fmla="*/ 507 h 6679"/>
                <a:gd name="T14" fmla="*/ 6355 w 6640"/>
                <a:gd name="T15" fmla="*/ 505 h 6679"/>
                <a:gd name="T16" fmla="*/ 6360 w 6640"/>
                <a:gd name="T17" fmla="*/ 505 h 6679"/>
                <a:gd name="T18" fmla="*/ 6419 w 6640"/>
                <a:gd name="T19" fmla="*/ 507 h 6679"/>
                <a:gd name="T20" fmla="*/ 6640 w 6640"/>
                <a:gd name="T21" fmla="*/ 536 h 6679"/>
                <a:gd name="T22" fmla="*/ 6443 w 6640"/>
                <a:gd name="T23" fmla="*/ 254 h 6679"/>
                <a:gd name="T24" fmla="*/ 6385 w 6640"/>
                <a:gd name="T25" fmla="*/ 179 h 6679"/>
                <a:gd name="T26" fmla="*/ 6323 w 6640"/>
                <a:gd name="T27" fmla="*/ 102 h 6679"/>
                <a:gd name="T28" fmla="*/ 6253 w 6640"/>
                <a:gd name="T29" fmla="*/ 21 h 6679"/>
                <a:gd name="T30" fmla="*/ 6036 w 6640"/>
                <a:gd name="T31" fmla="*/ 1 h 6679"/>
                <a:gd name="T32" fmla="*/ 5943 w 6640"/>
                <a:gd name="T33" fmla="*/ 3 h 6679"/>
                <a:gd name="T34" fmla="*/ 5884 w 6640"/>
                <a:gd name="T35" fmla="*/ 8 h 6679"/>
                <a:gd name="T36" fmla="*/ 5824 w 6640"/>
                <a:gd name="T37" fmla="*/ 15 h 6679"/>
                <a:gd name="T38" fmla="*/ 5212 w 6640"/>
                <a:gd name="T39" fmla="*/ 174 h 6679"/>
                <a:gd name="T40" fmla="*/ 5142 w 6640"/>
                <a:gd name="T41" fmla="*/ 200 h 6679"/>
                <a:gd name="T42" fmla="*/ 5070 w 6640"/>
                <a:gd name="T43" fmla="*/ 229 h 6679"/>
                <a:gd name="T44" fmla="*/ 3933 w 6640"/>
                <a:gd name="T45" fmla="*/ 848 h 6679"/>
                <a:gd name="T46" fmla="*/ 3812 w 6640"/>
                <a:gd name="T47" fmla="*/ 929 h 6679"/>
                <a:gd name="T48" fmla="*/ 3679 w 6640"/>
                <a:gd name="T49" fmla="*/ 1023 h 6679"/>
                <a:gd name="T50" fmla="*/ 2245 w 6640"/>
                <a:gd name="T51" fmla="*/ 2245 h 6679"/>
                <a:gd name="T52" fmla="*/ 1023 w 6640"/>
                <a:gd name="T53" fmla="*/ 3679 h 6679"/>
                <a:gd name="T54" fmla="*/ 929 w 6640"/>
                <a:gd name="T55" fmla="*/ 3812 h 6679"/>
                <a:gd name="T56" fmla="*/ 848 w 6640"/>
                <a:gd name="T57" fmla="*/ 3933 h 6679"/>
                <a:gd name="T58" fmla="*/ 229 w 6640"/>
                <a:gd name="T59" fmla="*/ 5070 h 6679"/>
                <a:gd name="T60" fmla="*/ 200 w 6640"/>
                <a:gd name="T61" fmla="*/ 5142 h 6679"/>
                <a:gd name="T62" fmla="*/ 174 w 6640"/>
                <a:gd name="T63" fmla="*/ 5212 h 6679"/>
                <a:gd name="T64" fmla="*/ 15 w 6640"/>
                <a:gd name="T65" fmla="*/ 5824 h 6679"/>
                <a:gd name="T66" fmla="*/ 8 w 6640"/>
                <a:gd name="T67" fmla="*/ 5884 h 6679"/>
                <a:gd name="T68" fmla="*/ 3 w 6640"/>
                <a:gd name="T69" fmla="*/ 5943 h 6679"/>
                <a:gd name="T70" fmla="*/ 1 w 6640"/>
                <a:gd name="T71" fmla="*/ 6036 h 6679"/>
                <a:gd name="T72" fmla="*/ 30 w 6640"/>
                <a:gd name="T73" fmla="*/ 6297 h 6679"/>
                <a:gd name="T74" fmla="*/ 54 w 6640"/>
                <a:gd name="T75" fmla="*/ 6318 h 6679"/>
                <a:gd name="T76" fmla="*/ 132 w 6640"/>
                <a:gd name="T77" fmla="*/ 6383 h 6679"/>
                <a:gd name="T78" fmla="*/ 211 w 6640"/>
                <a:gd name="T79" fmla="*/ 6444 h 6679"/>
                <a:gd name="T80" fmla="*/ 547 w 6640"/>
                <a:gd name="T81" fmla="*/ 6679 h 6679"/>
                <a:gd name="T82" fmla="*/ 507 w 6640"/>
                <a:gd name="T83" fmla="*/ 6419 h 6679"/>
                <a:gd name="T84" fmla="*/ 505 w 6640"/>
                <a:gd name="T85" fmla="*/ 6360 h 6679"/>
                <a:gd name="T86" fmla="*/ 505 w 6640"/>
                <a:gd name="T87" fmla="*/ 6356 h 6679"/>
                <a:gd name="T88" fmla="*/ 507 w 6640"/>
                <a:gd name="T89" fmla="*/ 6300 h 6679"/>
                <a:gd name="T90" fmla="*/ 586 w 6640"/>
                <a:gd name="T91" fmla="*/ 5804 h 6679"/>
                <a:gd name="T92" fmla="*/ 605 w 6640"/>
                <a:gd name="T93" fmla="*/ 5735 h 6679"/>
                <a:gd name="T94" fmla="*/ 626 w 6640"/>
                <a:gd name="T95" fmla="*/ 5665 h 6679"/>
                <a:gd name="T96" fmla="*/ 962 w 6640"/>
                <a:gd name="T97" fmla="*/ 4876 h 6679"/>
                <a:gd name="T98" fmla="*/ 1013 w 6640"/>
                <a:gd name="T99" fmla="*/ 4781 h 6679"/>
                <a:gd name="T100" fmla="*/ 1069 w 6640"/>
                <a:gd name="T101" fmla="*/ 4682 h 6679"/>
                <a:gd name="T102" fmla="*/ 2654 w 6640"/>
                <a:gd name="T103" fmla="*/ 2654 h 6679"/>
                <a:gd name="T104" fmla="*/ 4682 w 6640"/>
                <a:gd name="T105" fmla="*/ 1069 h 6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640" h="6679">
                  <a:moveTo>
                    <a:pt x="4682" y="1069"/>
                  </a:moveTo>
                  <a:cubicBezTo>
                    <a:pt x="4715" y="1050"/>
                    <a:pt x="4748" y="1031"/>
                    <a:pt x="4782" y="1013"/>
                  </a:cubicBezTo>
                  <a:cubicBezTo>
                    <a:pt x="4813" y="996"/>
                    <a:pt x="4845" y="979"/>
                    <a:pt x="4876" y="962"/>
                  </a:cubicBezTo>
                  <a:cubicBezTo>
                    <a:pt x="5153" y="816"/>
                    <a:pt x="5418" y="703"/>
                    <a:pt x="5665" y="626"/>
                  </a:cubicBezTo>
                  <a:cubicBezTo>
                    <a:pt x="5688" y="619"/>
                    <a:pt x="5712" y="612"/>
                    <a:pt x="5735" y="605"/>
                  </a:cubicBezTo>
                  <a:cubicBezTo>
                    <a:pt x="5758" y="599"/>
                    <a:pt x="5781" y="592"/>
                    <a:pt x="5804" y="586"/>
                  </a:cubicBezTo>
                  <a:cubicBezTo>
                    <a:pt x="5981" y="539"/>
                    <a:pt x="6147" y="513"/>
                    <a:pt x="6300" y="507"/>
                  </a:cubicBezTo>
                  <a:cubicBezTo>
                    <a:pt x="6318" y="506"/>
                    <a:pt x="6337" y="505"/>
                    <a:pt x="6355" y="505"/>
                  </a:cubicBezTo>
                  <a:cubicBezTo>
                    <a:pt x="6357" y="505"/>
                    <a:pt x="6358" y="505"/>
                    <a:pt x="6360" y="505"/>
                  </a:cubicBezTo>
                  <a:cubicBezTo>
                    <a:pt x="6380" y="505"/>
                    <a:pt x="6399" y="506"/>
                    <a:pt x="6419" y="507"/>
                  </a:cubicBezTo>
                  <a:cubicBezTo>
                    <a:pt x="6496" y="511"/>
                    <a:pt x="6571" y="520"/>
                    <a:pt x="6640" y="536"/>
                  </a:cubicBezTo>
                  <a:cubicBezTo>
                    <a:pt x="6579" y="440"/>
                    <a:pt x="6513" y="346"/>
                    <a:pt x="6443" y="254"/>
                  </a:cubicBezTo>
                  <a:cubicBezTo>
                    <a:pt x="6424" y="229"/>
                    <a:pt x="6404" y="204"/>
                    <a:pt x="6385" y="179"/>
                  </a:cubicBezTo>
                  <a:cubicBezTo>
                    <a:pt x="6364" y="153"/>
                    <a:pt x="6344" y="128"/>
                    <a:pt x="6323" y="102"/>
                  </a:cubicBezTo>
                  <a:cubicBezTo>
                    <a:pt x="6300" y="75"/>
                    <a:pt x="6276" y="48"/>
                    <a:pt x="6253" y="21"/>
                  </a:cubicBezTo>
                  <a:cubicBezTo>
                    <a:pt x="6186" y="8"/>
                    <a:pt x="6114" y="1"/>
                    <a:pt x="6036" y="1"/>
                  </a:cubicBezTo>
                  <a:cubicBezTo>
                    <a:pt x="6006" y="0"/>
                    <a:pt x="5975" y="2"/>
                    <a:pt x="5943" y="3"/>
                  </a:cubicBezTo>
                  <a:cubicBezTo>
                    <a:pt x="5924" y="4"/>
                    <a:pt x="5904" y="6"/>
                    <a:pt x="5884" y="8"/>
                  </a:cubicBezTo>
                  <a:cubicBezTo>
                    <a:pt x="5864" y="10"/>
                    <a:pt x="5844" y="13"/>
                    <a:pt x="5824" y="15"/>
                  </a:cubicBezTo>
                  <a:cubicBezTo>
                    <a:pt x="5639" y="39"/>
                    <a:pt x="5433" y="93"/>
                    <a:pt x="5212" y="174"/>
                  </a:cubicBezTo>
                  <a:cubicBezTo>
                    <a:pt x="5189" y="183"/>
                    <a:pt x="5166" y="191"/>
                    <a:pt x="5142" y="200"/>
                  </a:cubicBezTo>
                  <a:cubicBezTo>
                    <a:pt x="5118" y="210"/>
                    <a:pt x="5094" y="219"/>
                    <a:pt x="5070" y="229"/>
                  </a:cubicBezTo>
                  <a:cubicBezTo>
                    <a:pt x="4719" y="373"/>
                    <a:pt x="4334" y="582"/>
                    <a:pt x="3933" y="848"/>
                  </a:cubicBezTo>
                  <a:cubicBezTo>
                    <a:pt x="3893" y="874"/>
                    <a:pt x="3852" y="902"/>
                    <a:pt x="3812" y="929"/>
                  </a:cubicBezTo>
                  <a:cubicBezTo>
                    <a:pt x="3767" y="960"/>
                    <a:pt x="3723" y="991"/>
                    <a:pt x="3679" y="1023"/>
                  </a:cubicBezTo>
                  <a:cubicBezTo>
                    <a:pt x="3206" y="1360"/>
                    <a:pt x="2718" y="1771"/>
                    <a:pt x="2245" y="2245"/>
                  </a:cubicBezTo>
                  <a:cubicBezTo>
                    <a:pt x="1771" y="2718"/>
                    <a:pt x="1360" y="3206"/>
                    <a:pt x="1023" y="3679"/>
                  </a:cubicBezTo>
                  <a:cubicBezTo>
                    <a:pt x="991" y="3723"/>
                    <a:pt x="960" y="3768"/>
                    <a:pt x="929" y="3812"/>
                  </a:cubicBezTo>
                  <a:cubicBezTo>
                    <a:pt x="902" y="3852"/>
                    <a:pt x="874" y="3893"/>
                    <a:pt x="848" y="3933"/>
                  </a:cubicBezTo>
                  <a:cubicBezTo>
                    <a:pt x="582" y="4334"/>
                    <a:pt x="373" y="4719"/>
                    <a:pt x="229" y="5070"/>
                  </a:cubicBezTo>
                  <a:cubicBezTo>
                    <a:pt x="219" y="5094"/>
                    <a:pt x="210" y="5118"/>
                    <a:pt x="200" y="5142"/>
                  </a:cubicBezTo>
                  <a:cubicBezTo>
                    <a:pt x="191" y="5166"/>
                    <a:pt x="183" y="5189"/>
                    <a:pt x="174" y="5212"/>
                  </a:cubicBezTo>
                  <a:cubicBezTo>
                    <a:pt x="93" y="5433"/>
                    <a:pt x="39" y="5639"/>
                    <a:pt x="15" y="5824"/>
                  </a:cubicBezTo>
                  <a:cubicBezTo>
                    <a:pt x="12" y="5844"/>
                    <a:pt x="10" y="5864"/>
                    <a:pt x="8" y="5884"/>
                  </a:cubicBezTo>
                  <a:cubicBezTo>
                    <a:pt x="6" y="5904"/>
                    <a:pt x="5" y="5924"/>
                    <a:pt x="3" y="5943"/>
                  </a:cubicBezTo>
                  <a:cubicBezTo>
                    <a:pt x="2" y="5975"/>
                    <a:pt x="0" y="6006"/>
                    <a:pt x="1" y="6036"/>
                  </a:cubicBezTo>
                  <a:cubicBezTo>
                    <a:pt x="1" y="6131"/>
                    <a:pt x="10" y="6218"/>
                    <a:pt x="30" y="6297"/>
                  </a:cubicBezTo>
                  <a:cubicBezTo>
                    <a:pt x="38" y="6304"/>
                    <a:pt x="46" y="6311"/>
                    <a:pt x="54" y="6318"/>
                  </a:cubicBezTo>
                  <a:cubicBezTo>
                    <a:pt x="80" y="6340"/>
                    <a:pt x="106" y="6362"/>
                    <a:pt x="132" y="6383"/>
                  </a:cubicBezTo>
                  <a:cubicBezTo>
                    <a:pt x="158" y="6404"/>
                    <a:pt x="184" y="6424"/>
                    <a:pt x="211" y="6444"/>
                  </a:cubicBezTo>
                  <a:cubicBezTo>
                    <a:pt x="320" y="6528"/>
                    <a:pt x="432" y="6606"/>
                    <a:pt x="547" y="6679"/>
                  </a:cubicBezTo>
                  <a:cubicBezTo>
                    <a:pt x="524" y="6598"/>
                    <a:pt x="511" y="6511"/>
                    <a:pt x="507" y="6419"/>
                  </a:cubicBezTo>
                  <a:cubicBezTo>
                    <a:pt x="506" y="6399"/>
                    <a:pt x="505" y="6380"/>
                    <a:pt x="505" y="6360"/>
                  </a:cubicBezTo>
                  <a:cubicBezTo>
                    <a:pt x="505" y="6358"/>
                    <a:pt x="505" y="6357"/>
                    <a:pt x="505" y="6356"/>
                  </a:cubicBezTo>
                  <a:cubicBezTo>
                    <a:pt x="505" y="6337"/>
                    <a:pt x="506" y="6318"/>
                    <a:pt x="507" y="6300"/>
                  </a:cubicBezTo>
                  <a:cubicBezTo>
                    <a:pt x="512" y="6147"/>
                    <a:pt x="539" y="5981"/>
                    <a:pt x="586" y="5804"/>
                  </a:cubicBezTo>
                  <a:cubicBezTo>
                    <a:pt x="592" y="5781"/>
                    <a:pt x="599" y="5758"/>
                    <a:pt x="605" y="5735"/>
                  </a:cubicBezTo>
                  <a:cubicBezTo>
                    <a:pt x="612" y="5712"/>
                    <a:pt x="619" y="5688"/>
                    <a:pt x="626" y="5665"/>
                  </a:cubicBezTo>
                  <a:cubicBezTo>
                    <a:pt x="703" y="5418"/>
                    <a:pt x="817" y="5153"/>
                    <a:pt x="962" y="4876"/>
                  </a:cubicBezTo>
                  <a:cubicBezTo>
                    <a:pt x="979" y="4845"/>
                    <a:pt x="996" y="4813"/>
                    <a:pt x="1013" y="4781"/>
                  </a:cubicBezTo>
                  <a:cubicBezTo>
                    <a:pt x="1031" y="4748"/>
                    <a:pt x="1050" y="4715"/>
                    <a:pt x="1069" y="4682"/>
                  </a:cubicBezTo>
                  <a:cubicBezTo>
                    <a:pt x="1441" y="4031"/>
                    <a:pt x="1982" y="3328"/>
                    <a:pt x="2654" y="2654"/>
                  </a:cubicBezTo>
                  <a:cubicBezTo>
                    <a:pt x="3328" y="1982"/>
                    <a:pt x="4031" y="1441"/>
                    <a:pt x="4682" y="10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0" name="Freeform 12">
              <a:extLst>
                <a:ext uri="{FF2B5EF4-FFF2-40B4-BE49-F238E27FC236}">
                  <a16:creationId xmlns:a16="http://schemas.microsoft.com/office/drawing/2014/main" id="{6967A9C6-FB4D-4270-BB09-0FBE5B7A6E5E}"/>
                </a:ext>
              </a:extLst>
            </p:cNvPr>
            <p:cNvSpPr>
              <a:spLocks/>
            </p:cNvSpPr>
            <p:nvPr/>
          </p:nvSpPr>
          <p:spPr bwMode="auto">
            <a:xfrm>
              <a:off x="5525067" y="2309661"/>
              <a:ext cx="3917703" cy="3936801"/>
            </a:xfrm>
            <a:custGeom>
              <a:avLst/>
              <a:gdLst>
                <a:gd name="T0" fmla="*/ 3424 w 5896"/>
                <a:gd name="T1" fmla="*/ 1876 h 5920"/>
                <a:gd name="T2" fmla="*/ 3633 w 5896"/>
                <a:gd name="T3" fmla="*/ 1712 h 5920"/>
                <a:gd name="T4" fmla="*/ 3808 w 5896"/>
                <a:gd name="T5" fmla="*/ 1582 h 5920"/>
                <a:gd name="T6" fmla="*/ 4916 w 5896"/>
                <a:gd name="T7" fmla="*/ 937 h 5920"/>
                <a:gd name="T8" fmla="*/ 5004 w 5896"/>
                <a:gd name="T9" fmla="*/ 901 h 5920"/>
                <a:gd name="T10" fmla="*/ 5086 w 5896"/>
                <a:gd name="T11" fmla="*/ 873 h 5920"/>
                <a:gd name="T12" fmla="*/ 5614 w 5896"/>
                <a:gd name="T13" fmla="*/ 767 h 5920"/>
                <a:gd name="T14" fmla="*/ 5621 w 5896"/>
                <a:gd name="T15" fmla="*/ 767 h 5920"/>
                <a:gd name="T16" fmla="*/ 5682 w 5896"/>
                <a:gd name="T17" fmla="*/ 770 h 5920"/>
                <a:gd name="T18" fmla="*/ 5742 w 5896"/>
                <a:gd name="T19" fmla="*/ 777 h 5920"/>
                <a:gd name="T20" fmla="*/ 5896 w 5896"/>
                <a:gd name="T21" fmla="*/ 821 h 5920"/>
                <a:gd name="T22" fmla="*/ 5826 w 5896"/>
                <a:gd name="T23" fmla="*/ 476 h 5920"/>
                <a:gd name="T24" fmla="*/ 5792 w 5896"/>
                <a:gd name="T25" fmla="*/ 349 h 5920"/>
                <a:gd name="T26" fmla="*/ 5752 w 5896"/>
                <a:gd name="T27" fmla="*/ 214 h 5920"/>
                <a:gd name="T28" fmla="*/ 5714 w 5896"/>
                <a:gd name="T29" fmla="*/ 97 h 5920"/>
                <a:gd name="T30" fmla="*/ 5444 w 5896"/>
                <a:gd name="T31" fmla="*/ 9 h 5920"/>
                <a:gd name="T32" fmla="*/ 5385 w 5896"/>
                <a:gd name="T33" fmla="*/ 3 h 5920"/>
                <a:gd name="T34" fmla="*/ 5324 w 5896"/>
                <a:gd name="T35" fmla="*/ 1 h 5920"/>
                <a:gd name="T36" fmla="*/ 5312 w 5896"/>
                <a:gd name="T37" fmla="*/ 0 h 5920"/>
                <a:gd name="T38" fmla="*/ 5307 w 5896"/>
                <a:gd name="T39" fmla="*/ 0 h 5920"/>
                <a:gd name="T40" fmla="*/ 4713 w 5896"/>
                <a:gd name="T41" fmla="*/ 112 h 5920"/>
                <a:gd name="T42" fmla="*/ 4636 w 5896"/>
                <a:gd name="T43" fmla="*/ 137 h 5920"/>
                <a:gd name="T44" fmla="*/ 4555 w 5896"/>
                <a:gd name="T45" fmla="*/ 168 h 5920"/>
                <a:gd name="T46" fmla="*/ 3688 w 5896"/>
                <a:gd name="T47" fmla="*/ 607 h 5920"/>
                <a:gd name="T48" fmla="*/ 3564 w 5896"/>
                <a:gd name="T49" fmla="*/ 684 h 5920"/>
                <a:gd name="T50" fmla="*/ 3430 w 5896"/>
                <a:gd name="T51" fmla="*/ 773 h 5920"/>
                <a:gd name="T52" fmla="*/ 1980 w 5896"/>
                <a:gd name="T53" fmla="*/ 1980 h 5920"/>
                <a:gd name="T54" fmla="*/ 774 w 5896"/>
                <a:gd name="T55" fmla="*/ 3429 h 5920"/>
                <a:gd name="T56" fmla="*/ 685 w 5896"/>
                <a:gd name="T57" fmla="*/ 3563 h 5920"/>
                <a:gd name="T58" fmla="*/ 607 w 5896"/>
                <a:gd name="T59" fmla="*/ 3688 h 5920"/>
                <a:gd name="T60" fmla="*/ 169 w 5896"/>
                <a:gd name="T61" fmla="*/ 4554 h 5920"/>
                <a:gd name="T62" fmla="*/ 137 w 5896"/>
                <a:gd name="T63" fmla="*/ 4635 h 5920"/>
                <a:gd name="T64" fmla="*/ 113 w 5896"/>
                <a:gd name="T65" fmla="*/ 4712 h 5920"/>
                <a:gd name="T66" fmla="*/ 1 w 5896"/>
                <a:gd name="T67" fmla="*/ 5311 h 5920"/>
                <a:gd name="T68" fmla="*/ 2 w 5896"/>
                <a:gd name="T69" fmla="*/ 5323 h 5920"/>
                <a:gd name="T70" fmla="*/ 4 w 5896"/>
                <a:gd name="T71" fmla="*/ 5384 h 5920"/>
                <a:gd name="T72" fmla="*/ 10 w 5896"/>
                <a:gd name="T73" fmla="*/ 5443 h 5920"/>
                <a:gd name="T74" fmla="*/ 121 w 5896"/>
                <a:gd name="T75" fmla="*/ 5747 h 5920"/>
                <a:gd name="T76" fmla="*/ 150 w 5896"/>
                <a:gd name="T77" fmla="*/ 5756 h 5920"/>
                <a:gd name="T78" fmla="*/ 291 w 5896"/>
                <a:gd name="T79" fmla="*/ 5800 h 5920"/>
                <a:gd name="T80" fmla="*/ 425 w 5896"/>
                <a:gd name="T81" fmla="*/ 5836 h 5920"/>
                <a:gd name="T82" fmla="*/ 835 w 5896"/>
                <a:gd name="T83" fmla="*/ 5920 h 5920"/>
                <a:gd name="T84" fmla="*/ 778 w 5896"/>
                <a:gd name="T85" fmla="*/ 5741 h 5920"/>
                <a:gd name="T86" fmla="*/ 771 w 5896"/>
                <a:gd name="T87" fmla="*/ 5681 h 5920"/>
                <a:gd name="T88" fmla="*/ 769 w 5896"/>
                <a:gd name="T89" fmla="*/ 5620 h 5920"/>
                <a:gd name="T90" fmla="*/ 768 w 5896"/>
                <a:gd name="T91" fmla="*/ 5612 h 5920"/>
                <a:gd name="T92" fmla="*/ 874 w 5896"/>
                <a:gd name="T93" fmla="*/ 5084 h 5920"/>
                <a:gd name="T94" fmla="*/ 903 w 5896"/>
                <a:gd name="T95" fmla="*/ 5002 h 5920"/>
                <a:gd name="T96" fmla="*/ 938 w 5896"/>
                <a:gd name="T97" fmla="*/ 4915 h 5920"/>
                <a:gd name="T98" fmla="*/ 1583 w 5896"/>
                <a:gd name="T99" fmla="*/ 3807 h 5920"/>
                <a:gd name="T100" fmla="*/ 1713 w 5896"/>
                <a:gd name="T101" fmla="*/ 3632 h 5920"/>
                <a:gd name="T102" fmla="*/ 1877 w 5896"/>
                <a:gd name="T103" fmla="*/ 3424 h 5920"/>
                <a:gd name="T104" fmla="*/ 2610 w 5896"/>
                <a:gd name="T105" fmla="*/ 2610 h 5920"/>
                <a:gd name="T106" fmla="*/ 3424 w 5896"/>
                <a:gd name="T107" fmla="*/ 1876 h 5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96" h="5920">
                  <a:moveTo>
                    <a:pt x="3424" y="1876"/>
                  </a:moveTo>
                  <a:cubicBezTo>
                    <a:pt x="3494" y="1819"/>
                    <a:pt x="3564" y="1765"/>
                    <a:pt x="3633" y="1712"/>
                  </a:cubicBezTo>
                  <a:cubicBezTo>
                    <a:pt x="3692" y="1667"/>
                    <a:pt x="3750" y="1624"/>
                    <a:pt x="3808" y="1582"/>
                  </a:cubicBezTo>
                  <a:cubicBezTo>
                    <a:pt x="4204" y="1295"/>
                    <a:pt x="4581" y="1076"/>
                    <a:pt x="4916" y="937"/>
                  </a:cubicBezTo>
                  <a:cubicBezTo>
                    <a:pt x="4945" y="925"/>
                    <a:pt x="4975" y="912"/>
                    <a:pt x="5004" y="901"/>
                  </a:cubicBezTo>
                  <a:cubicBezTo>
                    <a:pt x="5032" y="891"/>
                    <a:pt x="5058" y="882"/>
                    <a:pt x="5086" y="873"/>
                  </a:cubicBezTo>
                  <a:cubicBezTo>
                    <a:pt x="5281" y="806"/>
                    <a:pt x="5460" y="768"/>
                    <a:pt x="5614" y="767"/>
                  </a:cubicBezTo>
                  <a:cubicBezTo>
                    <a:pt x="5616" y="767"/>
                    <a:pt x="5618" y="767"/>
                    <a:pt x="5621" y="767"/>
                  </a:cubicBezTo>
                  <a:cubicBezTo>
                    <a:pt x="5642" y="768"/>
                    <a:pt x="5662" y="768"/>
                    <a:pt x="5682" y="770"/>
                  </a:cubicBezTo>
                  <a:cubicBezTo>
                    <a:pt x="5702" y="771"/>
                    <a:pt x="5722" y="774"/>
                    <a:pt x="5742" y="777"/>
                  </a:cubicBezTo>
                  <a:cubicBezTo>
                    <a:pt x="5797" y="785"/>
                    <a:pt x="5849" y="800"/>
                    <a:pt x="5896" y="821"/>
                  </a:cubicBezTo>
                  <a:cubicBezTo>
                    <a:pt x="5877" y="705"/>
                    <a:pt x="5854" y="590"/>
                    <a:pt x="5826" y="476"/>
                  </a:cubicBezTo>
                  <a:cubicBezTo>
                    <a:pt x="5816" y="433"/>
                    <a:pt x="5804" y="391"/>
                    <a:pt x="5792" y="349"/>
                  </a:cubicBezTo>
                  <a:cubicBezTo>
                    <a:pt x="5779" y="304"/>
                    <a:pt x="5766" y="259"/>
                    <a:pt x="5752" y="214"/>
                  </a:cubicBezTo>
                  <a:cubicBezTo>
                    <a:pt x="5740" y="175"/>
                    <a:pt x="5728" y="136"/>
                    <a:pt x="5714" y="97"/>
                  </a:cubicBezTo>
                  <a:cubicBezTo>
                    <a:pt x="5639" y="51"/>
                    <a:pt x="5549" y="22"/>
                    <a:pt x="5444" y="9"/>
                  </a:cubicBezTo>
                  <a:cubicBezTo>
                    <a:pt x="5425" y="6"/>
                    <a:pt x="5405" y="4"/>
                    <a:pt x="5385" y="3"/>
                  </a:cubicBezTo>
                  <a:cubicBezTo>
                    <a:pt x="5365" y="1"/>
                    <a:pt x="5345" y="1"/>
                    <a:pt x="5324" y="1"/>
                  </a:cubicBezTo>
                  <a:cubicBezTo>
                    <a:pt x="5320" y="1"/>
                    <a:pt x="5316" y="0"/>
                    <a:pt x="5312" y="0"/>
                  </a:cubicBezTo>
                  <a:cubicBezTo>
                    <a:pt x="5311" y="0"/>
                    <a:pt x="5309" y="0"/>
                    <a:pt x="5307" y="0"/>
                  </a:cubicBezTo>
                  <a:cubicBezTo>
                    <a:pt x="5135" y="0"/>
                    <a:pt x="4934" y="40"/>
                    <a:pt x="4713" y="112"/>
                  </a:cubicBezTo>
                  <a:cubicBezTo>
                    <a:pt x="4687" y="120"/>
                    <a:pt x="4662" y="127"/>
                    <a:pt x="4636" y="137"/>
                  </a:cubicBezTo>
                  <a:cubicBezTo>
                    <a:pt x="4610" y="146"/>
                    <a:pt x="4582" y="158"/>
                    <a:pt x="4555" y="168"/>
                  </a:cubicBezTo>
                  <a:cubicBezTo>
                    <a:pt x="4287" y="270"/>
                    <a:pt x="3995" y="418"/>
                    <a:pt x="3688" y="607"/>
                  </a:cubicBezTo>
                  <a:cubicBezTo>
                    <a:pt x="3647" y="632"/>
                    <a:pt x="3606" y="657"/>
                    <a:pt x="3564" y="684"/>
                  </a:cubicBezTo>
                  <a:cubicBezTo>
                    <a:pt x="3520" y="713"/>
                    <a:pt x="3475" y="743"/>
                    <a:pt x="3430" y="773"/>
                  </a:cubicBezTo>
                  <a:cubicBezTo>
                    <a:pt x="2956" y="1092"/>
                    <a:pt x="2460" y="1499"/>
                    <a:pt x="1980" y="1980"/>
                  </a:cubicBezTo>
                  <a:cubicBezTo>
                    <a:pt x="1500" y="2459"/>
                    <a:pt x="1093" y="2956"/>
                    <a:pt x="774" y="3429"/>
                  </a:cubicBezTo>
                  <a:cubicBezTo>
                    <a:pt x="744" y="3474"/>
                    <a:pt x="714" y="3519"/>
                    <a:pt x="685" y="3563"/>
                  </a:cubicBezTo>
                  <a:cubicBezTo>
                    <a:pt x="658" y="3605"/>
                    <a:pt x="633" y="3646"/>
                    <a:pt x="607" y="3688"/>
                  </a:cubicBezTo>
                  <a:cubicBezTo>
                    <a:pt x="419" y="3994"/>
                    <a:pt x="271" y="4287"/>
                    <a:pt x="169" y="4554"/>
                  </a:cubicBezTo>
                  <a:cubicBezTo>
                    <a:pt x="158" y="4581"/>
                    <a:pt x="147" y="4609"/>
                    <a:pt x="137" y="4635"/>
                  </a:cubicBezTo>
                  <a:cubicBezTo>
                    <a:pt x="128" y="4661"/>
                    <a:pt x="121" y="4686"/>
                    <a:pt x="113" y="4712"/>
                  </a:cubicBezTo>
                  <a:cubicBezTo>
                    <a:pt x="40" y="4935"/>
                    <a:pt x="0" y="5138"/>
                    <a:pt x="1" y="5311"/>
                  </a:cubicBezTo>
                  <a:cubicBezTo>
                    <a:pt x="1" y="5315"/>
                    <a:pt x="1" y="5319"/>
                    <a:pt x="2" y="5323"/>
                  </a:cubicBezTo>
                  <a:cubicBezTo>
                    <a:pt x="2" y="5344"/>
                    <a:pt x="2" y="5364"/>
                    <a:pt x="4" y="5384"/>
                  </a:cubicBezTo>
                  <a:cubicBezTo>
                    <a:pt x="5" y="5404"/>
                    <a:pt x="7" y="5424"/>
                    <a:pt x="10" y="5443"/>
                  </a:cubicBezTo>
                  <a:cubicBezTo>
                    <a:pt x="25" y="5564"/>
                    <a:pt x="62" y="5665"/>
                    <a:pt x="121" y="5747"/>
                  </a:cubicBezTo>
                  <a:cubicBezTo>
                    <a:pt x="131" y="5750"/>
                    <a:pt x="140" y="5753"/>
                    <a:pt x="150" y="5756"/>
                  </a:cubicBezTo>
                  <a:cubicBezTo>
                    <a:pt x="197" y="5771"/>
                    <a:pt x="244" y="5786"/>
                    <a:pt x="291" y="5800"/>
                  </a:cubicBezTo>
                  <a:cubicBezTo>
                    <a:pt x="336" y="5813"/>
                    <a:pt x="380" y="5825"/>
                    <a:pt x="425" y="5836"/>
                  </a:cubicBezTo>
                  <a:cubicBezTo>
                    <a:pt x="560" y="5870"/>
                    <a:pt x="697" y="5898"/>
                    <a:pt x="835" y="5920"/>
                  </a:cubicBezTo>
                  <a:cubicBezTo>
                    <a:pt x="807" y="5866"/>
                    <a:pt x="788" y="5806"/>
                    <a:pt x="778" y="5741"/>
                  </a:cubicBezTo>
                  <a:cubicBezTo>
                    <a:pt x="775" y="5721"/>
                    <a:pt x="773" y="5701"/>
                    <a:pt x="771" y="5681"/>
                  </a:cubicBezTo>
                  <a:cubicBezTo>
                    <a:pt x="769" y="5661"/>
                    <a:pt x="769" y="5641"/>
                    <a:pt x="769" y="5620"/>
                  </a:cubicBezTo>
                  <a:cubicBezTo>
                    <a:pt x="769" y="5617"/>
                    <a:pt x="768" y="5615"/>
                    <a:pt x="768" y="5612"/>
                  </a:cubicBezTo>
                  <a:cubicBezTo>
                    <a:pt x="769" y="5459"/>
                    <a:pt x="807" y="5280"/>
                    <a:pt x="874" y="5084"/>
                  </a:cubicBezTo>
                  <a:cubicBezTo>
                    <a:pt x="884" y="5057"/>
                    <a:pt x="892" y="5030"/>
                    <a:pt x="903" y="5002"/>
                  </a:cubicBezTo>
                  <a:cubicBezTo>
                    <a:pt x="913" y="4974"/>
                    <a:pt x="926" y="4944"/>
                    <a:pt x="938" y="4915"/>
                  </a:cubicBezTo>
                  <a:cubicBezTo>
                    <a:pt x="1077" y="4580"/>
                    <a:pt x="1296" y="4203"/>
                    <a:pt x="1583" y="3807"/>
                  </a:cubicBezTo>
                  <a:cubicBezTo>
                    <a:pt x="1625" y="3749"/>
                    <a:pt x="1668" y="3691"/>
                    <a:pt x="1713" y="3632"/>
                  </a:cubicBezTo>
                  <a:cubicBezTo>
                    <a:pt x="1765" y="3563"/>
                    <a:pt x="1820" y="3493"/>
                    <a:pt x="1877" y="3424"/>
                  </a:cubicBezTo>
                  <a:cubicBezTo>
                    <a:pt x="2095" y="3154"/>
                    <a:pt x="2341" y="2880"/>
                    <a:pt x="2610" y="2610"/>
                  </a:cubicBezTo>
                  <a:cubicBezTo>
                    <a:pt x="2881" y="2340"/>
                    <a:pt x="3155" y="2095"/>
                    <a:pt x="3424" y="187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1" name="Freeform 13">
              <a:extLst>
                <a:ext uri="{FF2B5EF4-FFF2-40B4-BE49-F238E27FC236}">
                  <a16:creationId xmlns:a16="http://schemas.microsoft.com/office/drawing/2014/main" id="{85D81FB3-8A4F-49F2-A164-8A0BF5C67920}"/>
                </a:ext>
              </a:extLst>
            </p:cNvPr>
            <p:cNvSpPr>
              <a:spLocks/>
            </p:cNvSpPr>
            <p:nvPr/>
          </p:nvSpPr>
          <p:spPr bwMode="auto">
            <a:xfrm>
              <a:off x="6849611" y="3634205"/>
              <a:ext cx="2613621" cy="2625898"/>
            </a:xfrm>
            <a:custGeom>
              <a:avLst/>
              <a:gdLst>
                <a:gd name="T0" fmla="*/ 3902 w 3934"/>
                <a:gd name="T1" fmla="*/ 32 h 3950"/>
                <a:gd name="T2" fmla="*/ 3727 w 3934"/>
                <a:gd name="T3" fmla="*/ 0 h 3950"/>
                <a:gd name="T4" fmla="*/ 3687 w 3934"/>
                <a:gd name="T5" fmla="*/ 3 h 3950"/>
                <a:gd name="T6" fmla="*/ 3616 w 3934"/>
                <a:gd name="T7" fmla="*/ 8 h 3950"/>
                <a:gd name="T8" fmla="*/ 3541 w 3934"/>
                <a:gd name="T9" fmla="*/ 21 h 3950"/>
                <a:gd name="T10" fmla="*/ 3005 w 3934"/>
                <a:gd name="T11" fmla="*/ 222 h 3950"/>
                <a:gd name="T12" fmla="*/ 2891 w 3934"/>
                <a:gd name="T13" fmla="*/ 283 h 3950"/>
                <a:gd name="T14" fmla="*/ 2768 w 3934"/>
                <a:gd name="T15" fmla="*/ 353 h 3950"/>
                <a:gd name="T16" fmla="*/ 1424 w 3934"/>
                <a:gd name="T17" fmla="*/ 1424 h 3950"/>
                <a:gd name="T18" fmla="*/ 353 w 3934"/>
                <a:gd name="T19" fmla="*/ 2768 h 3950"/>
                <a:gd name="T20" fmla="*/ 283 w 3934"/>
                <a:gd name="T21" fmla="*/ 2891 h 3950"/>
                <a:gd name="T22" fmla="*/ 222 w 3934"/>
                <a:gd name="T23" fmla="*/ 3005 h 3950"/>
                <a:gd name="T24" fmla="*/ 22 w 3934"/>
                <a:gd name="T25" fmla="*/ 3540 h 3950"/>
                <a:gd name="T26" fmla="*/ 8 w 3934"/>
                <a:gd name="T27" fmla="*/ 3616 h 3950"/>
                <a:gd name="T28" fmla="*/ 3 w 3934"/>
                <a:gd name="T29" fmla="*/ 3686 h 3950"/>
                <a:gd name="T30" fmla="*/ 1 w 3934"/>
                <a:gd name="T31" fmla="*/ 3727 h 3950"/>
                <a:gd name="T32" fmla="*/ 32 w 3934"/>
                <a:gd name="T33" fmla="*/ 3902 h 3950"/>
                <a:gd name="T34" fmla="*/ 56 w 3934"/>
                <a:gd name="T35" fmla="*/ 3950 h 3950"/>
                <a:gd name="T36" fmla="*/ 79 w 3934"/>
                <a:gd name="T37" fmla="*/ 3947 h 3950"/>
                <a:gd name="T38" fmla="*/ 282 w 3934"/>
                <a:gd name="T39" fmla="*/ 3917 h 3950"/>
                <a:gd name="T40" fmla="*/ 1127 w 3934"/>
                <a:gd name="T41" fmla="*/ 3685 h 3950"/>
                <a:gd name="T42" fmla="*/ 1020 w 3934"/>
                <a:gd name="T43" fmla="*/ 3624 h 3950"/>
                <a:gd name="T44" fmla="*/ 959 w 3934"/>
                <a:gd name="T45" fmla="*/ 3517 h 3950"/>
                <a:gd name="T46" fmla="*/ 946 w 3934"/>
                <a:gd name="T47" fmla="*/ 3454 h 3950"/>
                <a:gd name="T48" fmla="*/ 943 w 3934"/>
                <a:gd name="T49" fmla="*/ 3410 h 3950"/>
                <a:gd name="T50" fmla="*/ 945 w 3934"/>
                <a:gd name="T51" fmla="*/ 3382 h 3950"/>
                <a:gd name="T52" fmla="*/ 1060 w 3934"/>
                <a:gd name="T53" fmla="*/ 2995 h 3950"/>
                <a:gd name="T54" fmla="*/ 1123 w 3934"/>
                <a:gd name="T55" fmla="*/ 2873 h 3950"/>
                <a:gd name="T56" fmla="*/ 1207 w 3934"/>
                <a:gd name="T57" fmla="*/ 2729 h 3950"/>
                <a:gd name="T58" fmla="*/ 1890 w 3934"/>
                <a:gd name="T59" fmla="*/ 1890 h 3950"/>
                <a:gd name="T60" fmla="*/ 2729 w 3934"/>
                <a:gd name="T61" fmla="*/ 1207 h 3950"/>
                <a:gd name="T62" fmla="*/ 2873 w 3934"/>
                <a:gd name="T63" fmla="*/ 1123 h 3950"/>
                <a:gd name="T64" fmla="*/ 2994 w 3934"/>
                <a:gd name="T65" fmla="*/ 1061 h 3950"/>
                <a:gd name="T66" fmla="*/ 3382 w 3934"/>
                <a:gd name="T67" fmla="*/ 946 h 3950"/>
                <a:gd name="T68" fmla="*/ 3410 w 3934"/>
                <a:gd name="T69" fmla="*/ 943 h 3950"/>
                <a:gd name="T70" fmla="*/ 3454 w 3934"/>
                <a:gd name="T71" fmla="*/ 947 h 3950"/>
                <a:gd name="T72" fmla="*/ 3517 w 3934"/>
                <a:gd name="T73" fmla="*/ 959 h 3950"/>
                <a:gd name="T74" fmla="*/ 3624 w 3934"/>
                <a:gd name="T75" fmla="*/ 1020 h 3950"/>
                <a:gd name="T76" fmla="*/ 3679 w 3934"/>
                <a:gd name="T77" fmla="*/ 1109 h 3950"/>
                <a:gd name="T78" fmla="*/ 3893 w 3934"/>
                <a:gd name="T79" fmla="*/ 331 h 3950"/>
                <a:gd name="T80" fmla="*/ 3924 w 3934"/>
                <a:gd name="T81" fmla="*/ 131 h 3950"/>
                <a:gd name="T82" fmla="*/ 3934 w 3934"/>
                <a:gd name="T83" fmla="*/ 47 h 3950"/>
                <a:gd name="T84" fmla="*/ 3902 w 3934"/>
                <a:gd name="T85" fmla="*/ 32 h 3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34" h="3950">
                  <a:moveTo>
                    <a:pt x="3902" y="32"/>
                  </a:moveTo>
                  <a:cubicBezTo>
                    <a:pt x="3854" y="12"/>
                    <a:pt x="3797" y="1"/>
                    <a:pt x="3727" y="0"/>
                  </a:cubicBezTo>
                  <a:cubicBezTo>
                    <a:pt x="3714" y="0"/>
                    <a:pt x="3700" y="2"/>
                    <a:pt x="3687" y="3"/>
                  </a:cubicBezTo>
                  <a:cubicBezTo>
                    <a:pt x="3664" y="4"/>
                    <a:pt x="3641" y="5"/>
                    <a:pt x="3616" y="8"/>
                  </a:cubicBezTo>
                  <a:cubicBezTo>
                    <a:pt x="3592" y="12"/>
                    <a:pt x="3567" y="16"/>
                    <a:pt x="3541" y="21"/>
                  </a:cubicBezTo>
                  <a:cubicBezTo>
                    <a:pt x="3386" y="53"/>
                    <a:pt x="3204" y="121"/>
                    <a:pt x="3005" y="222"/>
                  </a:cubicBezTo>
                  <a:cubicBezTo>
                    <a:pt x="2967" y="241"/>
                    <a:pt x="2929" y="262"/>
                    <a:pt x="2891" y="283"/>
                  </a:cubicBezTo>
                  <a:cubicBezTo>
                    <a:pt x="2851" y="305"/>
                    <a:pt x="2810" y="329"/>
                    <a:pt x="2768" y="353"/>
                  </a:cubicBezTo>
                  <a:cubicBezTo>
                    <a:pt x="2350" y="601"/>
                    <a:pt x="1878" y="968"/>
                    <a:pt x="1424" y="1424"/>
                  </a:cubicBezTo>
                  <a:cubicBezTo>
                    <a:pt x="967" y="1878"/>
                    <a:pt x="601" y="2350"/>
                    <a:pt x="353" y="2768"/>
                  </a:cubicBezTo>
                  <a:cubicBezTo>
                    <a:pt x="329" y="2810"/>
                    <a:pt x="305" y="2851"/>
                    <a:pt x="283" y="2891"/>
                  </a:cubicBezTo>
                  <a:cubicBezTo>
                    <a:pt x="261" y="2930"/>
                    <a:pt x="241" y="2968"/>
                    <a:pt x="222" y="3005"/>
                  </a:cubicBezTo>
                  <a:cubicBezTo>
                    <a:pt x="121" y="3204"/>
                    <a:pt x="53" y="3386"/>
                    <a:pt x="22" y="3540"/>
                  </a:cubicBezTo>
                  <a:cubicBezTo>
                    <a:pt x="16" y="3566"/>
                    <a:pt x="12" y="3592"/>
                    <a:pt x="8" y="3616"/>
                  </a:cubicBezTo>
                  <a:cubicBezTo>
                    <a:pt x="5" y="3641"/>
                    <a:pt x="4" y="3664"/>
                    <a:pt x="3" y="3686"/>
                  </a:cubicBezTo>
                  <a:cubicBezTo>
                    <a:pt x="2" y="3700"/>
                    <a:pt x="0" y="3714"/>
                    <a:pt x="1" y="3727"/>
                  </a:cubicBezTo>
                  <a:cubicBezTo>
                    <a:pt x="1" y="3797"/>
                    <a:pt x="12" y="3854"/>
                    <a:pt x="32" y="3902"/>
                  </a:cubicBezTo>
                  <a:cubicBezTo>
                    <a:pt x="39" y="3919"/>
                    <a:pt x="47" y="3935"/>
                    <a:pt x="56" y="3950"/>
                  </a:cubicBezTo>
                  <a:cubicBezTo>
                    <a:pt x="64" y="3949"/>
                    <a:pt x="71" y="3948"/>
                    <a:pt x="79" y="3947"/>
                  </a:cubicBezTo>
                  <a:cubicBezTo>
                    <a:pt x="147" y="3939"/>
                    <a:pt x="214" y="3929"/>
                    <a:pt x="282" y="3917"/>
                  </a:cubicBezTo>
                  <a:cubicBezTo>
                    <a:pt x="569" y="3868"/>
                    <a:pt x="852" y="3791"/>
                    <a:pt x="1127" y="3685"/>
                  </a:cubicBezTo>
                  <a:cubicBezTo>
                    <a:pt x="1087" y="3673"/>
                    <a:pt x="1050" y="3653"/>
                    <a:pt x="1020" y="3624"/>
                  </a:cubicBezTo>
                  <a:cubicBezTo>
                    <a:pt x="990" y="3594"/>
                    <a:pt x="971" y="3557"/>
                    <a:pt x="959" y="3517"/>
                  </a:cubicBezTo>
                  <a:cubicBezTo>
                    <a:pt x="953" y="3497"/>
                    <a:pt x="949" y="3476"/>
                    <a:pt x="946" y="3454"/>
                  </a:cubicBezTo>
                  <a:cubicBezTo>
                    <a:pt x="945" y="3440"/>
                    <a:pt x="943" y="3425"/>
                    <a:pt x="943" y="3410"/>
                  </a:cubicBezTo>
                  <a:cubicBezTo>
                    <a:pt x="944" y="3401"/>
                    <a:pt x="945" y="3392"/>
                    <a:pt x="945" y="3382"/>
                  </a:cubicBezTo>
                  <a:cubicBezTo>
                    <a:pt x="952" y="3271"/>
                    <a:pt x="992" y="3140"/>
                    <a:pt x="1060" y="2995"/>
                  </a:cubicBezTo>
                  <a:cubicBezTo>
                    <a:pt x="1079" y="2955"/>
                    <a:pt x="1100" y="2914"/>
                    <a:pt x="1123" y="2873"/>
                  </a:cubicBezTo>
                  <a:cubicBezTo>
                    <a:pt x="1148" y="2826"/>
                    <a:pt x="1176" y="2778"/>
                    <a:pt x="1207" y="2729"/>
                  </a:cubicBezTo>
                  <a:cubicBezTo>
                    <a:pt x="1371" y="2466"/>
                    <a:pt x="1606" y="2176"/>
                    <a:pt x="1890" y="1890"/>
                  </a:cubicBezTo>
                  <a:cubicBezTo>
                    <a:pt x="2176" y="1606"/>
                    <a:pt x="2466" y="1372"/>
                    <a:pt x="2729" y="1207"/>
                  </a:cubicBezTo>
                  <a:cubicBezTo>
                    <a:pt x="2778" y="1176"/>
                    <a:pt x="2825" y="1149"/>
                    <a:pt x="2873" y="1123"/>
                  </a:cubicBezTo>
                  <a:cubicBezTo>
                    <a:pt x="2914" y="1100"/>
                    <a:pt x="2955" y="1079"/>
                    <a:pt x="2994" y="1061"/>
                  </a:cubicBezTo>
                  <a:cubicBezTo>
                    <a:pt x="3140" y="992"/>
                    <a:pt x="3271" y="953"/>
                    <a:pt x="3382" y="946"/>
                  </a:cubicBezTo>
                  <a:cubicBezTo>
                    <a:pt x="3392" y="945"/>
                    <a:pt x="3401" y="944"/>
                    <a:pt x="3410" y="943"/>
                  </a:cubicBezTo>
                  <a:cubicBezTo>
                    <a:pt x="3425" y="943"/>
                    <a:pt x="3440" y="945"/>
                    <a:pt x="3454" y="947"/>
                  </a:cubicBezTo>
                  <a:cubicBezTo>
                    <a:pt x="3476" y="949"/>
                    <a:pt x="3497" y="953"/>
                    <a:pt x="3517" y="959"/>
                  </a:cubicBezTo>
                  <a:cubicBezTo>
                    <a:pt x="3557" y="971"/>
                    <a:pt x="3594" y="990"/>
                    <a:pt x="3624" y="1020"/>
                  </a:cubicBezTo>
                  <a:cubicBezTo>
                    <a:pt x="3649" y="1045"/>
                    <a:pt x="3667" y="1076"/>
                    <a:pt x="3679" y="1109"/>
                  </a:cubicBezTo>
                  <a:cubicBezTo>
                    <a:pt x="3774" y="856"/>
                    <a:pt x="3846" y="595"/>
                    <a:pt x="3893" y="331"/>
                  </a:cubicBezTo>
                  <a:cubicBezTo>
                    <a:pt x="3905" y="265"/>
                    <a:pt x="3915" y="198"/>
                    <a:pt x="3924" y="131"/>
                  </a:cubicBezTo>
                  <a:cubicBezTo>
                    <a:pt x="3928" y="103"/>
                    <a:pt x="3931" y="75"/>
                    <a:pt x="3934" y="47"/>
                  </a:cubicBezTo>
                  <a:cubicBezTo>
                    <a:pt x="3924" y="41"/>
                    <a:pt x="3913" y="37"/>
                    <a:pt x="3902" y="3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sp>
        <p:nvSpPr>
          <p:cNvPr id="8" name="Platshållare för bild 7"/>
          <p:cNvSpPr>
            <a:spLocks noGrp="1"/>
          </p:cNvSpPr>
          <p:nvPr>
            <p:ph type="pic" sz="quarter" idx="15" hasCustomPrompt="1"/>
          </p:nvPr>
        </p:nvSpPr>
        <p:spPr>
          <a:xfrm>
            <a:off x="4584700" y="952575"/>
            <a:ext cx="4156148" cy="3289235"/>
          </a:xfrm>
          <a:prstGeom prst="rect">
            <a:avLst/>
          </a:prstGeom>
        </p:spPr>
        <p:txBody>
          <a:bodyPr/>
          <a:lstStyle>
            <a:lvl1pPr marL="0" indent="0">
              <a:buNone/>
              <a:defRPr/>
            </a:lvl1pPr>
          </a:lstStyle>
          <a:p>
            <a:r>
              <a:rPr lang="sv-SE"/>
              <a:t> </a:t>
            </a:r>
          </a:p>
        </p:txBody>
      </p:sp>
      <p:sp>
        <p:nvSpPr>
          <p:cNvPr id="34" name="Rubrik 33"/>
          <p:cNvSpPr>
            <a:spLocks noGrp="1"/>
          </p:cNvSpPr>
          <p:nvPr>
            <p:ph type="title" hasCustomPrompt="1"/>
          </p:nvPr>
        </p:nvSpPr>
        <p:spPr>
          <a:xfrm>
            <a:off x="381000" y="231140"/>
            <a:ext cx="4093842" cy="1009894"/>
          </a:xfrm>
          <a:prstGeom prst="rect">
            <a:avLst/>
          </a:prstGeom>
        </p:spPr>
        <p:txBody>
          <a:bodyPr lIns="0" tIns="0" rIns="0" bIns="0" anchor="t" anchorCtr="0">
            <a:normAutofit/>
          </a:bodyPr>
          <a:lstStyle>
            <a:lvl1pPr algn="l">
              <a:defRPr sz="3600">
                <a:solidFill>
                  <a:schemeClr val="tx1"/>
                </a:solidFill>
                <a:latin typeface="Calibri"/>
                <a:cs typeface="Calibri"/>
              </a:defRPr>
            </a:lvl1pPr>
          </a:lstStyle>
          <a:p>
            <a:r>
              <a:rPr lang="en-GB"/>
              <a:t>Heading</a:t>
            </a:r>
            <a:endParaRPr lang="sv-SE"/>
          </a:p>
        </p:txBody>
      </p:sp>
      <p:sp>
        <p:nvSpPr>
          <p:cNvPr id="21" name="Platshållare för text 2"/>
          <p:cNvSpPr>
            <a:spLocks noGrp="1"/>
          </p:cNvSpPr>
          <p:nvPr>
            <p:ph type="body" sz="quarter" idx="17" hasCustomPrompt="1"/>
          </p:nvPr>
        </p:nvSpPr>
        <p:spPr>
          <a:xfrm>
            <a:off x="381000" y="1494564"/>
            <a:ext cx="4093842" cy="3044492"/>
          </a:xfrm>
          <a:prstGeom prst="rect">
            <a:avLst/>
          </a:prstGeom>
        </p:spPr>
        <p:txBody>
          <a:bodyPr lIns="0" tIns="0" rIns="0" bIns="0">
            <a:normAutofit/>
          </a:bodyPr>
          <a:lstStyle>
            <a:lvl1pPr marL="190500" indent="-190500">
              <a:spcBef>
                <a:spcPts val="50"/>
              </a:spcBef>
              <a:defRPr sz="2000"/>
            </a:lvl1pPr>
            <a:lvl2pPr marL="190500" indent="254000">
              <a:spcBef>
                <a:spcPts val="50"/>
              </a:spcBef>
              <a:buFont typeface="Lucida Grande"/>
              <a:buChar char="–"/>
              <a:defRPr sz="2000"/>
            </a:lvl2pPr>
            <a:lvl3pPr marL="571500" indent="-254000">
              <a:spcBef>
                <a:spcPts val="50"/>
              </a:spcBef>
              <a:buFont typeface="Lucida Grande"/>
              <a:buChar char="–"/>
              <a:defRPr sz="2000"/>
            </a:lvl3pPr>
            <a:lvl4pPr marL="698500" indent="-254000">
              <a:spcBef>
                <a:spcPts val="50"/>
              </a:spcBef>
              <a:buFont typeface="Lucida Grande"/>
              <a:buChar char="–"/>
              <a:defRPr sz="2000"/>
            </a:lvl4pPr>
            <a:lvl5pPr marL="825500" indent="-254000">
              <a:spcBef>
                <a:spcPts val="50"/>
              </a:spcBef>
              <a:buFont typeface="Lucida Grande"/>
              <a:buChar char="–"/>
              <a:defRPr/>
            </a:lvl5pPr>
          </a:lstStyle>
          <a:p>
            <a:pPr lvl="0"/>
            <a:r>
              <a:rPr lang="en-GB" noProof="0"/>
              <a:t>Level 1</a:t>
            </a:r>
          </a:p>
          <a:p>
            <a:pPr lvl="1"/>
            <a:r>
              <a:rPr lang="en-GB" noProof="0"/>
              <a:t>Level 2</a:t>
            </a:r>
          </a:p>
          <a:p>
            <a:pPr lvl="2"/>
            <a:r>
              <a:rPr lang="en-GB" noProof="0"/>
              <a:t>Level 3</a:t>
            </a:r>
          </a:p>
          <a:p>
            <a:pPr lvl="3"/>
            <a:r>
              <a:rPr lang="en-GB" noProof="0"/>
              <a:t>Level 4</a:t>
            </a:r>
          </a:p>
          <a:p>
            <a:pPr lvl="4"/>
            <a:r>
              <a:rPr lang="en-GB" noProof="0"/>
              <a:t>Level 5</a:t>
            </a:r>
          </a:p>
        </p:txBody>
      </p:sp>
      <p:pic>
        <p:nvPicPr>
          <p:cNvPr id="33" name="Bildobjekt 3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0201" y="4590290"/>
            <a:ext cx="850195" cy="307734"/>
          </a:xfrm>
          <a:prstGeom prst="rect">
            <a:avLst/>
          </a:prstGeom>
        </p:spPr>
      </p:pic>
      <p:sp>
        <p:nvSpPr>
          <p:cNvPr id="35" name="Platshållare för sidfot 4">
            <a:extLst>
              <a:ext uri="{FF2B5EF4-FFF2-40B4-BE49-F238E27FC236}">
                <a16:creationId xmlns:a16="http://schemas.microsoft.com/office/drawing/2014/main" id="{41EEE8D4-2EDD-410A-B0F4-4350B54F1986}"/>
              </a:ext>
            </a:extLst>
          </p:cNvPr>
          <p:cNvSpPr>
            <a:spLocks noGrp="1"/>
          </p:cNvSpPr>
          <p:nvPr>
            <p:ph type="ftr" sz="quarter" idx="11"/>
          </p:nvPr>
        </p:nvSpPr>
        <p:spPr>
          <a:xfrm>
            <a:off x="5824413" y="4483997"/>
            <a:ext cx="2509889" cy="382813"/>
          </a:xfrm>
          <a:prstGeom prst="rect">
            <a:avLst/>
          </a:prstGeom>
        </p:spPr>
        <p:txBody>
          <a:bodyPr lIns="0" tIns="0" rIns="0" bIns="0" anchor="b" anchorCtr="0"/>
          <a:lstStyle>
            <a:lvl1pPr algn="r">
              <a:defRPr sz="900" b="0">
                <a:solidFill>
                  <a:schemeClr val="bg1"/>
                </a:solidFill>
              </a:defRPr>
            </a:lvl1pPr>
          </a:lstStyle>
          <a:p>
            <a:r>
              <a:rPr lang="en-US"/>
              <a:t>Stakeholder Forum Agenda - Classification: External</a:t>
            </a:r>
            <a:endParaRPr lang="sv-SE"/>
          </a:p>
        </p:txBody>
      </p:sp>
      <p:sp>
        <p:nvSpPr>
          <p:cNvPr id="39" name="Platshållare för datum 3">
            <a:extLst>
              <a:ext uri="{FF2B5EF4-FFF2-40B4-BE49-F238E27FC236}">
                <a16:creationId xmlns:a16="http://schemas.microsoft.com/office/drawing/2014/main" id="{595C633A-027E-4663-927B-88B396BDC0E6}"/>
              </a:ext>
            </a:extLst>
          </p:cNvPr>
          <p:cNvSpPr>
            <a:spLocks noGrp="1"/>
          </p:cNvSpPr>
          <p:nvPr>
            <p:ph type="dt" sz="half" idx="10"/>
          </p:nvPr>
        </p:nvSpPr>
        <p:spPr>
          <a:xfrm>
            <a:off x="4734099" y="4495861"/>
            <a:ext cx="1018558" cy="370949"/>
          </a:xfrm>
          <a:prstGeom prst="rect">
            <a:avLst/>
          </a:prstGeom>
        </p:spPr>
        <p:txBody>
          <a:bodyPr lIns="0" tIns="0" rIns="0" bIns="0" anchor="b" anchorCtr="0"/>
          <a:lstStyle>
            <a:lvl1pPr algn="l">
              <a:defRPr sz="900" b="0" i="0" cap="all">
                <a:solidFill>
                  <a:schemeClr val="bg1"/>
                </a:solidFill>
              </a:defRPr>
            </a:lvl1pPr>
          </a:lstStyle>
          <a:p>
            <a:r>
              <a:rPr lang="sv-SE"/>
              <a:t>26/03/2026</a:t>
            </a:r>
          </a:p>
        </p:txBody>
      </p:sp>
      <p:sp>
        <p:nvSpPr>
          <p:cNvPr id="40" name="Platshållare för bildnummer 5">
            <a:extLst>
              <a:ext uri="{FF2B5EF4-FFF2-40B4-BE49-F238E27FC236}">
                <a16:creationId xmlns:a16="http://schemas.microsoft.com/office/drawing/2014/main" id="{78D6DC65-CE17-499C-B12F-D0B90C53670C}"/>
              </a:ext>
            </a:extLst>
          </p:cNvPr>
          <p:cNvSpPr>
            <a:spLocks noGrp="1"/>
          </p:cNvSpPr>
          <p:nvPr>
            <p:ph type="sldNum" sz="quarter" idx="12"/>
          </p:nvPr>
        </p:nvSpPr>
        <p:spPr>
          <a:xfrm>
            <a:off x="8383230" y="4469824"/>
            <a:ext cx="368658" cy="396987"/>
          </a:xfrm>
          <a:prstGeom prst="rect">
            <a:avLst/>
          </a:prstGeom>
          <a:noFill/>
        </p:spPr>
        <p:txBody>
          <a:bodyPr lIns="25400" tIns="0" rIns="0" bIns="0" anchor="b" anchorCtr="0"/>
          <a:lstStyle>
            <a:lvl1pPr algn="r">
              <a:defRPr sz="900">
                <a:solidFill>
                  <a:schemeClr val="bg1"/>
                </a:solidFill>
              </a:defRPr>
            </a:lvl1pPr>
          </a:lstStyle>
          <a:p>
            <a:fld id="{394EE31B-4DFC-CF4D-9A18-3F5D4D7C7302}" type="slidenum">
              <a:rPr lang="sv-SE" smtClean="0"/>
              <a:pPr/>
              <a:t>‹#›</a:t>
            </a:fld>
            <a:endParaRPr lang="sv-SE"/>
          </a:p>
        </p:txBody>
      </p:sp>
    </p:spTree>
    <p:extLst>
      <p:ext uri="{BB962C8B-B14F-4D97-AF65-F5344CB8AC3E}">
        <p14:creationId xmlns:p14="http://schemas.microsoft.com/office/powerpoint/2010/main" val="140111644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omt">
    <p:spTree>
      <p:nvGrpSpPr>
        <p:cNvPr id="1" name=""/>
        <p:cNvGrpSpPr/>
        <p:nvPr/>
      </p:nvGrpSpPr>
      <p:grpSpPr>
        <a:xfrm>
          <a:off x="0" y="0"/>
          <a:ext cx="0" cy="0"/>
          <a:chOff x="0" y="0"/>
          <a:chExt cx="0" cy="0"/>
        </a:xfrm>
      </p:grpSpPr>
      <p:sp>
        <p:nvSpPr>
          <p:cNvPr id="3" name="Pladsholder til dato 2"/>
          <p:cNvSpPr>
            <a:spLocks noGrp="1"/>
          </p:cNvSpPr>
          <p:nvPr>
            <p:ph type="dt" sz="half" idx="10"/>
          </p:nvPr>
        </p:nvSpPr>
        <p:spPr/>
        <p:txBody>
          <a:bodyPr/>
          <a:lstStyle/>
          <a:p>
            <a:r>
              <a:rPr lang="sv-SE"/>
              <a:t>26/03/2026</a:t>
            </a:r>
            <a:endParaRPr lang="da-DK"/>
          </a:p>
        </p:txBody>
      </p:sp>
      <p:sp>
        <p:nvSpPr>
          <p:cNvPr id="4" name="Pladsholder til sidefod 3" hidden="1"/>
          <p:cNvSpPr>
            <a:spLocks noGrp="1"/>
          </p:cNvSpPr>
          <p:nvPr>
            <p:ph type="ftr" sz="quarter" idx="11"/>
          </p:nvPr>
        </p:nvSpPr>
        <p:spPr/>
        <p:txBody>
          <a:bodyPr/>
          <a:lstStyle/>
          <a:p>
            <a:r>
              <a:rPr lang="en-US"/>
              <a:t>Stakeholder Forum Agenda - Classification: External</a:t>
            </a:r>
            <a:endParaRPr lang="da-DK"/>
          </a:p>
        </p:txBody>
      </p:sp>
      <p:sp>
        <p:nvSpPr>
          <p:cNvPr id="5" name="Pladsholder til diasnummer 4"/>
          <p:cNvSpPr>
            <a:spLocks noGrp="1"/>
          </p:cNvSpPr>
          <p:nvPr>
            <p:ph type="sldNum" sz="quarter" idx="12"/>
          </p:nvPr>
        </p:nvSpPr>
        <p:spPr/>
        <p:txBody>
          <a:bodyPr/>
          <a:lstStyle/>
          <a:p>
            <a:fld id="{667EC89C-17A0-4E64-A6D2-B825673CEEDF}" type="slidenum">
              <a:rPr lang="da-DK" smtClean="0"/>
              <a:pPr/>
              <a:t>‹#›</a:t>
            </a:fld>
            <a:endParaRPr lang="da-DK"/>
          </a:p>
        </p:txBody>
      </p:sp>
    </p:spTree>
    <p:extLst>
      <p:ext uri="{BB962C8B-B14F-4D97-AF65-F5344CB8AC3E}">
        <p14:creationId xmlns:p14="http://schemas.microsoft.com/office/powerpoint/2010/main" val="268968877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Forside">
    <p:spTree>
      <p:nvGrpSpPr>
        <p:cNvPr id="1" name=""/>
        <p:cNvGrpSpPr/>
        <p:nvPr/>
      </p:nvGrpSpPr>
      <p:grpSpPr>
        <a:xfrm>
          <a:off x="0" y="0"/>
          <a:ext cx="0" cy="0"/>
          <a:chOff x="0" y="0"/>
          <a:chExt cx="0" cy="0"/>
        </a:xfrm>
      </p:grpSpPr>
      <p:sp>
        <p:nvSpPr>
          <p:cNvPr id="5" name="Rektangel 4"/>
          <p:cNvSpPr/>
          <p:nvPr userDrawn="1"/>
        </p:nvSpPr>
        <p:spPr>
          <a:xfrm>
            <a:off x="2" y="0"/>
            <a:ext cx="9144000" cy="51435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sz="750" err="1"/>
          </a:p>
        </p:txBody>
      </p:sp>
      <p:sp>
        <p:nvSpPr>
          <p:cNvPr id="10" name="Titel 1"/>
          <p:cNvSpPr>
            <a:spLocks noGrp="1"/>
          </p:cNvSpPr>
          <p:nvPr>
            <p:ph type="title" hasCustomPrompt="1"/>
          </p:nvPr>
        </p:nvSpPr>
        <p:spPr>
          <a:xfrm>
            <a:off x="318641" y="1869672"/>
            <a:ext cx="8506107" cy="530436"/>
          </a:xfrm>
        </p:spPr>
        <p:txBody>
          <a:bodyPr rIns="2160000" anchor="t" anchorCtr="0"/>
          <a:lstStyle>
            <a:lvl1pPr>
              <a:defRPr sz="2400" cap="none" baseline="0"/>
            </a:lvl1pPr>
          </a:lstStyle>
          <a:p>
            <a:r>
              <a:rPr lang="da-DK"/>
              <a:t>Klik for at indsætte </a:t>
            </a:r>
            <a:br>
              <a:rPr lang="da-DK"/>
            </a:br>
            <a:r>
              <a:rPr lang="da-DK"/>
              <a:t>overskrift i en eller to linjer</a:t>
            </a:r>
          </a:p>
        </p:txBody>
      </p:sp>
      <p:sp>
        <p:nvSpPr>
          <p:cNvPr id="14" name="Text Box 8"/>
          <p:cNvSpPr txBox="1">
            <a:spLocks noChangeArrowheads="1"/>
          </p:cNvSpPr>
          <p:nvPr userDrawn="1"/>
        </p:nvSpPr>
        <p:spPr bwMode="auto">
          <a:xfrm>
            <a:off x="318641" y="951571"/>
            <a:ext cx="8506107" cy="619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lstStyle/>
          <a:p>
            <a:pPr algn="l">
              <a:lnSpc>
                <a:spcPts val="2250"/>
              </a:lnSpc>
            </a:pPr>
            <a:r>
              <a:rPr lang="da-DK" sz="2550">
                <a:latin typeface="Nationalbank" panose="020B0503040000020004" pitchFamily="2" charset="0"/>
              </a:rPr>
              <a:t>DANMARKS</a:t>
            </a:r>
            <a:br>
              <a:rPr lang="da-DK" sz="2550">
                <a:latin typeface="Nationalbank" panose="020B0503040000020004" pitchFamily="2" charset="0"/>
              </a:rPr>
            </a:br>
            <a:r>
              <a:rPr lang="da-DK" sz="2550">
                <a:latin typeface="Nationalbank" panose="020B0503040000020004" pitchFamily="2" charset="0"/>
              </a:rPr>
              <a:t>NATIONALBANK</a:t>
            </a:r>
          </a:p>
        </p:txBody>
      </p:sp>
      <p:sp>
        <p:nvSpPr>
          <p:cNvPr id="22" name="Pladsholder til dato 2" hidden="1"/>
          <p:cNvSpPr>
            <a:spLocks noGrp="1"/>
          </p:cNvSpPr>
          <p:nvPr>
            <p:ph type="dt" sz="half" idx="10"/>
          </p:nvPr>
        </p:nvSpPr>
        <p:spPr>
          <a:xfrm>
            <a:off x="6706802" y="5887746"/>
            <a:ext cx="2012400" cy="118800"/>
          </a:xfrm>
        </p:spPr>
        <p:txBody>
          <a:bodyPr/>
          <a:lstStyle>
            <a:lvl1pPr>
              <a:defRPr sz="100">
                <a:solidFill>
                  <a:schemeClr val="bg1">
                    <a:lumMod val="75000"/>
                  </a:schemeClr>
                </a:solidFill>
              </a:defRPr>
            </a:lvl1pPr>
          </a:lstStyle>
          <a:p>
            <a:r>
              <a:rPr lang="sv-SE"/>
              <a:t>26/03/2026</a:t>
            </a:r>
            <a:endParaRPr lang="da-DK"/>
          </a:p>
        </p:txBody>
      </p:sp>
      <p:sp>
        <p:nvSpPr>
          <p:cNvPr id="23" name="Pladsholder til sidefod 3" hidden="1"/>
          <p:cNvSpPr>
            <a:spLocks noGrp="1"/>
          </p:cNvSpPr>
          <p:nvPr>
            <p:ph type="ftr" sz="quarter" idx="11"/>
          </p:nvPr>
        </p:nvSpPr>
        <p:spPr>
          <a:xfrm>
            <a:off x="7626327" y="5575548"/>
            <a:ext cx="1095400" cy="236562"/>
          </a:xfrm>
        </p:spPr>
        <p:txBody>
          <a:bodyPr/>
          <a:lstStyle/>
          <a:p>
            <a:r>
              <a:rPr lang="en-US"/>
              <a:t>Stakeholder Forum Agenda - Classification: External</a:t>
            </a:r>
            <a:endParaRPr lang="da-DK"/>
          </a:p>
        </p:txBody>
      </p:sp>
      <p:sp>
        <p:nvSpPr>
          <p:cNvPr id="24" name="Pladsholder til diasnummer 4" hidden="1"/>
          <p:cNvSpPr>
            <a:spLocks noGrp="1"/>
          </p:cNvSpPr>
          <p:nvPr>
            <p:ph type="sldNum" sz="quarter" idx="12"/>
          </p:nvPr>
        </p:nvSpPr>
        <p:spPr>
          <a:xfrm>
            <a:off x="6706802" y="6001146"/>
            <a:ext cx="2012400" cy="135000"/>
          </a:xfrm>
        </p:spPr>
        <p:txBody>
          <a:bodyPr/>
          <a:lstStyle>
            <a:lvl1pPr>
              <a:defRPr sz="100">
                <a:solidFill>
                  <a:schemeClr val="bg1">
                    <a:lumMod val="75000"/>
                  </a:schemeClr>
                </a:solidFill>
              </a:defRPr>
            </a:lvl1pPr>
          </a:lstStyle>
          <a:p>
            <a:fld id="{667EC89C-17A0-4E64-A6D2-B825673CEEDF}" type="slidenum">
              <a:rPr lang="da-DK" smtClean="0"/>
              <a:pPr/>
              <a:t>‹#›</a:t>
            </a:fld>
            <a:endParaRPr lang="da-DK"/>
          </a:p>
        </p:txBody>
      </p:sp>
      <p:sp>
        <p:nvSpPr>
          <p:cNvPr id="16" name="Tekstboks 15"/>
          <p:cNvSpPr txBox="1"/>
          <p:nvPr userDrawn="1"/>
        </p:nvSpPr>
        <p:spPr>
          <a:xfrm>
            <a:off x="-2017590" y="4933"/>
            <a:ext cx="1890246" cy="1918748"/>
          </a:xfrm>
          <a:prstGeom prst="rect">
            <a:avLst/>
          </a:prstGeom>
          <a:solidFill>
            <a:schemeClr val="bg1"/>
          </a:solidFill>
        </p:spPr>
        <p:txBody>
          <a:bodyPr wrap="square" lIns="80990" tIns="80990" rIns="80990" bIns="80990" rtlCol="0">
            <a:noAutofit/>
          </a:bodyPr>
          <a:lstStyle/>
          <a:p>
            <a:pPr marL="0" algn="l" defTabSz="685732" rtl="0" eaLnBrk="1" latinLnBrk="0" hangingPunct="1"/>
            <a:r>
              <a:rPr lang="da-DK" sz="675" b="1" i="0" u="none" strike="noStrike" kern="1200" baseline="0">
                <a:solidFill>
                  <a:schemeClr val="tx1"/>
                </a:solidFill>
                <a:latin typeface="+mn-lt"/>
                <a:ea typeface="+mn-ea"/>
                <a:cs typeface="+mn-cs"/>
              </a:rPr>
              <a:t>Forsiden</a:t>
            </a:r>
          </a:p>
          <a:p>
            <a:pPr marL="0" algn="l" defTabSz="685732" rtl="0" eaLnBrk="1" latinLnBrk="0" hangingPunct="1"/>
            <a:r>
              <a:rPr lang="da-DK" sz="675" b="0" i="0" u="none" strike="noStrike" kern="1200" baseline="0">
                <a:solidFill>
                  <a:schemeClr val="tx1"/>
                </a:solidFill>
                <a:latin typeface="+mn-lt"/>
                <a:ea typeface="+mn-ea"/>
                <a:cs typeface="+mn-cs"/>
              </a:rPr>
              <a:t>Indsæt præsentationens titel i øverste klikbare felt.</a:t>
            </a:r>
          </a:p>
          <a:p>
            <a:pPr marL="0" algn="l" defTabSz="685732" rtl="0" eaLnBrk="1" latinLnBrk="0" hangingPunct="1"/>
            <a:endParaRPr lang="da-DK" sz="675" b="0" i="0" u="none" strike="noStrike" kern="1200" baseline="0">
              <a:solidFill>
                <a:schemeClr val="tx1"/>
              </a:solidFill>
              <a:latin typeface="+mn-lt"/>
              <a:ea typeface="+mn-ea"/>
              <a:cs typeface="+mn-cs"/>
            </a:endParaRPr>
          </a:p>
          <a:p>
            <a:pPr marL="0" algn="l" defTabSz="685732" rtl="0" eaLnBrk="1" latinLnBrk="0" hangingPunct="1"/>
            <a:r>
              <a:rPr lang="da-DK" sz="675" b="0" i="0" u="none" strike="noStrike" kern="1200" baseline="0">
                <a:solidFill>
                  <a:schemeClr val="tx1"/>
                </a:solidFill>
                <a:latin typeface="+mn-lt"/>
                <a:ea typeface="+mn-ea"/>
                <a:cs typeface="+mn-cs"/>
              </a:rPr>
              <a:t>Indsæt evt. dato og/eller oplægsholders navn i det nederste klikbare felt.</a:t>
            </a:r>
          </a:p>
          <a:p>
            <a:pPr marL="0" algn="l" defTabSz="685732" rtl="0" eaLnBrk="1" latinLnBrk="0" hangingPunct="1"/>
            <a:r>
              <a:rPr lang="da-DK" sz="675" b="0" i="0" u="none" strike="noStrike" kern="1200" baseline="0">
                <a:solidFill>
                  <a:schemeClr val="tx1"/>
                </a:solidFill>
                <a:latin typeface="+mn-lt"/>
                <a:ea typeface="+mn-ea"/>
                <a:cs typeface="+mn-cs"/>
              </a:rPr>
              <a:t> </a:t>
            </a:r>
          </a:p>
          <a:p>
            <a:pPr marL="0" algn="l" defTabSz="685732" rtl="0" eaLnBrk="1" latinLnBrk="0" hangingPunct="1"/>
            <a:r>
              <a:rPr lang="da-DK" sz="675" b="0" i="0" u="none" strike="noStrike" kern="1200" baseline="0">
                <a:solidFill>
                  <a:schemeClr val="tx1"/>
                </a:solidFill>
                <a:latin typeface="+mn-lt"/>
                <a:ea typeface="+mn-ea"/>
                <a:cs typeface="+mn-cs"/>
              </a:rPr>
              <a:t>Der er ikke længere mulighed for at have et billede på forsiden. Derimod opfordres der til at bruge et billede allerede på side 2. Benyt fx ”skilleblad med billede” til formålet og find et egnet helsidesbillede i billedbanken. Der er både mulighed for tekst eller ingen tekst på billedet. Inspiration kan findes i filen </a:t>
            </a:r>
            <a:br>
              <a:rPr lang="da-DK" sz="675" b="0" i="0" u="none" strike="noStrike" kern="1200" baseline="0">
                <a:solidFill>
                  <a:schemeClr val="tx1"/>
                </a:solidFill>
                <a:latin typeface="+mn-lt"/>
                <a:ea typeface="+mn-ea"/>
                <a:cs typeface="+mn-cs"/>
              </a:rPr>
            </a:br>
            <a:r>
              <a:rPr lang="da-DK" sz="675" b="0" i="0" u="none" strike="noStrike" kern="1200" baseline="0">
                <a:solidFill>
                  <a:schemeClr val="tx1"/>
                </a:solidFill>
                <a:latin typeface="+mn-lt"/>
                <a:ea typeface="+mn-ea"/>
                <a:cs typeface="+mn-cs"/>
              </a:rPr>
              <a:t>”_PowerPoint Gode eksempler </a:t>
            </a:r>
            <a:br>
              <a:rPr lang="da-DK" sz="675" b="0" i="0" u="none" strike="noStrike" kern="1200" baseline="0">
                <a:solidFill>
                  <a:schemeClr val="tx1"/>
                </a:solidFill>
                <a:latin typeface="+mn-lt"/>
                <a:ea typeface="+mn-ea"/>
                <a:cs typeface="+mn-cs"/>
              </a:rPr>
            </a:br>
            <a:r>
              <a:rPr lang="da-DK" sz="675" b="0" i="0" u="none" strike="noStrike" kern="1200" baseline="0">
                <a:solidFill>
                  <a:schemeClr val="tx1"/>
                </a:solidFill>
                <a:latin typeface="+mn-lt"/>
                <a:ea typeface="+mn-ea"/>
                <a:cs typeface="+mn-cs"/>
              </a:rPr>
              <a:t>og inspiration.pptx”.   </a:t>
            </a:r>
          </a:p>
        </p:txBody>
      </p:sp>
      <p:sp>
        <p:nvSpPr>
          <p:cNvPr id="2" name="Tekstboks 1"/>
          <p:cNvSpPr txBox="1"/>
          <p:nvPr userDrawn="1"/>
        </p:nvSpPr>
        <p:spPr>
          <a:xfrm>
            <a:off x="9252521" y="0"/>
            <a:ext cx="1890246" cy="897564"/>
          </a:xfrm>
          <a:prstGeom prst="rect">
            <a:avLst/>
          </a:prstGeom>
          <a:solidFill>
            <a:schemeClr val="bg1"/>
          </a:solidFill>
        </p:spPr>
        <p:txBody>
          <a:bodyPr wrap="square" lIns="80990" tIns="80990" rIns="80990" bIns="80990" rtlCol="0">
            <a:noAutofit/>
          </a:bodyPr>
          <a:lstStyle/>
          <a:p>
            <a:pPr algn="l"/>
            <a:r>
              <a:rPr lang="da-DK" sz="675" b="1">
                <a:solidFill>
                  <a:schemeClr val="tx1"/>
                </a:solidFill>
              </a:rPr>
              <a:t>Gitter- og hjælpelinjer</a:t>
            </a:r>
          </a:p>
          <a:p>
            <a:pPr algn="l"/>
            <a:r>
              <a:rPr lang="da-DK" sz="675">
                <a:solidFill>
                  <a:schemeClr val="tx1"/>
                </a:solidFill>
              </a:rPr>
              <a:t>For at se gitter- og hjælpelinjer</a:t>
            </a:r>
          </a:p>
          <a:p>
            <a:pPr algn="l"/>
            <a:r>
              <a:rPr lang="da-DK" sz="675" b="1">
                <a:solidFill>
                  <a:schemeClr val="tx1"/>
                </a:solidFill>
              </a:rPr>
              <a:t>1. </a:t>
            </a:r>
            <a:r>
              <a:rPr lang="da-DK" sz="675">
                <a:solidFill>
                  <a:schemeClr val="tx1"/>
                </a:solidFill>
              </a:rPr>
              <a:t>Klik på </a:t>
            </a:r>
            <a:r>
              <a:rPr lang="da-DK" sz="675" b="1">
                <a:solidFill>
                  <a:schemeClr val="tx1"/>
                </a:solidFill>
              </a:rPr>
              <a:t>Vis</a:t>
            </a:r>
          </a:p>
          <a:p>
            <a:pPr algn="l"/>
            <a:r>
              <a:rPr lang="da-DK" sz="675" b="1">
                <a:solidFill>
                  <a:schemeClr val="tx1"/>
                </a:solidFill>
              </a:rPr>
              <a:t>2. </a:t>
            </a:r>
            <a:r>
              <a:rPr lang="da-DK" sz="675">
                <a:solidFill>
                  <a:schemeClr val="tx1"/>
                </a:solidFill>
              </a:rPr>
              <a:t>Vælg </a:t>
            </a:r>
            <a:r>
              <a:rPr lang="da-DK" sz="675" b="1">
                <a:solidFill>
                  <a:schemeClr val="tx1"/>
                </a:solidFill>
              </a:rPr>
              <a:t>Gitterlinjer </a:t>
            </a:r>
            <a:r>
              <a:rPr lang="da-DK" sz="675">
                <a:solidFill>
                  <a:schemeClr val="tx1"/>
                </a:solidFill>
              </a:rPr>
              <a:t>og/eller </a:t>
            </a:r>
            <a:r>
              <a:rPr lang="da-DK" sz="675" b="1">
                <a:solidFill>
                  <a:schemeClr val="tx1"/>
                </a:solidFill>
              </a:rPr>
              <a:t>Hjælpelinjer</a:t>
            </a:r>
          </a:p>
          <a:p>
            <a:pPr algn="l"/>
            <a:endParaRPr lang="da-DK" sz="675">
              <a:solidFill>
                <a:schemeClr val="tx1"/>
              </a:solidFill>
            </a:endParaRPr>
          </a:p>
          <a:p>
            <a:pPr algn="l"/>
            <a:r>
              <a:rPr lang="da-DK" sz="675" b="1">
                <a:solidFill>
                  <a:schemeClr val="tx1"/>
                </a:solidFill>
              </a:rPr>
              <a:t>Tip</a:t>
            </a:r>
            <a:r>
              <a:rPr lang="da-DK" sz="675">
                <a:solidFill>
                  <a:schemeClr val="tx1"/>
                </a:solidFill>
              </a:rPr>
              <a:t>: Alt + F9 for hurtig visning af hjælpelinjer</a:t>
            </a:r>
            <a:r>
              <a:rPr lang="da-DK" sz="675">
                <a:solidFill>
                  <a:schemeClr val="bg1">
                    <a:lumMod val="50000"/>
                  </a:schemeClr>
                </a:solidFill>
              </a:rPr>
              <a:t>.</a:t>
            </a:r>
            <a:endParaRPr lang="da-DK" sz="675">
              <a:solidFill>
                <a:schemeClr val="tx1"/>
              </a:solidFill>
            </a:endParaRPr>
          </a:p>
        </p:txBody>
      </p:sp>
      <p:sp>
        <p:nvSpPr>
          <p:cNvPr id="20" name="Pladsholder til tekst 2"/>
          <p:cNvSpPr>
            <a:spLocks noGrp="1"/>
          </p:cNvSpPr>
          <p:nvPr>
            <p:ph type="body" sz="quarter" idx="17" hasCustomPrompt="1"/>
          </p:nvPr>
        </p:nvSpPr>
        <p:spPr>
          <a:xfrm>
            <a:off x="318641" y="2866722"/>
            <a:ext cx="8506107" cy="353100"/>
          </a:xfrm>
        </p:spPr>
        <p:txBody>
          <a:bodyPr tIns="0" rIns="2160000" anchor="b"/>
          <a:lstStyle>
            <a:lvl1pPr>
              <a:spcBef>
                <a:spcPts val="0"/>
              </a:spcBef>
              <a:defRPr sz="1050" b="0"/>
            </a:lvl1pPr>
          </a:lstStyle>
          <a:p>
            <a:pPr lvl="0"/>
            <a:r>
              <a:rPr lang="da-DK"/>
              <a:t>Klik her for at indsætte dato og evt. navn</a:t>
            </a:r>
          </a:p>
        </p:txBody>
      </p:sp>
      <p:cxnSp>
        <p:nvCxnSpPr>
          <p:cNvPr id="18" name="Lige forbindelse 17"/>
          <p:cNvCxnSpPr/>
          <p:nvPr userDrawn="1"/>
        </p:nvCxnSpPr>
        <p:spPr>
          <a:xfrm>
            <a:off x="318641" y="1692300"/>
            <a:ext cx="8830151"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21" name="Billed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2569" y="4581869"/>
            <a:ext cx="1140865" cy="420625"/>
          </a:xfrm>
          <a:prstGeom prst="rect">
            <a:avLst/>
          </a:prstGeom>
        </p:spPr>
      </p:pic>
      <p:sp>
        <p:nvSpPr>
          <p:cNvPr id="15" name="Tekstboks 1">
            <a:extLst>
              <a:ext uri="{FF2B5EF4-FFF2-40B4-BE49-F238E27FC236}">
                <a16:creationId xmlns:a16="http://schemas.microsoft.com/office/drawing/2014/main" id="{8A95E6C6-9E33-44DF-A188-D4A42E1BD7F9}"/>
              </a:ext>
            </a:extLst>
          </p:cNvPr>
          <p:cNvSpPr txBox="1"/>
          <p:nvPr userDrawn="1"/>
        </p:nvSpPr>
        <p:spPr>
          <a:xfrm>
            <a:off x="9252520" y="1018310"/>
            <a:ext cx="1890246" cy="601016"/>
          </a:xfrm>
          <a:prstGeom prst="rect">
            <a:avLst/>
          </a:prstGeom>
          <a:solidFill>
            <a:schemeClr val="accent2"/>
          </a:solidFill>
        </p:spPr>
        <p:txBody>
          <a:bodyPr wrap="square" lIns="80990" tIns="80990" rIns="80990" bIns="80990" rtlCol="0">
            <a:noAutofit/>
          </a:bodyPr>
          <a:lstStyle/>
          <a:p>
            <a:pPr algn="l"/>
            <a:r>
              <a:rPr lang="da-DK" sz="675" b="1">
                <a:solidFill>
                  <a:schemeClr val="bg1"/>
                </a:solidFill>
              </a:rPr>
              <a:t>Tip!</a:t>
            </a:r>
          </a:p>
          <a:p>
            <a:pPr algn="l"/>
            <a:r>
              <a:rPr lang="da-DK" sz="675">
                <a:solidFill>
                  <a:schemeClr val="bg1"/>
                </a:solidFill>
              </a:rPr>
              <a:t>Hvis du vil se alle layoutmuligheder, kan du højreklikke på et slide i venstre side og vælge ”layout”.</a:t>
            </a:r>
          </a:p>
        </p:txBody>
      </p:sp>
    </p:spTree>
    <p:extLst>
      <p:ext uri="{BB962C8B-B14F-4D97-AF65-F5344CB8AC3E}">
        <p14:creationId xmlns:p14="http://schemas.microsoft.com/office/powerpoint/2010/main" val="1256316338"/>
      </p:ext>
    </p:extLst>
  </p:cSld>
  <p:clrMapOvr>
    <a:masterClrMapping/>
  </p:clrMapOvr>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Forside">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865F1411-00B9-1AD9-B584-BDC76B4598F5}"/>
              </a:ext>
            </a:extLst>
          </p:cNvPr>
          <p:cNvPicPr>
            <a:picLocks noChangeAspect="1"/>
          </p:cNvPicPr>
          <p:nvPr userDrawn="1"/>
        </p:nvPicPr>
        <p:blipFill>
          <a:blip r:embed="rId2">
            <a:extLst>
              <a:ext uri="{28A0092B-C50C-407E-A947-70E740481C1C}">
                <a14:useLocalDpi xmlns:a14="http://schemas.microsoft.com/office/drawing/2010/main" val="0"/>
              </a:ext>
            </a:extLst>
          </a:blip>
          <a:srcRect r="5634" b="5635"/>
          <a:stretch/>
        </p:blipFill>
        <p:spPr>
          <a:xfrm>
            <a:off x="-1" y="-1"/>
            <a:ext cx="9144001" cy="5143500"/>
          </a:xfrm>
          <a:prstGeom prst="rect">
            <a:avLst/>
          </a:prstGeom>
        </p:spPr>
      </p:pic>
      <p:pic>
        <p:nvPicPr>
          <p:cNvPr id="3" name="Bilde 2">
            <a:extLst>
              <a:ext uri="{FF2B5EF4-FFF2-40B4-BE49-F238E27FC236}">
                <a16:creationId xmlns:a16="http://schemas.microsoft.com/office/drawing/2014/main" id="{03E7AB25-47A6-0DF6-358F-3112563BFCE2}"/>
              </a:ext>
            </a:extLst>
          </p:cNvPr>
          <p:cNvPicPr>
            <a:picLocks noChangeAspect="1"/>
          </p:cNvPicPr>
          <p:nvPr userDrawn="1"/>
        </p:nvPicPr>
        <p:blipFill>
          <a:blip r:embed="rId3">
            <a:alphaModFix amt="70000"/>
          </a:blip>
          <a:stretch>
            <a:fillRect/>
          </a:stretch>
        </p:blipFill>
        <p:spPr>
          <a:xfrm>
            <a:off x="-2" y="4544456"/>
            <a:ext cx="9144000" cy="598932"/>
          </a:xfrm>
          <a:prstGeom prst="rect">
            <a:avLst/>
          </a:prstGeom>
        </p:spPr>
      </p:pic>
      <p:pic>
        <p:nvPicPr>
          <p:cNvPr id="5" name="Bilde 4">
            <a:extLst>
              <a:ext uri="{FF2B5EF4-FFF2-40B4-BE49-F238E27FC236}">
                <a16:creationId xmlns:a16="http://schemas.microsoft.com/office/drawing/2014/main" id="{7ED4830B-DC4D-F26F-6A20-6F1B9E0129F9}"/>
              </a:ext>
            </a:extLst>
          </p:cNvPr>
          <p:cNvPicPr>
            <a:picLocks noChangeAspect="1"/>
          </p:cNvPicPr>
          <p:nvPr userDrawn="1"/>
        </p:nvPicPr>
        <p:blipFill rotWithShape="1">
          <a:blip r:embed="rId4">
            <a:alphaModFix amt="70000"/>
          </a:blip>
          <a:srcRect r="33887"/>
          <a:stretch/>
        </p:blipFill>
        <p:spPr>
          <a:xfrm>
            <a:off x="0" y="1138275"/>
            <a:ext cx="9144000" cy="3406181"/>
          </a:xfrm>
          <a:prstGeom prst="rect">
            <a:avLst/>
          </a:prstGeom>
        </p:spPr>
      </p:pic>
      <p:sp>
        <p:nvSpPr>
          <p:cNvPr id="11" name="Tittel 10">
            <a:extLst>
              <a:ext uri="{FF2B5EF4-FFF2-40B4-BE49-F238E27FC236}">
                <a16:creationId xmlns:a16="http://schemas.microsoft.com/office/drawing/2014/main" id="{2B4CB1BB-8E5A-A42B-B45F-7AB4BE2012A2}"/>
              </a:ext>
            </a:extLst>
          </p:cNvPr>
          <p:cNvSpPr>
            <a:spLocks noGrp="1"/>
          </p:cNvSpPr>
          <p:nvPr>
            <p:ph type="title" hasCustomPrompt="1"/>
          </p:nvPr>
        </p:nvSpPr>
        <p:spPr>
          <a:xfrm>
            <a:off x="630801" y="2683258"/>
            <a:ext cx="6043963" cy="893645"/>
          </a:xfrm>
        </p:spPr>
        <p:txBody>
          <a:bodyPr anchor="t">
            <a:normAutofit/>
          </a:bodyPr>
          <a:lstStyle>
            <a:lvl1pPr>
              <a:lnSpc>
                <a:spcPct val="100000"/>
              </a:lnSpc>
              <a:defRPr sz="2700" b="1">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r>
              <a:rPr lang="nb-NO"/>
              <a:t>Klikk for å legge til tittel</a:t>
            </a:r>
          </a:p>
        </p:txBody>
      </p:sp>
      <p:sp>
        <p:nvSpPr>
          <p:cNvPr id="12" name="Plassholder for tekst 2">
            <a:extLst>
              <a:ext uri="{FF2B5EF4-FFF2-40B4-BE49-F238E27FC236}">
                <a16:creationId xmlns:a16="http://schemas.microsoft.com/office/drawing/2014/main" id="{077BB56B-1C65-B8CB-BB1D-E234195B38B2}"/>
              </a:ext>
            </a:extLst>
          </p:cNvPr>
          <p:cNvSpPr>
            <a:spLocks noGrp="1"/>
          </p:cNvSpPr>
          <p:nvPr>
            <p:ph type="body" idx="1" hasCustomPrompt="1"/>
          </p:nvPr>
        </p:nvSpPr>
        <p:spPr>
          <a:xfrm>
            <a:off x="626498" y="2379188"/>
            <a:ext cx="3945503" cy="260734"/>
          </a:xfrm>
        </p:spPr>
        <p:txBody>
          <a:bodyPr>
            <a:noAutofit/>
          </a:bodyPr>
          <a:lstStyle>
            <a:lvl1pPr marL="0" indent="0">
              <a:buNone/>
              <a:defRPr sz="180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r>
              <a:rPr lang="nb-NO"/>
              <a:t>Stikktittel</a:t>
            </a:r>
          </a:p>
        </p:txBody>
      </p:sp>
      <p:pic>
        <p:nvPicPr>
          <p:cNvPr id="16" name="Bilde 15" descr="Et bilde som inneholder Grafikk, logo, Font, grafisk design&#10;&#10;Automatisk generert beskrivelse">
            <a:extLst>
              <a:ext uri="{FF2B5EF4-FFF2-40B4-BE49-F238E27FC236}">
                <a16:creationId xmlns:a16="http://schemas.microsoft.com/office/drawing/2014/main" id="{69ABCBEE-86AB-DB77-A1EC-B570C7573E31}"/>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6498" y="435249"/>
            <a:ext cx="1587848" cy="659690"/>
          </a:xfrm>
          <a:prstGeom prst="rect">
            <a:avLst/>
          </a:prstGeom>
        </p:spPr>
      </p:pic>
      <p:sp>
        <p:nvSpPr>
          <p:cNvPr id="19" name="Plassholder for tekst 2">
            <a:extLst>
              <a:ext uri="{FF2B5EF4-FFF2-40B4-BE49-F238E27FC236}">
                <a16:creationId xmlns:a16="http://schemas.microsoft.com/office/drawing/2014/main" id="{3B04CE2F-CB04-3A60-8A2D-D0D853382FC4}"/>
              </a:ext>
            </a:extLst>
          </p:cNvPr>
          <p:cNvSpPr>
            <a:spLocks noGrp="1"/>
          </p:cNvSpPr>
          <p:nvPr>
            <p:ph type="body" idx="12" hasCustomPrompt="1"/>
          </p:nvPr>
        </p:nvSpPr>
        <p:spPr>
          <a:xfrm>
            <a:off x="641129" y="3674687"/>
            <a:ext cx="6048267" cy="243000"/>
          </a:xfrm>
        </p:spPr>
        <p:txBody>
          <a:bodyPr>
            <a:noAutofit/>
          </a:bodyPr>
          <a:lstStyle>
            <a:lvl1pPr marL="0" indent="0">
              <a:buNone/>
              <a:defRPr sz="135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r>
              <a:rPr lang="nb-NO"/>
              <a:t>Foredragsholder</a:t>
            </a:r>
          </a:p>
        </p:txBody>
      </p:sp>
      <p:sp>
        <p:nvSpPr>
          <p:cNvPr id="2" name="Plassholder for tekst 2">
            <a:extLst>
              <a:ext uri="{FF2B5EF4-FFF2-40B4-BE49-F238E27FC236}">
                <a16:creationId xmlns:a16="http://schemas.microsoft.com/office/drawing/2014/main" id="{0FBBA35E-21CE-502E-D712-6A0A96B2BFA5}"/>
              </a:ext>
            </a:extLst>
          </p:cNvPr>
          <p:cNvSpPr>
            <a:spLocks noGrp="1"/>
          </p:cNvSpPr>
          <p:nvPr>
            <p:ph type="body" idx="13" hasCustomPrompt="1"/>
          </p:nvPr>
        </p:nvSpPr>
        <p:spPr>
          <a:xfrm>
            <a:off x="641129" y="3907148"/>
            <a:ext cx="6048267" cy="243000"/>
          </a:xfrm>
        </p:spPr>
        <p:txBody>
          <a:bodyPr>
            <a:noAutofit/>
          </a:bodyPr>
          <a:lstStyle>
            <a:lvl1pPr marL="0" indent="0">
              <a:buNone/>
              <a:defRPr sz="135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r>
              <a:rPr lang="nb-NO"/>
              <a:t>Dato</a:t>
            </a:r>
          </a:p>
        </p:txBody>
      </p:sp>
      <p:sp>
        <p:nvSpPr>
          <p:cNvPr id="13" name="Plassholder for innhold 12">
            <a:extLst>
              <a:ext uri="{FF2B5EF4-FFF2-40B4-BE49-F238E27FC236}">
                <a16:creationId xmlns:a16="http://schemas.microsoft.com/office/drawing/2014/main" id="{A6ECA1AB-BD75-F0D7-B098-522B8D8228FC}"/>
              </a:ext>
            </a:extLst>
          </p:cNvPr>
          <p:cNvSpPr>
            <a:spLocks noGrp="1"/>
          </p:cNvSpPr>
          <p:nvPr>
            <p:ph sz="quarter" idx="15" hasCustomPrompt="1"/>
          </p:nvPr>
        </p:nvSpPr>
        <p:spPr>
          <a:xfrm>
            <a:off x="626498" y="4399508"/>
            <a:ext cx="5079932" cy="507536"/>
          </a:xfrm>
        </p:spPr>
        <p:txBody>
          <a:bodyPr/>
          <a:lstStyle>
            <a:lvl1pPr marL="0" indent="0">
              <a:buNone/>
              <a:defRPr>
                <a:highlight>
                  <a:srgbClr val="FFFF00"/>
                </a:highlight>
              </a:defRPr>
            </a:lvl1pPr>
          </a:lstStyle>
          <a:p>
            <a:pPr lvl="0"/>
            <a:r>
              <a:rPr lang="nb-NO"/>
              <a:t>Kopier og lim inn TLP</a:t>
            </a:r>
            <a:br>
              <a:rPr lang="nb-NO"/>
            </a:br>
            <a:r>
              <a:rPr lang="nb-NO"/>
              <a:t> fra forrige side</a:t>
            </a:r>
          </a:p>
        </p:txBody>
      </p:sp>
    </p:spTree>
    <p:extLst>
      <p:ext uri="{BB962C8B-B14F-4D97-AF65-F5344CB8AC3E}">
        <p14:creationId xmlns:p14="http://schemas.microsoft.com/office/powerpoint/2010/main" val="44121618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accent1"/>
        </a:solidFill>
        <a:effectLst/>
      </p:bgPr>
    </p:bg>
    <p:spTree>
      <p:nvGrpSpPr>
        <p:cNvPr id="1" name=""/>
        <p:cNvGrpSpPr/>
        <p:nvPr/>
      </p:nvGrpSpPr>
      <p:grpSpPr>
        <a:xfrm>
          <a:off x="0" y="0"/>
          <a:ext cx="0" cy="0"/>
          <a:chOff x="0" y="0"/>
          <a:chExt cx="0" cy="0"/>
        </a:xfrm>
      </p:grpSpPr>
      <p:pic>
        <p:nvPicPr>
          <p:cNvPr id="10" name="Bilde 9" descr="Et bilde som inneholder Grafikk, logo, Font, grafisk design&#10;&#10;Automatisk generert beskrivelse">
            <a:extLst>
              <a:ext uri="{FF2B5EF4-FFF2-40B4-BE49-F238E27FC236}">
                <a16:creationId xmlns:a16="http://schemas.microsoft.com/office/drawing/2014/main" id="{DEF1EAF0-77F9-5671-1232-45EF23E8B7C1}"/>
              </a:ext>
            </a:extLst>
          </p:cNvPr>
          <p:cNvPicPr>
            <a:picLocks noChangeAspect="1"/>
          </p:cNvPicPr>
          <p:nvPr userDrawn="1"/>
        </p:nvPicPr>
        <p:blipFill rotWithShape="1">
          <a:blip r:embed="rId2" cstate="print">
            <a:alphaModFix amt="90000"/>
            <a:extLst>
              <a:ext uri="{28A0092B-C50C-407E-A947-70E740481C1C}">
                <a14:useLocalDpi xmlns:a14="http://schemas.microsoft.com/office/drawing/2010/main" val="0"/>
              </a:ext>
            </a:extLst>
          </a:blip>
          <a:srcRect l="21744" r="1550"/>
          <a:stretch/>
        </p:blipFill>
        <p:spPr>
          <a:xfrm>
            <a:off x="0" y="818863"/>
            <a:ext cx="2188204" cy="3505775"/>
          </a:xfrm>
          <a:prstGeom prst="rect">
            <a:avLst/>
          </a:prstGeom>
        </p:spPr>
      </p:pic>
      <p:pic>
        <p:nvPicPr>
          <p:cNvPr id="12" name="Bilde 11" descr="Et bilde som inneholder Grafikk, logo, Font, grafisk design&#10;&#10;Automatisk generert beskrivelse">
            <a:extLst>
              <a:ext uri="{FF2B5EF4-FFF2-40B4-BE49-F238E27FC236}">
                <a16:creationId xmlns:a16="http://schemas.microsoft.com/office/drawing/2014/main" id="{B78F508A-BF81-5836-7E17-4D7B27551C2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04774" y="227575"/>
            <a:ext cx="768698" cy="319364"/>
          </a:xfrm>
          <a:prstGeom prst="rect">
            <a:avLst/>
          </a:prstGeom>
        </p:spPr>
      </p:pic>
    </p:spTree>
    <p:extLst>
      <p:ext uri="{BB962C8B-B14F-4D97-AF65-F5344CB8AC3E}">
        <p14:creationId xmlns:p14="http://schemas.microsoft.com/office/powerpoint/2010/main" val="67065687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tandard tekstside ">
    <p:bg>
      <p:bgPr>
        <a:solidFill>
          <a:schemeClr val="bg1"/>
        </a:solidFill>
        <a:effectLst/>
      </p:bgPr>
    </p:bg>
    <p:spTree>
      <p:nvGrpSpPr>
        <p:cNvPr id="1" name=""/>
        <p:cNvGrpSpPr/>
        <p:nvPr/>
      </p:nvGrpSpPr>
      <p:grpSpPr>
        <a:xfrm>
          <a:off x="0" y="0"/>
          <a:ext cx="0" cy="0"/>
          <a:chOff x="0" y="0"/>
          <a:chExt cx="0" cy="0"/>
        </a:xfrm>
      </p:grpSpPr>
      <p:sp>
        <p:nvSpPr>
          <p:cNvPr id="9" name="Rubrik 1">
            <a:extLst>
              <a:ext uri="{FF2B5EF4-FFF2-40B4-BE49-F238E27FC236}">
                <a16:creationId xmlns:a16="http://schemas.microsoft.com/office/drawing/2014/main" id="{9EAD31D6-5CD9-4976-BA75-1B3862EAE0E2}"/>
              </a:ext>
            </a:extLst>
          </p:cNvPr>
          <p:cNvSpPr>
            <a:spLocks noGrp="1"/>
          </p:cNvSpPr>
          <p:nvPr>
            <p:ph type="title" hasCustomPrompt="1"/>
          </p:nvPr>
        </p:nvSpPr>
        <p:spPr>
          <a:xfrm>
            <a:off x="567130" y="285067"/>
            <a:ext cx="7679666" cy="455830"/>
          </a:xfrm>
        </p:spPr>
        <p:txBody>
          <a:bodyPr lIns="0">
            <a:normAutofit/>
          </a:bodyPr>
          <a:lstStyle>
            <a:lvl1pPr>
              <a:defRPr sz="2100" b="0">
                <a:solidFill>
                  <a:schemeClr val="tx1"/>
                </a:solidFill>
              </a:defRPr>
            </a:lvl1pPr>
          </a:lstStyle>
          <a:p>
            <a:r>
              <a:rPr lang="nb-NO" noProof="0"/>
              <a:t>Overskrift</a:t>
            </a:r>
          </a:p>
        </p:txBody>
      </p:sp>
      <p:sp>
        <p:nvSpPr>
          <p:cNvPr id="2" name="TekstSylinder 1">
            <a:extLst>
              <a:ext uri="{FF2B5EF4-FFF2-40B4-BE49-F238E27FC236}">
                <a16:creationId xmlns:a16="http://schemas.microsoft.com/office/drawing/2014/main" id="{8320C936-5019-4C54-8555-6132AFE6B696}"/>
              </a:ext>
            </a:extLst>
          </p:cNvPr>
          <p:cNvSpPr txBox="1"/>
          <p:nvPr userDrawn="1"/>
        </p:nvSpPr>
        <p:spPr>
          <a:xfrm>
            <a:off x="8246795" y="4828493"/>
            <a:ext cx="329277" cy="207749"/>
          </a:xfrm>
          <a:prstGeom prst="rect">
            <a:avLst/>
          </a:prstGeom>
          <a:noFill/>
        </p:spPr>
        <p:txBody>
          <a:bodyPr wrap="square" rIns="0" rtlCol="0">
            <a:spAutoFit/>
          </a:bodyPr>
          <a:lstStyle/>
          <a:p>
            <a:pPr algn="r"/>
            <a:fld id="{C25C054F-90E3-43D3-9F5F-0765C525DF5A}" type="slidenum">
              <a:rPr lang="nb-NO" sz="750" smtClean="0">
                <a:solidFill>
                  <a:schemeClr val="accent2"/>
                </a:solidFill>
              </a:rPr>
              <a:pPr algn="r"/>
              <a:t>‹#›</a:t>
            </a:fld>
            <a:endParaRPr lang="nb-NO" sz="750">
              <a:solidFill>
                <a:schemeClr val="accent2"/>
              </a:solidFill>
            </a:endParaRPr>
          </a:p>
        </p:txBody>
      </p:sp>
      <p:sp>
        <p:nvSpPr>
          <p:cNvPr id="7" name="Plassholder for innhold 2">
            <a:extLst>
              <a:ext uri="{FF2B5EF4-FFF2-40B4-BE49-F238E27FC236}">
                <a16:creationId xmlns:a16="http://schemas.microsoft.com/office/drawing/2014/main" id="{76BCDE75-3C14-4707-AA4A-247E42E5348A}"/>
              </a:ext>
            </a:extLst>
          </p:cNvPr>
          <p:cNvSpPr>
            <a:spLocks noGrp="1"/>
          </p:cNvSpPr>
          <p:nvPr>
            <p:ph sz="half" idx="14"/>
          </p:nvPr>
        </p:nvSpPr>
        <p:spPr>
          <a:xfrm>
            <a:off x="567130" y="1067192"/>
            <a:ext cx="8008943" cy="3507027"/>
          </a:xfrm>
        </p:spPr>
        <p:txBody>
          <a:bodyPr lIns="0">
            <a:noAutofit/>
          </a:bodyPr>
          <a:lstStyle>
            <a:lvl1pPr marL="271463" indent="-271463">
              <a:buClr>
                <a:srgbClr val="3D9CDA"/>
              </a:buClr>
              <a:buSzPct val="130000"/>
              <a:buFont typeface="Arial" panose="020B0604020202020204" pitchFamily="34" charset="0"/>
              <a:buChar char="■"/>
              <a:defRPr sz="1500">
                <a:solidFill>
                  <a:schemeClr val="tx1"/>
                </a:solidFill>
              </a:defRPr>
            </a:lvl1pPr>
            <a:lvl2pPr marL="407194" indent="-135731">
              <a:buClr>
                <a:schemeClr val="tx1"/>
              </a:buClr>
              <a:buFont typeface="Calibri" panose="020F0502020204030204" pitchFamily="34" charset="0"/>
              <a:buChar char="−"/>
              <a:defRPr sz="1500">
                <a:solidFill>
                  <a:schemeClr val="tx1"/>
                </a:solidFill>
              </a:defRPr>
            </a:lvl2pPr>
            <a:lvl3pPr marL="534591" indent="-127397">
              <a:buClr>
                <a:schemeClr val="tx1"/>
              </a:buClr>
              <a:defRPr sz="1500">
                <a:solidFill>
                  <a:schemeClr val="tx1"/>
                </a:solidFill>
              </a:defRPr>
            </a:lvl3pPr>
            <a:lvl4pPr marL="670322" indent="-135731">
              <a:buClr>
                <a:schemeClr val="tx1"/>
              </a:buClr>
              <a:buFont typeface="Arial" panose="020B0604020202020204" pitchFamily="34" charset="0"/>
              <a:buChar char="▪"/>
              <a:defRPr sz="1500">
                <a:solidFill>
                  <a:schemeClr val="tx1"/>
                </a:solidFill>
              </a:defRPr>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pic>
        <p:nvPicPr>
          <p:cNvPr id="5" name="Plassholder for innhold 14" descr="Et bilde som inneholder Grafikk, skjermbilde, logo, Font&#10;&#10;KI-generert innhold kan være feil.">
            <a:extLst>
              <a:ext uri="{FF2B5EF4-FFF2-40B4-BE49-F238E27FC236}">
                <a16:creationId xmlns:a16="http://schemas.microsoft.com/office/drawing/2014/main" id="{1DA10AFE-4B25-FD19-B8D9-CB7E96EE83A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414" t="-286" r="66790" b="286"/>
          <a:stretch/>
        </p:blipFill>
        <p:spPr>
          <a:xfrm>
            <a:off x="8391623" y="285066"/>
            <a:ext cx="368897" cy="455830"/>
          </a:xfrm>
          <a:prstGeom prst="rect">
            <a:avLst/>
          </a:prstGeom>
        </p:spPr>
      </p:pic>
      <p:sp>
        <p:nvSpPr>
          <p:cNvPr id="3" name="Text Placeholder 6">
            <a:extLst>
              <a:ext uri="{FF2B5EF4-FFF2-40B4-BE49-F238E27FC236}">
                <a16:creationId xmlns:a16="http://schemas.microsoft.com/office/drawing/2014/main" id="{E30C38BA-18D8-43A3-3A5B-0229B1ED4FBB}"/>
              </a:ext>
            </a:extLst>
          </p:cNvPr>
          <p:cNvSpPr>
            <a:spLocks noGrp="1" noChangeAspect="1"/>
          </p:cNvSpPr>
          <p:nvPr>
            <p:ph type="body" sz="quarter" idx="13" hasCustomPrompt="1"/>
          </p:nvPr>
        </p:nvSpPr>
        <p:spPr>
          <a:xfrm>
            <a:off x="574532" y="158841"/>
            <a:ext cx="4004871" cy="176036"/>
          </a:xfrm>
          <a:prstGeom prst="rect">
            <a:avLst/>
          </a:prstGeom>
        </p:spPr>
        <p:txBody>
          <a:bodyPr lIns="0" tIns="0" rIns="0" bIns="0" anchor="b">
            <a:noAutofit/>
          </a:bodyPr>
          <a:lstStyle>
            <a:lvl1pPr marL="0" indent="0">
              <a:spcBef>
                <a:spcPts val="0"/>
              </a:spcBef>
              <a:spcAft>
                <a:spcPts val="0"/>
              </a:spcAft>
              <a:buNone/>
              <a:defRPr sz="1200" b="0" i="0" cap="none" spc="45" baseline="0">
                <a:solidFill>
                  <a:schemeClr val="tx1"/>
                </a:solidFill>
              </a:defRPr>
            </a:lvl1pPr>
            <a:lvl5pPr>
              <a:defRPr>
                <a:solidFill>
                  <a:schemeClr val="bg1"/>
                </a:solidFill>
              </a:defRPr>
            </a:lvl5pPr>
          </a:lstStyle>
          <a:p>
            <a:pPr lvl="0"/>
            <a:r>
              <a:rPr lang="nb-NO" noProof="0"/>
              <a:t>Stikktittel</a:t>
            </a:r>
          </a:p>
        </p:txBody>
      </p:sp>
    </p:spTree>
    <p:extLst>
      <p:ext uri="{BB962C8B-B14F-4D97-AF65-F5344CB8AC3E}">
        <p14:creationId xmlns:p14="http://schemas.microsoft.com/office/powerpoint/2010/main" val="96387435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tandard to kolonner">
    <p:spTree>
      <p:nvGrpSpPr>
        <p:cNvPr id="1" name=""/>
        <p:cNvGrpSpPr/>
        <p:nvPr/>
      </p:nvGrpSpPr>
      <p:grpSpPr>
        <a:xfrm>
          <a:off x="0" y="0"/>
          <a:ext cx="0" cy="0"/>
          <a:chOff x="0" y="0"/>
          <a:chExt cx="0" cy="0"/>
        </a:xfrm>
      </p:grpSpPr>
      <p:sp>
        <p:nvSpPr>
          <p:cNvPr id="2" name="TekstSylinder 1">
            <a:extLst>
              <a:ext uri="{FF2B5EF4-FFF2-40B4-BE49-F238E27FC236}">
                <a16:creationId xmlns:a16="http://schemas.microsoft.com/office/drawing/2014/main" id="{D771AF1C-FDE2-4B76-8893-FC459A658A1A}"/>
              </a:ext>
            </a:extLst>
          </p:cNvPr>
          <p:cNvSpPr txBox="1"/>
          <p:nvPr userDrawn="1"/>
        </p:nvSpPr>
        <p:spPr>
          <a:xfrm>
            <a:off x="8246795" y="4828493"/>
            <a:ext cx="329277" cy="207749"/>
          </a:xfrm>
          <a:prstGeom prst="rect">
            <a:avLst/>
          </a:prstGeom>
          <a:noFill/>
        </p:spPr>
        <p:txBody>
          <a:bodyPr wrap="square" rIns="0" rtlCol="0">
            <a:spAutoFit/>
          </a:bodyPr>
          <a:lstStyle/>
          <a:p>
            <a:pPr algn="r"/>
            <a:fld id="{C25C054F-90E3-43D3-9F5F-0765C525DF5A}" type="slidenum">
              <a:rPr lang="nb-NO" sz="750" smtClean="0">
                <a:solidFill>
                  <a:schemeClr val="accent2"/>
                </a:solidFill>
              </a:rPr>
              <a:pPr algn="r"/>
              <a:t>‹#›</a:t>
            </a:fld>
            <a:endParaRPr lang="nb-NO" sz="750">
              <a:solidFill>
                <a:schemeClr val="accent2"/>
              </a:solidFill>
            </a:endParaRPr>
          </a:p>
        </p:txBody>
      </p:sp>
      <p:sp>
        <p:nvSpPr>
          <p:cNvPr id="5" name="Rubrik 1">
            <a:extLst>
              <a:ext uri="{FF2B5EF4-FFF2-40B4-BE49-F238E27FC236}">
                <a16:creationId xmlns:a16="http://schemas.microsoft.com/office/drawing/2014/main" id="{71AA3A7C-C809-6F8E-1002-3FF548362E2F}"/>
              </a:ext>
            </a:extLst>
          </p:cNvPr>
          <p:cNvSpPr>
            <a:spLocks noGrp="1"/>
          </p:cNvSpPr>
          <p:nvPr>
            <p:ph type="title" hasCustomPrompt="1"/>
          </p:nvPr>
        </p:nvSpPr>
        <p:spPr>
          <a:xfrm>
            <a:off x="567130" y="285067"/>
            <a:ext cx="7679666" cy="455830"/>
          </a:xfrm>
        </p:spPr>
        <p:txBody>
          <a:bodyPr lIns="0">
            <a:normAutofit/>
          </a:bodyPr>
          <a:lstStyle>
            <a:lvl1pPr>
              <a:defRPr sz="2100" b="0">
                <a:solidFill>
                  <a:schemeClr val="tx1"/>
                </a:solidFill>
              </a:defRPr>
            </a:lvl1pPr>
          </a:lstStyle>
          <a:p>
            <a:r>
              <a:rPr lang="nb-NO" noProof="0"/>
              <a:t>Overskrift</a:t>
            </a:r>
          </a:p>
        </p:txBody>
      </p:sp>
      <p:pic>
        <p:nvPicPr>
          <p:cNvPr id="3" name="Plassholder for innhold 14" descr="Et bilde som inneholder Grafikk, skjermbilde, logo, Font&#10;&#10;KI-generert innhold kan være feil.">
            <a:extLst>
              <a:ext uri="{FF2B5EF4-FFF2-40B4-BE49-F238E27FC236}">
                <a16:creationId xmlns:a16="http://schemas.microsoft.com/office/drawing/2014/main" id="{B63F3FAE-6DC3-4801-2ED8-1ADB0E86788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414" t="-286" r="66790" b="286"/>
          <a:stretch/>
        </p:blipFill>
        <p:spPr>
          <a:xfrm>
            <a:off x="8391623" y="285066"/>
            <a:ext cx="368897" cy="455830"/>
          </a:xfrm>
          <a:prstGeom prst="rect">
            <a:avLst/>
          </a:prstGeom>
        </p:spPr>
      </p:pic>
      <p:sp>
        <p:nvSpPr>
          <p:cNvPr id="4" name="Text Placeholder 6">
            <a:extLst>
              <a:ext uri="{FF2B5EF4-FFF2-40B4-BE49-F238E27FC236}">
                <a16:creationId xmlns:a16="http://schemas.microsoft.com/office/drawing/2014/main" id="{0625B9CA-6521-A00B-A9D9-134B5CF00821}"/>
              </a:ext>
            </a:extLst>
          </p:cNvPr>
          <p:cNvSpPr>
            <a:spLocks noGrp="1" noChangeAspect="1"/>
          </p:cNvSpPr>
          <p:nvPr>
            <p:ph type="body" sz="quarter" idx="13" hasCustomPrompt="1"/>
          </p:nvPr>
        </p:nvSpPr>
        <p:spPr>
          <a:xfrm>
            <a:off x="574532" y="158841"/>
            <a:ext cx="4004871" cy="176036"/>
          </a:xfrm>
          <a:prstGeom prst="rect">
            <a:avLst/>
          </a:prstGeom>
        </p:spPr>
        <p:txBody>
          <a:bodyPr lIns="0" tIns="0" rIns="0" bIns="0" anchor="b">
            <a:noAutofit/>
          </a:bodyPr>
          <a:lstStyle>
            <a:lvl1pPr marL="0" indent="0">
              <a:spcBef>
                <a:spcPts val="0"/>
              </a:spcBef>
              <a:spcAft>
                <a:spcPts val="0"/>
              </a:spcAft>
              <a:buNone/>
              <a:defRPr sz="1200" b="0" i="0" cap="none" spc="45" baseline="0">
                <a:solidFill>
                  <a:schemeClr val="tx1"/>
                </a:solidFill>
              </a:defRPr>
            </a:lvl1pPr>
            <a:lvl5pPr>
              <a:defRPr>
                <a:solidFill>
                  <a:schemeClr val="bg1"/>
                </a:solidFill>
              </a:defRPr>
            </a:lvl5pPr>
          </a:lstStyle>
          <a:p>
            <a:pPr lvl="0"/>
            <a:r>
              <a:rPr lang="nb-NO" noProof="0"/>
              <a:t>Stikktittel</a:t>
            </a:r>
          </a:p>
        </p:txBody>
      </p:sp>
      <p:sp>
        <p:nvSpPr>
          <p:cNvPr id="11" name="Plassholder for innhold 2">
            <a:extLst>
              <a:ext uri="{FF2B5EF4-FFF2-40B4-BE49-F238E27FC236}">
                <a16:creationId xmlns:a16="http://schemas.microsoft.com/office/drawing/2014/main" id="{2D2F281D-142C-8E31-6B9C-17199E097EB0}"/>
              </a:ext>
            </a:extLst>
          </p:cNvPr>
          <p:cNvSpPr>
            <a:spLocks noGrp="1"/>
          </p:cNvSpPr>
          <p:nvPr>
            <p:ph sz="half" idx="16"/>
          </p:nvPr>
        </p:nvSpPr>
        <p:spPr>
          <a:xfrm>
            <a:off x="567129" y="1067979"/>
            <a:ext cx="3860592" cy="3682029"/>
          </a:xfrm>
        </p:spPr>
        <p:txBody>
          <a:bodyPr lIns="0" tIns="0" rIns="36000">
            <a:noAutofit/>
          </a:bodyPr>
          <a:lstStyle>
            <a:lvl1pPr marL="271463" indent="-271463">
              <a:buClr>
                <a:srgbClr val="3D9CDA"/>
              </a:buClr>
              <a:buSzPct val="130000"/>
              <a:buFont typeface="Arial" panose="020B0604020202020204" pitchFamily="34" charset="0"/>
              <a:buChar char="■"/>
              <a:defRPr sz="1500">
                <a:solidFill>
                  <a:schemeClr val="tx1"/>
                </a:solidFill>
              </a:defRPr>
            </a:lvl1pPr>
            <a:lvl2pPr marL="407194" indent="-135731">
              <a:buFont typeface="Calibri" panose="020F0502020204030204" pitchFamily="34" charset="0"/>
              <a:buChar char="−"/>
              <a:defRPr sz="1500">
                <a:solidFill>
                  <a:schemeClr val="tx1"/>
                </a:solidFill>
              </a:defRPr>
            </a:lvl2pPr>
            <a:lvl3pPr marL="534591" indent="-127397">
              <a:defRPr sz="1500">
                <a:solidFill>
                  <a:schemeClr val="tx1"/>
                </a:solidFill>
              </a:defRPr>
            </a:lvl3pPr>
            <a:lvl4pPr marL="670322" indent="-135731">
              <a:buFont typeface="Arial" panose="020B0604020202020204" pitchFamily="34" charset="0"/>
              <a:buChar char="▪"/>
              <a:defRPr sz="1500">
                <a:solidFill>
                  <a:schemeClr val="tx1"/>
                </a:solidFill>
              </a:defRPr>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sp>
        <p:nvSpPr>
          <p:cNvPr id="12" name="Plassholder for innhold 2">
            <a:extLst>
              <a:ext uri="{FF2B5EF4-FFF2-40B4-BE49-F238E27FC236}">
                <a16:creationId xmlns:a16="http://schemas.microsoft.com/office/drawing/2014/main" id="{15B28E7A-DF2F-422E-EB35-DCCE3E2D3A8F}"/>
              </a:ext>
            </a:extLst>
          </p:cNvPr>
          <p:cNvSpPr>
            <a:spLocks noGrp="1"/>
          </p:cNvSpPr>
          <p:nvPr>
            <p:ph sz="half" idx="17"/>
          </p:nvPr>
        </p:nvSpPr>
        <p:spPr>
          <a:xfrm>
            <a:off x="4716281" y="1067979"/>
            <a:ext cx="3848017" cy="3682029"/>
          </a:xfrm>
        </p:spPr>
        <p:txBody>
          <a:bodyPr lIns="0" tIns="0" rIns="36000">
            <a:noAutofit/>
          </a:bodyPr>
          <a:lstStyle>
            <a:lvl1pPr marL="271463" indent="-271463">
              <a:buClr>
                <a:srgbClr val="3D9CDA"/>
              </a:buClr>
              <a:buSzPct val="130000"/>
              <a:buFont typeface="Arial" panose="020B0604020202020204" pitchFamily="34" charset="0"/>
              <a:buChar char="■"/>
              <a:defRPr sz="1500">
                <a:solidFill>
                  <a:schemeClr val="tx1"/>
                </a:solidFill>
              </a:defRPr>
            </a:lvl1pPr>
            <a:lvl2pPr marL="407194" indent="-135731">
              <a:buFont typeface="Calibri" panose="020F0502020204030204" pitchFamily="34" charset="0"/>
              <a:buChar char="−"/>
              <a:defRPr sz="1500">
                <a:solidFill>
                  <a:schemeClr val="tx1"/>
                </a:solidFill>
              </a:defRPr>
            </a:lvl2pPr>
            <a:lvl3pPr marL="534591" indent="-127397">
              <a:defRPr sz="1500">
                <a:solidFill>
                  <a:schemeClr val="tx1"/>
                </a:solidFill>
              </a:defRPr>
            </a:lvl3pPr>
            <a:lvl4pPr marL="670322" indent="-135731">
              <a:buFont typeface="Arial" panose="020B0604020202020204" pitchFamily="34" charset="0"/>
              <a:buChar char="▪"/>
              <a:defRPr sz="1500">
                <a:solidFill>
                  <a:schemeClr val="tx1"/>
                </a:solidFill>
              </a:defRPr>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spTree>
    <p:extLst>
      <p:ext uri="{BB962C8B-B14F-4D97-AF65-F5344CB8AC3E}">
        <p14:creationId xmlns:p14="http://schemas.microsoft.com/office/powerpoint/2010/main" val="202064420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Standard to kolonner">
    <p:spTree>
      <p:nvGrpSpPr>
        <p:cNvPr id="1" name=""/>
        <p:cNvGrpSpPr/>
        <p:nvPr/>
      </p:nvGrpSpPr>
      <p:grpSpPr>
        <a:xfrm>
          <a:off x="0" y="0"/>
          <a:ext cx="0" cy="0"/>
          <a:chOff x="0" y="0"/>
          <a:chExt cx="0" cy="0"/>
        </a:xfrm>
      </p:grpSpPr>
      <p:sp>
        <p:nvSpPr>
          <p:cNvPr id="2" name="TekstSylinder 1">
            <a:extLst>
              <a:ext uri="{FF2B5EF4-FFF2-40B4-BE49-F238E27FC236}">
                <a16:creationId xmlns:a16="http://schemas.microsoft.com/office/drawing/2014/main" id="{D771AF1C-FDE2-4B76-8893-FC459A658A1A}"/>
              </a:ext>
            </a:extLst>
          </p:cNvPr>
          <p:cNvSpPr txBox="1"/>
          <p:nvPr userDrawn="1"/>
        </p:nvSpPr>
        <p:spPr>
          <a:xfrm>
            <a:off x="8246795" y="4828493"/>
            <a:ext cx="329277" cy="207749"/>
          </a:xfrm>
          <a:prstGeom prst="rect">
            <a:avLst/>
          </a:prstGeom>
          <a:noFill/>
        </p:spPr>
        <p:txBody>
          <a:bodyPr wrap="square" rIns="0" rtlCol="0">
            <a:spAutoFit/>
          </a:bodyPr>
          <a:lstStyle/>
          <a:p>
            <a:pPr algn="r"/>
            <a:fld id="{C25C054F-90E3-43D3-9F5F-0765C525DF5A}" type="slidenum">
              <a:rPr lang="nb-NO" sz="750" smtClean="0">
                <a:solidFill>
                  <a:schemeClr val="accent2"/>
                </a:solidFill>
              </a:rPr>
              <a:pPr algn="r"/>
              <a:t>‹#›</a:t>
            </a:fld>
            <a:endParaRPr lang="nb-NO" sz="750">
              <a:solidFill>
                <a:schemeClr val="accent2"/>
              </a:solidFill>
            </a:endParaRPr>
          </a:p>
        </p:txBody>
      </p:sp>
      <p:sp>
        <p:nvSpPr>
          <p:cNvPr id="5" name="Rubrik 1">
            <a:extLst>
              <a:ext uri="{FF2B5EF4-FFF2-40B4-BE49-F238E27FC236}">
                <a16:creationId xmlns:a16="http://schemas.microsoft.com/office/drawing/2014/main" id="{71AA3A7C-C809-6F8E-1002-3FF548362E2F}"/>
              </a:ext>
            </a:extLst>
          </p:cNvPr>
          <p:cNvSpPr>
            <a:spLocks noGrp="1"/>
          </p:cNvSpPr>
          <p:nvPr>
            <p:ph type="title" hasCustomPrompt="1"/>
          </p:nvPr>
        </p:nvSpPr>
        <p:spPr>
          <a:xfrm>
            <a:off x="567130" y="285067"/>
            <a:ext cx="7679666" cy="455830"/>
          </a:xfrm>
        </p:spPr>
        <p:txBody>
          <a:bodyPr lIns="0">
            <a:normAutofit/>
          </a:bodyPr>
          <a:lstStyle>
            <a:lvl1pPr>
              <a:defRPr sz="2100" b="0">
                <a:solidFill>
                  <a:schemeClr val="tx1"/>
                </a:solidFill>
              </a:defRPr>
            </a:lvl1pPr>
          </a:lstStyle>
          <a:p>
            <a:r>
              <a:rPr lang="nb-NO" noProof="0"/>
              <a:t>Overskrift</a:t>
            </a:r>
          </a:p>
        </p:txBody>
      </p:sp>
      <p:pic>
        <p:nvPicPr>
          <p:cNvPr id="3" name="Plassholder for innhold 14" descr="Et bilde som inneholder Grafikk, skjermbilde, logo, Font&#10;&#10;KI-generert innhold kan være feil.">
            <a:extLst>
              <a:ext uri="{FF2B5EF4-FFF2-40B4-BE49-F238E27FC236}">
                <a16:creationId xmlns:a16="http://schemas.microsoft.com/office/drawing/2014/main" id="{B63F3FAE-6DC3-4801-2ED8-1ADB0E86788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414" t="-286" r="66790" b="286"/>
          <a:stretch/>
        </p:blipFill>
        <p:spPr>
          <a:xfrm>
            <a:off x="8391623" y="285066"/>
            <a:ext cx="368897" cy="455830"/>
          </a:xfrm>
          <a:prstGeom prst="rect">
            <a:avLst/>
          </a:prstGeom>
        </p:spPr>
      </p:pic>
      <p:sp>
        <p:nvSpPr>
          <p:cNvPr id="4" name="Text Placeholder 6">
            <a:extLst>
              <a:ext uri="{FF2B5EF4-FFF2-40B4-BE49-F238E27FC236}">
                <a16:creationId xmlns:a16="http://schemas.microsoft.com/office/drawing/2014/main" id="{0625B9CA-6521-A00B-A9D9-134B5CF00821}"/>
              </a:ext>
            </a:extLst>
          </p:cNvPr>
          <p:cNvSpPr>
            <a:spLocks noGrp="1" noChangeAspect="1"/>
          </p:cNvSpPr>
          <p:nvPr>
            <p:ph type="body" sz="quarter" idx="13" hasCustomPrompt="1"/>
          </p:nvPr>
        </p:nvSpPr>
        <p:spPr>
          <a:xfrm>
            <a:off x="574532" y="158841"/>
            <a:ext cx="4004871" cy="176036"/>
          </a:xfrm>
          <a:prstGeom prst="rect">
            <a:avLst/>
          </a:prstGeom>
        </p:spPr>
        <p:txBody>
          <a:bodyPr lIns="0" tIns="0" rIns="0" bIns="0" anchor="b">
            <a:noAutofit/>
          </a:bodyPr>
          <a:lstStyle>
            <a:lvl1pPr marL="0" indent="0">
              <a:spcBef>
                <a:spcPts val="0"/>
              </a:spcBef>
              <a:spcAft>
                <a:spcPts val="0"/>
              </a:spcAft>
              <a:buNone/>
              <a:defRPr sz="1200" b="0" i="0" cap="none" spc="45" baseline="0">
                <a:solidFill>
                  <a:schemeClr val="tx1"/>
                </a:solidFill>
              </a:defRPr>
            </a:lvl1pPr>
            <a:lvl5pPr>
              <a:defRPr>
                <a:solidFill>
                  <a:schemeClr val="bg1"/>
                </a:solidFill>
              </a:defRPr>
            </a:lvl5pPr>
          </a:lstStyle>
          <a:p>
            <a:pPr lvl="0"/>
            <a:r>
              <a:rPr lang="nb-NO" noProof="0"/>
              <a:t>Stikktittel</a:t>
            </a:r>
          </a:p>
        </p:txBody>
      </p:sp>
      <p:sp>
        <p:nvSpPr>
          <p:cNvPr id="6" name="Rektangel: avrundede hjørner 5">
            <a:extLst>
              <a:ext uri="{FF2B5EF4-FFF2-40B4-BE49-F238E27FC236}">
                <a16:creationId xmlns:a16="http://schemas.microsoft.com/office/drawing/2014/main" id="{942C3D8B-81A9-6AED-146B-498CE15F67F4}"/>
              </a:ext>
            </a:extLst>
          </p:cNvPr>
          <p:cNvSpPr/>
          <p:nvPr userDrawn="1"/>
        </p:nvSpPr>
        <p:spPr>
          <a:xfrm>
            <a:off x="4674701" y="1059655"/>
            <a:ext cx="3891660" cy="3768836"/>
          </a:xfrm>
          <a:prstGeom prst="roundRect">
            <a:avLst>
              <a:gd name="adj" fmla="val 4089"/>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243000" rtlCol="0" anchor="ctr"/>
          <a:lstStyle/>
          <a:p>
            <a:pPr algn="ctr"/>
            <a:endParaRPr lang="nb-NO" sz="1350">
              <a:solidFill>
                <a:schemeClr val="tx1"/>
              </a:solidFill>
            </a:endParaRPr>
          </a:p>
        </p:txBody>
      </p:sp>
      <p:sp>
        <p:nvSpPr>
          <p:cNvPr id="7" name="Rektangel: avrundede hjørner 6">
            <a:extLst>
              <a:ext uri="{FF2B5EF4-FFF2-40B4-BE49-F238E27FC236}">
                <a16:creationId xmlns:a16="http://schemas.microsoft.com/office/drawing/2014/main" id="{A25CCC5D-C888-4149-1857-CE6D92837E55}"/>
              </a:ext>
            </a:extLst>
          </p:cNvPr>
          <p:cNvSpPr/>
          <p:nvPr userDrawn="1"/>
        </p:nvSpPr>
        <p:spPr>
          <a:xfrm>
            <a:off x="557734" y="1059656"/>
            <a:ext cx="3911567" cy="3768836"/>
          </a:xfrm>
          <a:prstGeom prst="roundRect">
            <a:avLst>
              <a:gd name="adj" fmla="val 4089"/>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1350">
              <a:solidFill>
                <a:schemeClr val="tx1"/>
              </a:solidFill>
            </a:endParaRPr>
          </a:p>
        </p:txBody>
      </p:sp>
      <p:sp>
        <p:nvSpPr>
          <p:cNvPr id="12" name="Plassholder for innhold 2">
            <a:extLst>
              <a:ext uri="{FF2B5EF4-FFF2-40B4-BE49-F238E27FC236}">
                <a16:creationId xmlns:a16="http://schemas.microsoft.com/office/drawing/2014/main" id="{7B5E1724-72C6-EF5D-3718-45157101D359}"/>
              </a:ext>
            </a:extLst>
          </p:cNvPr>
          <p:cNvSpPr>
            <a:spLocks noGrp="1"/>
          </p:cNvSpPr>
          <p:nvPr>
            <p:ph sz="half" idx="14"/>
          </p:nvPr>
        </p:nvSpPr>
        <p:spPr>
          <a:xfrm>
            <a:off x="4672637" y="1067979"/>
            <a:ext cx="3891661" cy="3682029"/>
          </a:xfrm>
        </p:spPr>
        <p:txBody>
          <a:bodyPr lIns="108000" tIns="108000" rIns="36000">
            <a:noAutofit/>
          </a:bodyPr>
          <a:lstStyle>
            <a:lvl1pPr marL="271463" indent="-271463">
              <a:buClr>
                <a:srgbClr val="3D9CDA"/>
              </a:buClr>
              <a:buSzPct val="130000"/>
              <a:buFont typeface="Arial" panose="020B0604020202020204" pitchFamily="34" charset="0"/>
              <a:buChar char="■"/>
              <a:defRPr sz="1500">
                <a:solidFill>
                  <a:schemeClr val="tx1"/>
                </a:solidFill>
              </a:defRPr>
            </a:lvl1pPr>
            <a:lvl2pPr marL="407194" indent="-135731">
              <a:buFont typeface="Calibri" panose="020F0502020204030204" pitchFamily="34" charset="0"/>
              <a:buChar char="−"/>
              <a:defRPr sz="1500">
                <a:solidFill>
                  <a:schemeClr val="tx1"/>
                </a:solidFill>
              </a:defRPr>
            </a:lvl2pPr>
            <a:lvl3pPr marL="534591" indent="-127397">
              <a:defRPr sz="1500">
                <a:solidFill>
                  <a:schemeClr val="tx1"/>
                </a:solidFill>
              </a:defRPr>
            </a:lvl3pPr>
            <a:lvl4pPr marL="670322" indent="-135731">
              <a:buFont typeface="Arial" panose="020B0604020202020204" pitchFamily="34" charset="0"/>
              <a:buChar char="▪"/>
              <a:defRPr sz="1500">
                <a:solidFill>
                  <a:schemeClr val="tx1"/>
                </a:solidFill>
              </a:defRPr>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sp>
        <p:nvSpPr>
          <p:cNvPr id="13" name="Plassholder for innhold 2">
            <a:extLst>
              <a:ext uri="{FF2B5EF4-FFF2-40B4-BE49-F238E27FC236}">
                <a16:creationId xmlns:a16="http://schemas.microsoft.com/office/drawing/2014/main" id="{1901384C-2A19-434A-132D-57545D610BD1}"/>
              </a:ext>
            </a:extLst>
          </p:cNvPr>
          <p:cNvSpPr>
            <a:spLocks noGrp="1"/>
          </p:cNvSpPr>
          <p:nvPr>
            <p:ph sz="half" idx="16"/>
          </p:nvPr>
        </p:nvSpPr>
        <p:spPr>
          <a:xfrm>
            <a:off x="555670" y="1059655"/>
            <a:ext cx="3911567" cy="3682029"/>
          </a:xfrm>
        </p:spPr>
        <p:txBody>
          <a:bodyPr lIns="108000" tIns="108000" rIns="36000">
            <a:noAutofit/>
          </a:bodyPr>
          <a:lstStyle>
            <a:lvl1pPr marL="271463" indent="-271463">
              <a:buClr>
                <a:srgbClr val="3D9CDA"/>
              </a:buClr>
              <a:buSzPct val="130000"/>
              <a:buFont typeface="Arial" panose="020B0604020202020204" pitchFamily="34" charset="0"/>
              <a:buChar char="■"/>
              <a:defRPr sz="1500">
                <a:solidFill>
                  <a:schemeClr val="tx1"/>
                </a:solidFill>
              </a:defRPr>
            </a:lvl1pPr>
            <a:lvl2pPr marL="407194" indent="-135731">
              <a:buFont typeface="Calibri" panose="020F0502020204030204" pitchFamily="34" charset="0"/>
              <a:buChar char="−"/>
              <a:defRPr sz="1500">
                <a:solidFill>
                  <a:schemeClr val="tx1"/>
                </a:solidFill>
              </a:defRPr>
            </a:lvl2pPr>
            <a:lvl3pPr marL="534591" indent="-127397">
              <a:defRPr sz="1500">
                <a:solidFill>
                  <a:schemeClr val="tx1"/>
                </a:solidFill>
              </a:defRPr>
            </a:lvl3pPr>
            <a:lvl4pPr marL="670322" indent="-135731">
              <a:buFont typeface="Arial" panose="020B0604020202020204" pitchFamily="34" charset="0"/>
              <a:buChar char="▪"/>
              <a:defRPr sz="1500">
                <a:solidFill>
                  <a:schemeClr val="tx1"/>
                </a:solidFill>
              </a:defRPr>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spTree>
    <p:extLst>
      <p:ext uri="{BB962C8B-B14F-4D97-AF65-F5344CB8AC3E}">
        <p14:creationId xmlns:p14="http://schemas.microsoft.com/office/powerpoint/2010/main" val="10047445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odelt: tekst + illustrasjon">
    <p:spTree>
      <p:nvGrpSpPr>
        <p:cNvPr id="1" name=""/>
        <p:cNvGrpSpPr/>
        <p:nvPr/>
      </p:nvGrpSpPr>
      <p:grpSpPr>
        <a:xfrm>
          <a:off x="0" y="0"/>
          <a:ext cx="0" cy="0"/>
          <a:chOff x="0" y="0"/>
          <a:chExt cx="0" cy="0"/>
        </a:xfrm>
      </p:grpSpPr>
      <p:sp>
        <p:nvSpPr>
          <p:cNvPr id="2" name="TekstSylinder 1">
            <a:extLst>
              <a:ext uri="{FF2B5EF4-FFF2-40B4-BE49-F238E27FC236}">
                <a16:creationId xmlns:a16="http://schemas.microsoft.com/office/drawing/2014/main" id="{D771AF1C-FDE2-4B76-8893-FC459A658A1A}"/>
              </a:ext>
            </a:extLst>
          </p:cNvPr>
          <p:cNvSpPr txBox="1"/>
          <p:nvPr userDrawn="1"/>
        </p:nvSpPr>
        <p:spPr>
          <a:xfrm>
            <a:off x="8246795" y="4828493"/>
            <a:ext cx="329277" cy="207749"/>
          </a:xfrm>
          <a:prstGeom prst="rect">
            <a:avLst/>
          </a:prstGeom>
          <a:noFill/>
        </p:spPr>
        <p:txBody>
          <a:bodyPr wrap="square" rIns="0" rtlCol="0">
            <a:spAutoFit/>
          </a:bodyPr>
          <a:lstStyle/>
          <a:p>
            <a:pPr algn="r"/>
            <a:fld id="{C25C054F-90E3-43D3-9F5F-0765C525DF5A}" type="slidenum">
              <a:rPr lang="nb-NO" sz="750" smtClean="0">
                <a:solidFill>
                  <a:schemeClr val="tx1"/>
                </a:solidFill>
              </a:rPr>
              <a:pPr algn="r"/>
              <a:t>‹#›</a:t>
            </a:fld>
            <a:endParaRPr lang="nb-NO" sz="750">
              <a:solidFill>
                <a:schemeClr val="tx1"/>
              </a:solidFill>
            </a:endParaRPr>
          </a:p>
        </p:txBody>
      </p:sp>
      <p:sp>
        <p:nvSpPr>
          <p:cNvPr id="5" name="Rubrik 1">
            <a:extLst>
              <a:ext uri="{FF2B5EF4-FFF2-40B4-BE49-F238E27FC236}">
                <a16:creationId xmlns:a16="http://schemas.microsoft.com/office/drawing/2014/main" id="{71AA3A7C-C809-6F8E-1002-3FF548362E2F}"/>
              </a:ext>
            </a:extLst>
          </p:cNvPr>
          <p:cNvSpPr>
            <a:spLocks noGrp="1"/>
          </p:cNvSpPr>
          <p:nvPr>
            <p:ph type="title" hasCustomPrompt="1"/>
          </p:nvPr>
        </p:nvSpPr>
        <p:spPr>
          <a:xfrm>
            <a:off x="567130" y="285067"/>
            <a:ext cx="7679666" cy="455830"/>
          </a:xfrm>
        </p:spPr>
        <p:txBody>
          <a:bodyPr lIns="0">
            <a:normAutofit/>
          </a:bodyPr>
          <a:lstStyle>
            <a:lvl1pPr>
              <a:defRPr sz="2100" b="0">
                <a:solidFill>
                  <a:schemeClr val="tx1"/>
                </a:solidFill>
              </a:defRPr>
            </a:lvl1pPr>
          </a:lstStyle>
          <a:p>
            <a:r>
              <a:rPr lang="nb-NO" noProof="0"/>
              <a:t>Overskrift</a:t>
            </a:r>
          </a:p>
        </p:txBody>
      </p:sp>
      <p:sp>
        <p:nvSpPr>
          <p:cNvPr id="11" name="Rektangel: avrundede hjørner 10">
            <a:extLst>
              <a:ext uri="{FF2B5EF4-FFF2-40B4-BE49-F238E27FC236}">
                <a16:creationId xmlns:a16="http://schemas.microsoft.com/office/drawing/2014/main" id="{A4678B37-CBD5-582C-4EA8-F70C216188A2}"/>
              </a:ext>
            </a:extLst>
          </p:cNvPr>
          <p:cNvSpPr/>
          <p:nvPr userDrawn="1"/>
        </p:nvSpPr>
        <p:spPr>
          <a:xfrm>
            <a:off x="4705422" y="1067192"/>
            <a:ext cx="3860591" cy="3698908"/>
          </a:xfrm>
          <a:prstGeom prst="roundRect">
            <a:avLst>
              <a:gd name="adj" fmla="val 2860"/>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1350">
              <a:solidFill>
                <a:schemeClr val="tx1"/>
              </a:solidFill>
            </a:endParaRPr>
          </a:p>
        </p:txBody>
      </p:sp>
      <p:pic>
        <p:nvPicPr>
          <p:cNvPr id="3" name="Plassholder for innhold 14" descr="Et bilde som inneholder Grafikk, skjermbilde, logo, Font&#10;&#10;KI-generert innhold kan være feil.">
            <a:extLst>
              <a:ext uri="{FF2B5EF4-FFF2-40B4-BE49-F238E27FC236}">
                <a16:creationId xmlns:a16="http://schemas.microsoft.com/office/drawing/2014/main" id="{CCCFEBE7-DC9E-22EF-E64B-4FDB04174D7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414" t="-286" r="66790" b="286"/>
          <a:stretch/>
        </p:blipFill>
        <p:spPr>
          <a:xfrm>
            <a:off x="8391623" y="285066"/>
            <a:ext cx="368897" cy="455830"/>
          </a:xfrm>
          <a:prstGeom prst="rect">
            <a:avLst/>
          </a:prstGeom>
        </p:spPr>
      </p:pic>
      <p:sp>
        <p:nvSpPr>
          <p:cNvPr id="4" name="Text Placeholder 6">
            <a:extLst>
              <a:ext uri="{FF2B5EF4-FFF2-40B4-BE49-F238E27FC236}">
                <a16:creationId xmlns:a16="http://schemas.microsoft.com/office/drawing/2014/main" id="{289028A5-BB4E-49A8-4AE2-B4289822D3ED}"/>
              </a:ext>
            </a:extLst>
          </p:cNvPr>
          <p:cNvSpPr>
            <a:spLocks noGrp="1" noChangeAspect="1"/>
          </p:cNvSpPr>
          <p:nvPr>
            <p:ph type="body" sz="quarter" idx="13" hasCustomPrompt="1"/>
          </p:nvPr>
        </p:nvSpPr>
        <p:spPr>
          <a:xfrm>
            <a:off x="574532" y="158841"/>
            <a:ext cx="4004871" cy="176036"/>
          </a:xfrm>
          <a:prstGeom prst="rect">
            <a:avLst/>
          </a:prstGeom>
        </p:spPr>
        <p:txBody>
          <a:bodyPr lIns="0" tIns="0" rIns="0" bIns="0" anchor="b">
            <a:noAutofit/>
          </a:bodyPr>
          <a:lstStyle>
            <a:lvl1pPr marL="0" indent="0">
              <a:spcBef>
                <a:spcPts val="0"/>
              </a:spcBef>
              <a:spcAft>
                <a:spcPts val="0"/>
              </a:spcAft>
              <a:buNone/>
              <a:defRPr sz="1200" b="0" i="0" cap="none" spc="45" baseline="0">
                <a:solidFill>
                  <a:schemeClr val="tx1"/>
                </a:solidFill>
              </a:defRPr>
            </a:lvl1pPr>
            <a:lvl5pPr>
              <a:defRPr>
                <a:solidFill>
                  <a:schemeClr val="bg1"/>
                </a:solidFill>
              </a:defRPr>
            </a:lvl5pPr>
          </a:lstStyle>
          <a:p>
            <a:pPr lvl="0"/>
            <a:r>
              <a:rPr lang="nb-NO" noProof="0"/>
              <a:t>Stikktittel</a:t>
            </a:r>
          </a:p>
        </p:txBody>
      </p:sp>
      <p:sp>
        <p:nvSpPr>
          <p:cNvPr id="6" name="Plassholder for innhold 2">
            <a:extLst>
              <a:ext uri="{FF2B5EF4-FFF2-40B4-BE49-F238E27FC236}">
                <a16:creationId xmlns:a16="http://schemas.microsoft.com/office/drawing/2014/main" id="{5484213B-092D-E4C0-11D2-D9898BCE06F1}"/>
              </a:ext>
            </a:extLst>
          </p:cNvPr>
          <p:cNvSpPr>
            <a:spLocks noGrp="1"/>
          </p:cNvSpPr>
          <p:nvPr>
            <p:ph sz="half" idx="16"/>
          </p:nvPr>
        </p:nvSpPr>
        <p:spPr>
          <a:xfrm>
            <a:off x="567129" y="1067979"/>
            <a:ext cx="3860592" cy="3682029"/>
          </a:xfrm>
        </p:spPr>
        <p:txBody>
          <a:bodyPr lIns="0" tIns="0" rIns="36000">
            <a:noAutofit/>
          </a:bodyPr>
          <a:lstStyle>
            <a:lvl1pPr marL="271463" indent="-271463">
              <a:buClr>
                <a:srgbClr val="3D9CDA"/>
              </a:buClr>
              <a:buSzPct val="130000"/>
              <a:buFont typeface="Arial" panose="020B0604020202020204" pitchFamily="34" charset="0"/>
              <a:buChar char="■"/>
              <a:defRPr sz="1500">
                <a:solidFill>
                  <a:schemeClr val="tx1"/>
                </a:solidFill>
              </a:defRPr>
            </a:lvl1pPr>
            <a:lvl2pPr marL="407194" indent="-135731">
              <a:buFont typeface="Calibri" panose="020F0502020204030204" pitchFamily="34" charset="0"/>
              <a:buChar char="−"/>
              <a:defRPr sz="1500">
                <a:solidFill>
                  <a:schemeClr val="tx1"/>
                </a:solidFill>
              </a:defRPr>
            </a:lvl2pPr>
            <a:lvl3pPr marL="534591" indent="-127397">
              <a:defRPr sz="1500">
                <a:solidFill>
                  <a:schemeClr val="tx1"/>
                </a:solidFill>
              </a:defRPr>
            </a:lvl3pPr>
            <a:lvl4pPr marL="670322" indent="-135731">
              <a:buFont typeface="Arial" panose="020B0604020202020204" pitchFamily="34" charset="0"/>
              <a:buChar char="▪"/>
              <a:defRPr sz="1500">
                <a:solidFill>
                  <a:schemeClr val="tx1"/>
                </a:solidFill>
              </a:defRPr>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spTree>
    <p:extLst>
      <p:ext uri="{BB962C8B-B14F-4D97-AF65-F5344CB8AC3E}">
        <p14:creationId xmlns:p14="http://schemas.microsoft.com/office/powerpoint/2010/main" val="57462345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odelt: bilde + tekst">
    <p:spTree>
      <p:nvGrpSpPr>
        <p:cNvPr id="1" name=""/>
        <p:cNvGrpSpPr/>
        <p:nvPr/>
      </p:nvGrpSpPr>
      <p:grpSpPr>
        <a:xfrm>
          <a:off x="0" y="0"/>
          <a:ext cx="0" cy="0"/>
          <a:chOff x="0" y="0"/>
          <a:chExt cx="0" cy="0"/>
        </a:xfrm>
      </p:grpSpPr>
      <p:sp>
        <p:nvSpPr>
          <p:cNvPr id="6" name="Plassholder for innhold 2">
            <a:extLst>
              <a:ext uri="{FF2B5EF4-FFF2-40B4-BE49-F238E27FC236}">
                <a16:creationId xmlns:a16="http://schemas.microsoft.com/office/drawing/2014/main" id="{7FDAAD5F-AD22-1B6F-F380-8FE38DE3A737}"/>
              </a:ext>
            </a:extLst>
          </p:cNvPr>
          <p:cNvSpPr>
            <a:spLocks noGrp="1"/>
          </p:cNvSpPr>
          <p:nvPr>
            <p:ph sz="half" idx="16"/>
          </p:nvPr>
        </p:nvSpPr>
        <p:spPr>
          <a:xfrm>
            <a:off x="4895819" y="1067979"/>
            <a:ext cx="3668478" cy="3682029"/>
          </a:xfrm>
        </p:spPr>
        <p:txBody>
          <a:bodyPr lIns="0" tIns="0" rIns="36000">
            <a:noAutofit/>
          </a:bodyPr>
          <a:lstStyle>
            <a:lvl1pPr marL="271463" indent="-271463">
              <a:buClr>
                <a:srgbClr val="3D9CDA"/>
              </a:buClr>
              <a:buSzPct val="130000"/>
              <a:buFont typeface="Arial" panose="020B0604020202020204" pitchFamily="34" charset="0"/>
              <a:buChar char="■"/>
              <a:defRPr sz="1500">
                <a:solidFill>
                  <a:schemeClr val="tx1"/>
                </a:solidFill>
              </a:defRPr>
            </a:lvl1pPr>
            <a:lvl2pPr marL="407194" indent="-135731">
              <a:buFont typeface="Calibri" panose="020F0502020204030204" pitchFamily="34" charset="0"/>
              <a:buChar char="−"/>
              <a:defRPr sz="1500">
                <a:solidFill>
                  <a:schemeClr val="tx1"/>
                </a:solidFill>
              </a:defRPr>
            </a:lvl2pPr>
            <a:lvl3pPr marL="534591" indent="-127397">
              <a:defRPr sz="1500">
                <a:solidFill>
                  <a:schemeClr val="tx1"/>
                </a:solidFill>
              </a:defRPr>
            </a:lvl3pPr>
            <a:lvl4pPr marL="670322" indent="-135731">
              <a:buFont typeface="Arial" panose="020B0604020202020204" pitchFamily="34" charset="0"/>
              <a:buChar char="▪"/>
              <a:defRPr sz="1500">
                <a:solidFill>
                  <a:schemeClr val="tx1"/>
                </a:solidFill>
              </a:defRPr>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sp>
        <p:nvSpPr>
          <p:cNvPr id="2" name="TekstSylinder 1">
            <a:extLst>
              <a:ext uri="{FF2B5EF4-FFF2-40B4-BE49-F238E27FC236}">
                <a16:creationId xmlns:a16="http://schemas.microsoft.com/office/drawing/2014/main" id="{4D050D39-B1ED-408C-9CC9-A0CEF4DA6150}"/>
              </a:ext>
            </a:extLst>
          </p:cNvPr>
          <p:cNvSpPr txBox="1"/>
          <p:nvPr userDrawn="1"/>
        </p:nvSpPr>
        <p:spPr>
          <a:xfrm>
            <a:off x="8246795" y="4828493"/>
            <a:ext cx="329277" cy="207749"/>
          </a:xfrm>
          <a:prstGeom prst="rect">
            <a:avLst/>
          </a:prstGeom>
          <a:noFill/>
        </p:spPr>
        <p:txBody>
          <a:bodyPr wrap="square" rIns="0" rtlCol="0">
            <a:spAutoFit/>
          </a:bodyPr>
          <a:lstStyle/>
          <a:p>
            <a:pPr algn="r"/>
            <a:fld id="{C25C054F-90E3-43D3-9F5F-0765C525DF5A}" type="slidenum">
              <a:rPr lang="nb-NO" sz="750" smtClean="0">
                <a:solidFill>
                  <a:schemeClr val="accent2"/>
                </a:solidFill>
              </a:rPr>
              <a:pPr algn="r"/>
              <a:t>‹#›</a:t>
            </a:fld>
            <a:endParaRPr lang="nb-NO" sz="750">
              <a:solidFill>
                <a:schemeClr val="accent2"/>
              </a:solidFill>
            </a:endParaRPr>
          </a:p>
        </p:txBody>
      </p:sp>
      <p:sp>
        <p:nvSpPr>
          <p:cNvPr id="4" name="Rubrik 1">
            <a:extLst>
              <a:ext uri="{FF2B5EF4-FFF2-40B4-BE49-F238E27FC236}">
                <a16:creationId xmlns:a16="http://schemas.microsoft.com/office/drawing/2014/main" id="{9BE90FBB-427D-07A4-14DE-F02A39414237}"/>
              </a:ext>
            </a:extLst>
          </p:cNvPr>
          <p:cNvSpPr>
            <a:spLocks noGrp="1"/>
          </p:cNvSpPr>
          <p:nvPr>
            <p:ph type="title" hasCustomPrompt="1"/>
          </p:nvPr>
        </p:nvSpPr>
        <p:spPr>
          <a:xfrm>
            <a:off x="4898572" y="285067"/>
            <a:ext cx="3348224" cy="455830"/>
          </a:xfrm>
        </p:spPr>
        <p:txBody>
          <a:bodyPr lIns="0">
            <a:normAutofit/>
          </a:bodyPr>
          <a:lstStyle>
            <a:lvl1pPr>
              <a:defRPr sz="2100" b="0">
                <a:solidFill>
                  <a:schemeClr val="tx1"/>
                </a:solidFill>
              </a:defRPr>
            </a:lvl1pPr>
          </a:lstStyle>
          <a:p>
            <a:r>
              <a:rPr lang="nb-NO" noProof="0"/>
              <a:t>Overskrift</a:t>
            </a:r>
          </a:p>
        </p:txBody>
      </p:sp>
      <p:pic>
        <p:nvPicPr>
          <p:cNvPr id="5" name="Plassholder for innhold 14" descr="Et bilde som inneholder Grafikk, skjermbilde, logo, Font&#10;&#10;KI-generert innhold kan være feil.">
            <a:extLst>
              <a:ext uri="{FF2B5EF4-FFF2-40B4-BE49-F238E27FC236}">
                <a16:creationId xmlns:a16="http://schemas.microsoft.com/office/drawing/2014/main" id="{DE4095A1-DCC3-6764-EBA5-7871935F49C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414" t="-286" r="66790" b="286"/>
          <a:stretch/>
        </p:blipFill>
        <p:spPr>
          <a:xfrm>
            <a:off x="8391623" y="285066"/>
            <a:ext cx="368897" cy="455830"/>
          </a:xfrm>
          <a:prstGeom prst="rect">
            <a:avLst/>
          </a:prstGeom>
        </p:spPr>
      </p:pic>
      <p:sp>
        <p:nvSpPr>
          <p:cNvPr id="3" name="Plassholder for bilde 2">
            <a:extLst>
              <a:ext uri="{FF2B5EF4-FFF2-40B4-BE49-F238E27FC236}">
                <a16:creationId xmlns:a16="http://schemas.microsoft.com/office/drawing/2014/main" id="{6CA354B5-4A12-E9DB-ED20-34B662D9ED0E}"/>
              </a:ext>
            </a:extLst>
          </p:cNvPr>
          <p:cNvSpPr>
            <a:spLocks noGrp="1"/>
          </p:cNvSpPr>
          <p:nvPr>
            <p:ph type="pic" idx="15"/>
          </p:nvPr>
        </p:nvSpPr>
        <p:spPr>
          <a:xfrm>
            <a:off x="265" y="-1446"/>
            <a:ext cx="4571735" cy="5144946"/>
          </a:xfrm>
        </p:spPr>
        <p:txBody>
          <a:bodyPr>
            <a:normAutofit/>
          </a:bodyPr>
          <a:lstStyle>
            <a:lvl1pPr marL="0" indent="0" algn="ctr">
              <a:buNone/>
              <a:defRPr sz="1050">
                <a:solidFill>
                  <a:schemeClr val="tx1"/>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b-NO"/>
              <a:t>Klikk på ikonet for å legge til et bilde</a:t>
            </a:r>
          </a:p>
        </p:txBody>
      </p:sp>
      <p:sp>
        <p:nvSpPr>
          <p:cNvPr id="8" name="Text Placeholder 6">
            <a:extLst>
              <a:ext uri="{FF2B5EF4-FFF2-40B4-BE49-F238E27FC236}">
                <a16:creationId xmlns:a16="http://schemas.microsoft.com/office/drawing/2014/main" id="{4EBAC268-4F22-4A76-ADE4-167CBF183DA9}"/>
              </a:ext>
            </a:extLst>
          </p:cNvPr>
          <p:cNvSpPr>
            <a:spLocks noGrp="1" noChangeAspect="1"/>
          </p:cNvSpPr>
          <p:nvPr>
            <p:ph type="body" sz="quarter" idx="13" hasCustomPrompt="1"/>
          </p:nvPr>
        </p:nvSpPr>
        <p:spPr>
          <a:xfrm>
            <a:off x="4898571" y="158841"/>
            <a:ext cx="3253876" cy="176036"/>
          </a:xfrm>
          <a:prstGeom prst="rect">
            <a:avLst/>
          </a:prstGeom>
        </p:spPr>
        <p:txBody>
          <a:bodyPr lIns="0" tIns="0" rIns="0" bIns="0" anchor="b">
            <a:noAutofit/>
          </a:bodyPr>
          <a:lstStyle>
            <a:lvl1pPr marL="0" indent="0">
              <a:spcBef>
                <a:spcPts val="0"/>
              </a:spcBef>
              <a:spcAft>
                <a:spcPts val="0"/>
              </a:spcAft>
              <a:buNone/>
              <a:defRPr sz="1200" b="0" i="0" cap="none" spc="45" baseline="0">
                <a:solidFill>
                  <a:schemeClr val="tx1"/>
                </a:solidFill>
              </a:defRPr>
            </a:lvl1pPr>
            <a:lvl5pPr>
              <a:defRPr>
                <a:solidFill>
                  <a:schemeClr val="bg1"/>
                </a:solidFill>
              </a:defRPr>
            </a:lvl5pPr>
          </a:lstStyle>
          <a:p>
            <a:pPr lvl="0"/>
            <a:r>
              <a:rPr lang="nb-NO" noProof="0"/>
              <a:t>Stikktittel</a:t>
            </a:r>
          </a:p>
        </p:txBody>
      </p:sp>
    </p:spTree>
    <p:extLst>
      <p:ext uri="{BB962C8B-B14F-4D97-AF65-F5344CB8AC3E}">
        <p14:creationId xmlns:p14="http://schemas.microsoft.com/office/powerpoint/2010/main" val="333859111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redelt: bilde + tekst + tekst">
    <p:spTree>
      <p:nvGrpSpPr>
        <p:cNvPr id="1" name=""/>
        <p:cNvGrpSpPr/>
        <p:nvPr/>
      </p:nvGrpSpPr>
      <p:grpSpPr>
        <a:xfrm>
          <a:off x="0" y="0"/>
          <a:ext cx="0" cy="0"/>
          <a:chOff x="0" y="0"/>
          <a:chExt cx="0" cy="0"/>
        </a:xfrm>
      </p:grpSpPr>
      <p:sp>
        <p:nvSpPr>
          <p:cNvPr id="2" name="TekstSylinder 1">
            <a:extLst>
              <a:ext uri="{FF2B5EF4-FFF2-40B4-BE49-F238E27FC236}">
                <a16:creationId xmlns:a16="http://schemas.microsoft.com/office/drawing/2014/main" id="{633047B1-EB84-4AF4-A42B-C9870F6F3877}"/>
              </a:ext>
            </a:extLst>
          </p:cNvPr>
          <p:cNvSpPr txBox="1"/>
          <p:nvPr userDrawn="1"/>
        </p:nvSpPr>
        <p:spPr>
          <a:xfrm>
            <a:off x="8246795" y="4828493"/>
            <a:ext cx="329277" cy="207749"/>
          </a:xfrm>
          <a:prstGeom prst="rect">
            <a:avLst/>
          </a:prstGeom>
          <a:noFill/>
        </p:spPr>
        <p:txBody>
          <a:bodyPr wrap="square" rIns="0" rtlCol="0">
            <a:spAutoFit/>
          </a:bodyPr>
          <a:lstStyle/>
          <a:p>
            <a:pPr algn="r"/>
            <a:fld id="{C25C054F-90E3-43D3-9F5F-0765C525DF5A}" type="slidenum">
              <a:rPr lang="nb-NO" sz="750" smtClean="0">
                <a:solidFill>
                  <a:schemeClr val="accent2"/>
                </a:solidFill>
              </a:rPr>
              <a:pPr algn="r"/>
              <a:t>‹#›</a:t>
            </a:fld>
            <a:endParaRPr lang="nb-NO" sz="750">
              <a:solidFill>
                <a:schemeClr val="accent2"/>
              </a:solidFill>
            </a:endParaRPr>
          </a:p>
        </p:txBody>
      </p:sp>
      <p:sp>
        <p:nvSpPr>
          <p:cNvPr id="9" name="Plassholder for bilde 2">
            <a:extLst>
              <a:ext uri="{FF2B5EF4-FFF2-40B4-BE49-F238E27FC236}">
                <a16:creationId xmlns:a16="http://schemas.microsoft.com/office/drawing/2014/main" id="{E352CC65-63DA-4462-B6FB-7438B018A0E8}"/>
              </a:ext>
            </a:extLst>
          </p:cNvPr>
          <p:cNvSpPr>
            <a:spLocks noGrp="1"/>
          </p:cNvSpPr>
          <p:nvPr>
            <p:ph type="pic" idx="1"/>
          </p:nvPr>
        </p:nvSpPr>
        <p:spPr>
          <a:xfrm>
            <a:off x="266" y="-1446"/>
            <a:ext cx="3069166" cy="5144946"/>
          </a:xfrm>
        </p:spPr>
        <p:txBody>
          <a:bodyPr>
            <a:normAutofit/>
          </a:bodyPr>
          <a:lstStyle>
            <a:lvl1pPr marL="0" indent="0" algn="ctr">
              <a:buNone/>
              <a:defRPr sz="1050">
                <a:solidFill>
                  <a:schemeClr val="tx1"/>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b-NO"/>
              <a:t>Klikk på ikonet for å legge til et bilde</a:t>
            </a:r>
          </a:p>
        </p:txBody>
      </p:sp>
      <p:sp>
        <p:nvSpPr>
          <p:cNvPr id="4" name="Rubrik 1">
            <a:extLst>
              <a:ext uri="{FF2B5EF4-FFF2-40B4-BE49-F238E27FC236}">
                <a16:creationId xmlns:a16="http://schemas.microsoft.com/office/drawing/2014/main" id="{49046DF7-45B9-6DE2-9B01-61AC6D3CFEDA}"/>
              </a:ext>
            </a:extLst>
          </p:cNvPr>
          <p:cNvSpPr>
            <a:spLocks noGrp="1"/>
          </p:cNvSpPr>
          <p:nvPr>
            <p:ph type="title" hasCustomPrompt="1"/>
          </p:nvPr>
        </p:nvSpPr>
        <p:spPr>
          <a:xfrm>
            <a:off x="3278865" y="285067"/>
            <a:ext cx="4967930" cy="455830"/>
          </a:xfrm>
        </p:spPr>
        <p:txBody>
          <a:bodyPr lIns="0">
            <a:normAutofit/>
          </a:bodyPr>
          <a:lstStyle>
            <a:lvl1pPr>
              <a:defRPr sz="2100" b="0">
                <a:solidFill>
                  <a:schemeClr val="tx1"/>
                </a:solidFill>
              </a:defRPr>
            </a:lvl1pPr>
          </a:lstStyle>
          <a:p>
            <a:r>
              <a:rPr lang="nb-NO" noProof="0"/>
              <a:t>Overskrift</a:t>
            </a:r>
          </a:p>
        </p:txBody>
      </p:sp>
      <p:pic>
        <p:nvPicPr>
          <p:cNvPr id="5" name="Plassholder for innhold 14" descr="Et bilde som inneholder Grafikk, skjermbilde, logo, Font&#10;&#10;KI-generert innhold kan være feil.">
            <a:extLst>
              <a:ext uri="{FF2B5EF4-FFF2-40B4-BE49-F238E27FC236}">
                <a16:creationId xmlns:a16="http://schemas.microsoft.com/office/drawing/2014/main" id="{E44E3AAB-2923-B5A9-3BE3-0168D4E2914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414" t="-286" r="66790" b="286"/>
          <a:stretch/>
        </p:blipFill>
        <p:spPr>
          <a:xfrm>
            <a:off x="8391623" y="285066"/>
            <a:ext cx="368897" cy="455830"/>
          </a:xfrm>
          <a:prstGeom prst="rect">
            <a:avLst/>
          </a:prstGeom>
        </p:spPr>
      </p:pic>
      <p:sp>
        <p:nvSpPr>
          <p:cNvPr id="3" name="Text Placeholder 6">
            <a:extLst>
              <a:ext uri="{FF2B5EF4-FFF2-40B4-BE49-F238E27FC236}">
                <a16:creationId xmlns:a16="http://schemas.microsoft.com/office/drawing/2014/main" id="{2FC7FB2F-460C-F29C-1AD6-BEC8EFE4D4EA}"/>
              </a:ext>
            </a:extLst>
          </p:cNvPr>
          <p:cNvSpPr>
            <a:spLocks noGrp="1" noChangeAspect="1"/>
          </p:cNvSpPr>
          <p:nvPr>
            <p:ph type="body" sz="quarter" idx="13" hasCustomPrompt="1"/>
          </p:nvPr>
        </p:nvSpPr>
        <p:spPr>
          <a:xfrm>
            <a:off x="3283716" y="158841"/>
            <a:ext cx="4004871" cy="176036"/>
          </a:xfrm>
          <a:prstGeom prst="rect">
            <a:avLst/>
          </a:prstGeom>
        </p:spPr>
        <p:txBody>
          <a:bodyPr lIns="0" tIns="0" rIns="0" bIns="0" anchor="b">
            <a:noAutofit/>
          </a:bodyPr>
          <a:lstStyle>
            <a:lvl1pPr marL="0" indent="0">
              <a:spcBef>
                <a:spcPts val="0"/>
              </a:spcBef>
              <a:spcAft>
                <a:spcPts val="0"/>
              </a:spcAft>
              <a:buNone/>
              <a:defRPr sz="1200" b="0" i="0" cap="none" spc="45" baseline="0">
                <a:solidFill>
                  <a:schemeClr val="tx1"/>
                </a:solidFill>
              </a:defRPr>
            </a:lvl1pPr>
            <a:lvl5pPr>
              <a:defRPr>
                <a:solidFill>
                  <a:schemeClr val="bg1"/>
                </a:solidFill>
              </a:defRPr>
            </a:lvl5pPr>
          </a:lstStyle>
          <a:p>
            <a:pPr lvl="0"/>
            <a:r>
              <a:rPr lang="nb-NO" noProof="0"/>
              <a:t>Stikktittel</a:t>
            </a:r>
          </a:p>
        </p:txBody>
      </p:sp>
      <p:sp>
        <p:nvSpPr>
          <p:cNvPr id="6" name="Plassholder for innhold 2">
            <a:extLst>
              <a:ext uri="{FF2B5EF4-FFF2-40B4-BE49-F238E27FC236}">
                <a16:creationId xmlns:a16="http://schemas.microsoft.com/office/drawing/2014/main" id="{D664378B-CB59-4636-BFA4-EC11AC9A4D48}"/>
              </a:ext>
            </a:extLst>
          </p:cNvPr>
          <p:cNvSpPr>
            <a:spLocks noGrp="1"/>
          </p:cNvSpPr>
          <p:nvPr>
            <p:ph sz="half" idx="16"/>
          </p:nvPr>
        </p:nvSpPr>
        <p:spPr>
          <a:xfrm>
            <a:off x="3278864" y="1067979"/>
            <a:ext cx="5297208" cy="3682029"/>
          </a:xfrm>
        </p:spPr>
        <p:txBody>
          <a:bodyPr lIns="108000" tIns="108000" rIns="36000">
            <a:noAutofit/>
          </a:bodyPr>
          <a:lstStyle>
            <a:lvl1pPr marL="271463" indent="-271463">
              <a:buClr>
                <a:srgbClr val="3D9CDA"/>
              </a:buClr>
              <a:buSzPct val="130000"/>
              <a:buFont typeface="Arial" panose="020B0604020202020204" pitchFamily="34" charset="0"/>
              <a:buChar char="■"/>
              <a:defRPr sz="1500">
                <a:solidFill>
                  <a:schemeClr val="tx1"/>
                </a:solidFill>
              </a:defRPr>
            </a:lvl1pPr>
            <a:lvl2pPr marL="407194" indent="-135731">
              <a:buFont typeface="Calibri" panose="020F0502020204030204" pitchFamily="34" charset="0"/>
              <a:buChar char="−"/>
              <a:defRPr sz="1500">
                <a:solidFill>
                  <a:schemeClr val="tx1"/>
                </a:solidFill>
              </a:defRPr>
            </a:lvl2pPr>
            <a:lvl3pPr marL="534591" indent="-127397">
              <a:defRPr sz="1500">
                <a:solidFill>
                  <a:schemeClr val="tx1"/>
                </a:solidFill>
              </a:defRPr>
            </a:lvl3pPr>
            <a:lvl4pPr marL="670322" indent="-135731">
              <a:buFont typeface="Arial" panose="020B0604020202020204" pitchFamily="34" charset="0"/>
              <a:buChar char="▪"/>
              <a:defRPr sz="1500">
                <a:solidFill>
                  <a:schemeClr val="tx1"/>
                </a:solidFill>
              </a:defRPr>
            </a:lvl4pPr>
            <a:lvl5pPr marL="806054" indent="-135731">
              <a:tabLst/>
              <a:defRPr sz="1350"/>
            </a:lvl5pPr>
          </a:lstStyle>
          <a:p>
            <a:pPr lvl="0"/>
            <a:r>
              <a:rPr lang="nb-NO"/>
              <a:t>Klikk for å redigere tekststiler i malen</a:t>
            </a:r>
          </a:p>
          <a:p>
            <a:pPr lvl="1"/>
            <a:r>
              <a:rPr lang="nb-NO"/>
              <a:t>Andre nivå</a:t>
            </a:r>
          </a:p>
          <a:p>
            <a:pPr lvl="2"/>
            <a:r>
              <a:rPr lang="nb-NO"/>
              <a:t>Tredje nivå</a:t>
            </a:r>
          </a:p>
          <a:p>
            <a:pPr lvl="3"/>
            <a:r>
              <a:rPr lang="nb-NO"/>
              <a:t>Fjerde nivå</a:t>
            </a:r>
          </a:p>
        </p:txBody>
      </p:sp>
    </p:spTree>
    <p:extLst>
      <p:ext uri="{BB962C8B-B14F-4D97-AF65-F5344CB8AC3E}">
        <p14:creationId xmlns:p14="http://schemas.microsoft.com/office/powerpoint/2010/main" val="1805195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9" Type="http://schemas.openxmlformats.org/officeDocument/2006/relationships/slideLayout" Target="../slideLayouts/slideLayout58.xml"/><Relationship Id="rId21" Type="http://schemas.openxmlformats.org/officeDocument/2006/relationships/slideLayout" Target="../slideLayouts/slideLayout40.xml"/><Relationship Id="rId34" Type="http://schemas.openxmlformats.org/officeDocument/2006/relationships/slideLayout" Target="../slideLayouts/slideLayout53.xml"/><Relationship Id="rId42" Type="http://schemas.openxmlformats.org/officeDocument/2006/relationships/slideLayout" Target="../slideLayouts/slideLayout61.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29" Type="http://schemas.openxmlformats.org/officeDocument/2006/relationships/slideLayout" Target="../slideLayouts/slideLayout48.xml"/><Relationship Id="rId41" Type="http://schemas.openxmlformats.org/officeDocument/2006/relationships/slideLayout" Target="../slideLayouts/slideLayout60.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32" Type="http://schemas.openxmlformats.org/officeDocument/2006/relationships/slideLayout" Target="../slideLayouts/slideLayout51.xml"/><Relationship Id="rId37" Type="http://schemas.openxmlformats.org/officeDocument/2006/relationships/slideLayout" Target="../slideLayouts/slideLayout56.xml"/><Relationship Id="rId40" Type="http://schemas.openxmlformats.org/officeDocument/2006/relationships/slideLayout" Target="../slideLayouts/slideLayout59.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36" Type="http://schemas.openxmlformats.org/officeDocument/2006/relationships/slideLayout" Target="../slideLayouts/slideLayout55.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31" Type="http://schemas.openxmlformats.org/officeDocument/2006/relationships/slideLayout" Target="../slideLayouts/slideLayout50.xml"/><Relationship Id="rId44" Type="http://schemas.openxmlformats.org/officeDocument/2006/relationships/image" Target="../media/image6.png"/><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slideLayout" Target="../slideLayouts/slideLayout49.xml"/><Relationship Id="rId35" Type="http://schemas.openxmlformats.org/officeDocument/2006/relationships/slideLayout" Target="../slideLayouts/slideLayout54.xml"/><Relationship Id="rId43" Type="http://schemas.openxmlformats.org/officeDocument/2006/relationships/theme" Target="../theme/theme2.xml"/><Relationship Id="rId8" Type="http://schemas.openxmlformats.org/officeDocument/2006/relationships/slideLayout" Target="../slideLayouts/slideLayout27.xml"/><Relationship Id="rId3" Type="http://schemas.openxmlformats.org/officeDocument/2006/relationships/slideLayout" Target="../slideLayouts/slideLayout22.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33" Type="http://schemas.openxmlformats.org/officeDocument/2006/relationships/slideLayout" Target="../slideLayouts/slideLayout52.xml"/><Relationship Id="rId38" Type="http://schemas.openxmlformats.org/officeDocument/2006/relationships/slideLayout" Target="../slideLayouts/slideLayout5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34" Type="http://schemas.openxmlformats.org/officeDocument/2006/relationships/image" Target="../media/image15.emf"/><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oleObject" Target="../embeddings/oleObject1.bin"/><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tags" Target="../tags/tag1.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theme" Target="../theme/theme3.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 Id="rId35" Type="http://schemas.openxmlformats.org/officeDocument/2006/relationships/image" Target="../media/image16.emf"/><Relationship Id="rId8" Type="http://schemas.openxmlformats.org/officeDocument/2006/relationships/slideLayout" Target="../slideLayouts/slideLayout6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theme" Target="../theme/theme4.xml"/><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10" Type="http://schemas.openxmlformats.org/officeDocument/2006/relationships/slideLayout" Target="../slideLayouts/slideLayout101.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26" Type="http://schemas.openxmlformats.org/officeDocument/2006/relationships/slideLayout" Target="../slideLayouts/slideLayout134.xml"/><Relationship Id="rId3" Type="http://schemas.openxmlformats.org/officeDocument/2006/relationships/slideLayout" Target="../slideLayouts/slideLayout111.xml"/><Relationship Id="rId21" Type="http://schemas.openxmlformats.org/officeDocument/2006/relationships/slideLayout" Target="../slideLayouts/slideLayout129.xml"/><Relationship Id="rId7" Type="http://schemas.openxmlformats.org/officeDocument/2006/relationships/slideLayout" Target="../slideLayouts/slideLayout115.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5" Type="http://schemas.openxmlformats.org/officeDocument/2006/relationships/slideLayout" Target="../slideLayouts/slideLayout133.xml"/><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0" Type="http://schemas.openxmlformats.org/officeDocument/2006/relationships/slideLayout" Target="../slideLayouts/slideLayout128.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24" Type="http://schemas.openxmlformats.org/officeDocument/2006/relationships/slideLayout" Target="../slideLayouts/slideLayout132.xml"/><Relationship Id="rId5" Type="http://schemas.openxmlformats.org/officeDocument/2006/relationships/slideLayout" Target="../slideLayouts/slideLayout113.xml"/><Relationship Id="rId15" Type="http://schemas.openxmlformats.org/officeDocument/2006/relationships/slideLayout" Target="../slideLayouts/slideLayout123.xml"/><Relationship Id="rId23" Type="http://schemas.openxmlformats.org/officeDocument/2006/relationships/slideLayout" Target="../slideLayouts/slideLayout131.xml"/><Relationship Id="rId28" Type="http://schemas.openxmlformats.org/officeDocument/2006/relationships/theme" Target="../theme/theme5.xml"/><Relationship Id="rId10" Type="http://schemas.openxmlformats.org/officeDocument/2006/relationships/slideLayout" Target="../slideLayouts/slideLayout118.xml"/><Relationship Id="rId19" Type="http://schemas.openxmlformats.org/officeDocument/2006/relationships/slideLayout" Target="../slideLayouts/slideLayout127.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slideLayout" Target="../slideLayouts/slideLayout130.xml"/><Relationship Id="rId27" Type="http://schemas.openxmlformats.org/officeDocument/2006/relationships/slideLayout" Target="../slideLayouts/slideLayout13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image" Target="../media/image50.png"/><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26" Type="http://schemas.openxmlformats.org/officeDocument/2006/relationships/slideLayout" Target="../slideLayouts/slideLayout182.xml"/><Relationship Id="rId39" Type="http://schemas.openxmlformats.org/officeDocument/2006/relationships/slideLayout" Target="../slideLayouts/slideLayout195.xml"/><Relationship Id="rId21" Type="http://schemas.openxmlformats.org/officeDocument/2006/relationships/slideLayout" Target="../slideLayouts/slideLayout177.xml"/><Relationship Id="rId34" Type="http://schemas.openxmlformats.org/officeDocument/2006/relationships/slideLayout" Target="../slideLayouts/slideLayout190.xml"/><Relationship Id="rId42" Type="http://schemas.openxmlformats.org/officeDocument/2006/relationships/slideLayout" Target="../slideLayouts/slideLayout198.xml"/><Relationship Id="rId7" Type="http://schemas.openxmlformats.org/officeDocument/2006/relationships/slideLayout" Target="../slideLayouts/slideLayout163.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9" Type="http://schemas.openxmlformats.org/officeDocument/2006/relationships/slideLayout" Target="../slideLayouts/slideLayout185.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24" Type="http://schemas.openxmlformats.org/officeDocument/2006/relationships/slideLayout" Target="../slideLayouts/slideLayout180.xml"/><Relationship Id="rId32" Type="http://schemas.openxmlformats.org/officeDocument/2006/relationships/slideLayout" Target="../slideLayouts/slideLayout188.xml"/><Relationship Id="rId37" Type="http://schemas.openxmlformats.org/officeDocument/2006/relationships/slideLayout" Target="../slideLayouts/slideLayout193.xml"/><Relationship Id="rId40" Type="http://schemas.openxmlformats.org/officeDocument/2006/relationships/slideLayout" Target="../slideLayouts/slideLayout196.xml"/><Relationship Id="rId45" Type="http://schemas.openxmlformats.org/officeDocument/2006/relationships/theme" Target="../theme/theme7.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23" Type="http://schemas.openxmlformats.org/officeDocument/2006/relationships/slideLayout" Target="../slideLayouts/slideLayout179.xml"/><Relationship Id="rId28" Type="http://schemas.openxmlformats.org/officeDocument/2006/relationships/slideLayout" Target="../slideLayouts/slideLayout184.xml"/><Relationship Id="rId36" Type="http://schemas.openxmlformats.org/officeDocument/2006/relationships/slideLayout" Target="../slideLayouts/slideLayout192.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31" Type="http://schemas.openxmlformats.org/officeDocument/2006/relationships/slideLayout" Target="../slideLayouts/slideLayout187.xml"/><Relationship Id="rId44" Type="http://schemas.openxmlformats.org/officeDocument/2006/relationships/slideLayout" Target="../slideLayouts/slideLayout200.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 Id="rId22" Type="http://schemas.openxmlformats.org/officeDocument/2006/relationships/slideLayout" Target="../slideLayouts/slideLayout178.xml"/><Relationship Id="rId27" Type="http://schemas.openxmlformats.org/officeDocument/2006/relationships/slideLayout" Target="../slideLayouts/slideLayout183.xml"/><Relationship Id="rId30" Type="http://schemas.openxmlformats.org/officeDocument/2006/relationships/slideLayout" Target="../slideLayouts/slideLayout186.xml"/><Relationship Id="rId35" Type="http://schemas.openxmlformats.org/officeDocument/2006/relationships/slideLayout" Target="../slideLayouts/slideLayout191.xml"/><Relationship Id="rId43" Type="http://schemas.openxmlformats.org/officeDocument/2006/relationships/slideLayout" Target="../slideLayouts/slideLayout199.xml"/><Relationship Id="rId8" Type="http://schemas.openxmlformats.org/officeDocument/2006/relationships/slideLayout" Target="../slideLayouts/slideLayout164.xml"/><Relationship Id="rId3" Type="http://schemas.openxmlformats.org/officeDocument/2006/relationships/slideLayout" Target="../slideLayouts/slideLayout159.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5" Type="http://schemas.openxmlformats.org/officeDocument/2006/relationships/slideLayout" Target="../slideLayouts/slideLayout181.xml"/><Relationship Id="rId33" Type="http://schemas.openxmlformats.org/officeDocument/2006/relationships/slideLayout" Target="../slideLayouts/slideLayout189.xml"/><Relationship Id="rId38" Type="http://schemas.openxmlformats.org/officeDocument/2006/relationships/slideLayout" Target="../slideLayouts/slideLayout194.xml"/><Relationship Id="rId46" Type="http://schemas.openxmlformats.org/officeDocument/2006/relationships/image" Target="../media/image56.png"/><Relationship Id="rId20" Type="http://schemas.openxmlformats.org/officeDocument/2006/relationships/slideLayout" Target="../slideLayouts/slideLayout176.xml"/><Relationship Id="rId41" Type="http://schemas.openxmlformats.org/officeDocument/2006/relationships/slideLayout" Target="../slideLayouts/slideLayout19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7303424"/>
      </p:ext>
    </p:extLst>
  </p:cSld>
  <p:clrMap bg1="lt1" tx1="dk1" bg2="lt2" tx2="dk2" accent1="accent1" accent2="accent2" accent3="accent3" accent4="accent4" accent5="accent5" accent6="accent6" hlink="hlink" folHlink="folHlink"/>
  <p:sldLayoutIdLst>
    <p:sldLayoutId id="2147483700" r:id="rId1"/>
    <p:sldLayoutId id="2147483660" r:id="rId2"/>
    <p:sldLayoutId id="2147483670" r:id="rId3"/>
    <p:sldLayoutId id="2147483663" r:id="rId4"/>
    <p:sldLayoutId id="2147483675" r:id="rId5"/>
    <p:sldLayoutId id="2147483671" r:id="rId6"/>
    <p:sldLayoutId id="2147483664" r:id="rId7"/>
    <p:sldLayoutId id="2147483676" r:id="rId8"/>
    <p:sldLayoutId id="2147483677" r:id="rId9"/>
    <p:sldLayoutId id="2147483678" r:id="rId10"/>
    <p:sldLayoutId id="2147483679" r:id="rId11"/>
    <p:sldLayoutId id="2147483680" r:id="rId12"/>
    <p:sldLayoutId id="2147483702" r:id="rId13"/>
    <p:sldLayoutId id="2147483665" r:id="rId14"/>
    <p:sldLayoutId id="2147483681" r:id="rId15"/>
    <p:sldLayoutId id="2147483667" r:id="rId16"/>
    <p:sldLayoutId id="2147483666" r:id="rId17"/>
    <p:sldLayoutId id="2147483668" r:id="rId18"/>
    <p:sldLayoutId id="2147483850" r:id="rId19"/>
  </p:sldLayoutIdLst>
  <p:hf hdr="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sv-S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21B44F85-5E5C-44FB-825C-4C7C87207B37}"/>
              </a:ext>
            </a:extLst>
          </p:cNvPr>
          <p:cNvSpPr>
            <a:spLocks noGrp="1"/>
          </p:cNvSpPr>
          <p:nvPr>
            <p:ph type="title"/>
          </p:nvPr>
        </p:nvSpPr>
        <p:spPr>
          <a:xfrm>
            <a:off x="469900" y="254000"/>
            <a:ext cx="8204200" cy="687388"/>
          </a:xfrm>
          <a:prstGeom prst="rect">
            <a:avLst/>
          </a:prstGeom>
        </p:spPr>
        <p:txBody>
          <a:bodyPr vert="horz" lIns="0" tIns="0" rIns="0" bIns="0" rtlCol="0" anchor="t" anchorCtr="0">
            <a:noAutofit/>
          </a:bodyPr>
          <a:lstStyle/>
          <a:p>
            <a:r>
              <a:rPr lang="sv-SE"/>
              <a:t>Klicka här för att ändra mall för rubrikformat</a:t>
            </a:r>
          </a:p>
        </p:txBody>
      </p:sp>
      <p:sp>
        <p:nvSpPr>
          <p:cNvPr id="3" name="Platshållare för text 2">
            <a:extLst>
              <a:ext uri="{FF2B5EF4-FFF2-40B4-BE49-F238E27FC236}">
                <a16:creationId xmlns:a16="http://schemas.microsoft.com/office/drawing/2014/main" id="{D5CE24C1-D518-4955-BF6B-FD6B9E8081A6}"/>
              </a:ext>
            </a:extLst>
          </p:cNvPr>
          <p:cNvSpPr>
            <a:spLocks noGrp="1"/>
          </p:cNvSpPr>
          <p:nvPr>
            <p:ph type="body" idx="1"/>
          </p:nvPr>
        </p:nvSpPr>
        <p:spPr>
          <a:xfrm>
            <a:off x="469900" y="1068388"/>
            <a:ext cx="8204200" cy="3564335"/>
          </a:xfrm>
          <a:prstGeom prst="rect">
            <a:avLst/>
          </a:prstGeom>
        </p:spPr>
        <p:txBody>
          <a:bodyPr vert="horz" lIns="0" tIns="0" rIns="0" bIns="0" rtlCol="0">
            <a:norm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a:p>
            <a:pPr lvl="5"/>
            <a:r>
              <a:rPr lang="sv-SE"/>
              <a:t>Nivå sex</a:t>
            </a:r>
          </a:p>
          <a:p>
            <a:pPr lvl="6"/>
            <a:r>
              <a:rPr lang="sv-SE"/>
              <a:t>Nivå sju</a:t>
            </a:r>
          </a:p>
          <a:p>
            <a:pPr lvl="7"/>
            <a:r>
              <a:rPr lang="sv-SE"/>
              <a:t>Nivå </a:t>
            </a:r>
            <a:r>
              <a:rPr lang="sv-SE" err="1"/>
              <a:t>atta</a:t>
            </a:r>
            <a:endParaRPr lang="sv-SE"/>
          </a:p>
          <a:p>
            <a:pPr lvl="8"/>
            <a:r>
              <a:rPr lang="sv-SE"/>
              <a:t>Nivå nio</a:t>
            </a:r>
          </a:p>
          <a:p>
            <a:pPr lvl="4"/>
            <a:endParaRPr lang="sv-SE"/>
          </a:p>
        </p:txBody>
      </p:sp>
      <p:sp>
        <p:nvSpPr>
          <p:cNvPr id="5" name="Platshållare för sidfot 4">
            <a:extLst>
              <a:ext uri="{FF2B5EF4-FFF2-40B4-BE49-F238E27FC236}">
                <a16:creationId xmlns:a16="http://schemas.microsoft.com/office/drawing/2014/main" id="{1789695D-7F0E-47A9-9DA5-AF97F6AB79D7}"/>
              </a:ext>
            </a:extLst>
          </p:cNvPr>
          <p:cNvSpPr>
            <a:spLocks noGrp="1"/>
          </p:cNvSpPr>
          <p:nvPr>
            <p:ph type="ftr" sz="quarter" idx="3"/>
          </p:nvPr>
        </p:nvSpPr>
        <p:spPr>
          <a:xfrm>
            <a:off x="2552700" y="4615656"/>
            <a:ext cx="5426075" cy="273844"/>
          </a:xfrm>
          <a:prstGeom prst="rect">
            <a:avLst/>
          </a:prstGeom>
        </p:spPr>
        <p:txBody>
          <a:bodyPr vert="horz" lIns="0" tIns="0" rIns="0" bIns="0" rtlCol="0" anchor="b" anchorCtr="0"/>
          <a:lstStyle>
            <a:lvl1pPr algn="r">
              <a:defRPr sz="900" b="1">
                <a:solidFill>
                  <a:schemeClr val="tx2"/>
                </a:solidFill>
              </a:defRPr>
            </a:lvl1pPr>
          </a:lstStyle>
          <a:p>
            <a:r>
              <a:rPr lang="en-US"/>
              <a:t>Stakeholder Forum Agenda - Classification: External</a:t>
            </a:r>
            <a:endParaRPr lang="sv-SE"/>
          </a:p>
        </p:txBody>
      </p:sp>
      <p:sp>
        <p:nvSpPr>
          <p:cNvPr id="6" name="Platshållare för bildnummer 5">
            <a:extLst>
              <a:ext uri="{FF2B5EF4-FFF2-40B4-BE49-F238E27FC236}">
                <a16:creationId xmlns:a16="http://schemas.microsoft.com/office/drawing/2014/main" id="{AEFE2D2D-01C1-4D4D-A436-7A02FBDCA340}"/>
              </a:ext>
            </a:extLst>
          </p:cNvPr>
          <p:cNvSpPr>
            <a:spLocks noGrp="1"/>
          </p:cNvSpPr>
          <p:nvPr>
            <p:ph type="sldNum" sz="quarter" idx="4"/>
          </p:nvPr>
        </p:nvSpPr>
        <p:spPr>
          <a:xfrm>
            <a:off x="8105775" y="4615656"/>
            <a:ext cx="784225" cy="273844"/>
          </a:xfrm>
          <a:prstGeom prst="rect">
            <a:avLst/>
          </a:prstGeom>
        </p:spPr>
        <p:txBody>
          <a:bodyPr vert="horz" lIns="0" tIns="0" rIns="0" bIns="0" rtlCol="0" anchor="b" anchorCtr="0"/>
          <a:lstStyle>
            <a:lvl1pPr algn="r">
              <a:defRPr sz="800">
                <a:solidFill>
                  <a:schemeClr val="tx1"/>
                </a:solidFill>
              </a:defRPr>
            </a:lvl1pPr>
          </a:lstStyle>
          <a:p>
            <a:fld id="{7D1488FD-E232-4E0B-A7C7-33537D0EAE2C}" type="slidenum">
              <a:rPr lang="sv-SE" smtClean="0"/>
              <a:pPr/>
              <a:t>‹#›</a:t>
            </a:fld>
            <a:endParaRPr lang="sv-SE"/>
          </a:p>
        </p:txBody>
      </p:sp>
      <p:pic>
        <p:nvPicPr>
          <p:cNvPr id="8" name="Bild 9">
            <a:extLst>
              <a:ext uri="{FF2B5EF4-FFF2-40B4-BE49-F238E27FC236}">
                <a16:creationId xmlns:a16="http://schemas.microsoft.com/office/drawing/2014/main" id="{8CB0CEE2-3FBA-4FDE-B792-19C209F5FC4A}"/>
              </a:ext>
            </a:extLst>
          </p:cNvPr>
          <p:cNvPicPr>
            <a:picLocks noChangeAspect="1"/>
          </p:cNvPicPr>
          <p:nvPr userDrawn="1"/>
        </p:nvPicPr>
        <p:blipFill>
          <a:blip r:embed="rId44" cstate="print">
            <a:extLst>
              <a:ext uri="{28A0092B-C50C-407E-A947-70E740481C1C}">
                <a14:useLocalDpi xmlns:a14="http://schemas.microsoft.com/office/drawing/2010/main" val="0"/>
              </a:ext>
            </a:extLst>
          </a:blip>
          <a:srcRect/>
          <a:stretch/>
        </p:blipFill>
        <p:spPr>
          <a:xfrm>
            <a:off x="474670" y="4258192"/>
            <a:ext cx="499754" cy="706300"/>
          </a:xfrm>
          <a:prstGeom prst="rect">
            <a:avLst/>
          </a:prstGeom>
        </p:spPr>
      </p:pic>
      <p:sp>
        <p:nvSpPr>
          <p:cNvPr id="9" name="textruta 8">
            <a:extLst>
              <a:ext uri="{FF2B5EF4-FFF2-40B4-BE49-F238E27FC236}">
                <a16:creationId xmlns:a16="http://schemas.microsoft.com/office/drawing/2014/main" id="{030A9D5B-34F2-4F51-AB4A-E30EF9AC03B4}"/>
              </a:ext>
            </a:extLst>
          </p:cNvPr>
          <p:cNvSpPr txBox="1"/>
          <p:nvPr userDrawn="1"/>
        </p:nvSpPr>
        <p:spPr>
          <a:xfrm>
            <a:off x="1023798" y="4570002"/>
            <a:ext cx="2139205" cy="623248"/>
          </a:xfrm>
          <a:prstGeom prst="rect">
            <a:avLst/>
          </a:prstGeom>
          <a:noFill/>
        </p:spPr>
        <p:txBody>
          <a:bodyPr wrap="square" lIns="0" tIns="0" rIns="0" bIns="0" rtlCol="0">
            <a:noAutofit/>
          </a:bodyPr>
          <a:lstStyle/>
          <a:p>
            <a:r>
              <a:rPr lang="en-GB" sz="1200" spc="-50" baseline="0" err="1">
                <a:solidFill>
                  <a:schemeClr val="tx2"/>
                </a:solidFill>
              </a:rPr>
              <a:t>Bankinfrastruktur</a:t>
            </a:r>
            <a:br>
              <a:rPr lang="en-GB" sz="1200" spc="-50" baseline="0">
                <a:solidFill>
                  <a:schemeClr val="tx2"/>
                </a:solidFill>
              </a:rPr>
            </a:br>
            <a:r>
              <a:rPr lang="en-GB" sz="1200" spc="-50" baseline="0" err="1">
                <a:solidFill>
                  <a:schemeClr val="tx2"/>
                </a:solidFill>
              </a:rPr>
              <a:t>i</a:t>
            </a:r>
            <a:r>
              <a:rPr lang="en-GB" sz="1200" spc="-50" baseline="0">
                <a:solidFill>
                  <a:schemeClr val="tx2"/>
                </a:solidFill>
              </a:rPr>
              <a:t> Sverige </a:t>
            </a:r>
            <a:endParaRPr lang="sv-SE" sz="1200" spc="-50" baseline="0">
              <a:solidFill>
                <a:schemeClr val="tx2"/>
              </a:solidFill>
            </a:endParaRPr>
          </a:p>
        </p:txBody>
      </p:sp>
    </p:spTree>
    <p:extLst>
      <p:ext uri="{BB962C8B-B14F-4D97-AF65-F5344CB8AC3E}">
        <p14:creationId xmlns:p14="http://schemas.microsoft.com/office/powerpoint/2010/main" val="350836191"/>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 id="2147483722" r:id="rId19"/>
    <p:sldLayoutId id="2147483723" r:id="rId20"/>
    <p:sldLayoutId id="2147483724" r:id="rId21"/>
    <p:sldLayoutId id="2147483725" r:id="rId22"/>
    <p:sldLayoutId id="2147483726" r:id="rId23"/>
    <p:sldLayoutId id="2147483727" r:id="rId24"/>
    <p:sldLayoutId id="2147483728" r:id="rId25"/>
    <p:sldLayoutId id="2147483729" r:id="rId26"/>
    <p:sldLayoutId id="2147483730" r:id="rId27"/>
    <p:sldLayoutId id="2147483731" r:id="rId28"/>
    <p:sldLayoutId id="2147483732" r:id="rId29"/>
    <p:sldLayoutId id="2147483733" r:id="rId30"/>
    <p:sldLayoutId id="2147483734" r:id="rId31"/>
    <p:sldLayoutId id="2147483735" r:id="rId32"/>
    <p:sldLayoutId id="2147483736" r:id="rId33"/>
    <p:sldLayoutId id="2147483737" r:id="rId34"/>
    <p:sldLayoutId id="2147483738" r:id="rId35"/>
    <p:sldLayoutId id="2147483739" r:id="rId36"/>
    <p:sldLayoutId id="2147483740" r:id="rId37"/>
    <p:sldLayoutId id="2147483741" r:id="rId38"/>
    <p:sldLayoutId id="2147483742" r:id="rId39"/>
    <p:sldLayoutId id="2147483743" r:id="rId40"/>
    <p:sldLayoutId id="2147483744" r:id="rId41"/>
    <p:sldLayoutId id="2147483745" r:id="rId42"/>
  </p:sldLayoutIdLst>
  <p:hf hdr="0"/>
  <p:txStyles>
    <p:titleStyle>
      <a:lvl1pPr algn="l" defTabSz="685800" rtl="0" eaLnBrk="1" latinLnBrk="0" hangingPunct="1">
        <a:lnSpc>
          <a:spcPct val="100000"/>
        </a:lnSpc>
        <a:spcBef>
          <a:spcPct val="0"/>
        </a:spcBef>
        <a:buNone/>
        <a:defRPr sz="2200" b="1" kern="1200">
          <a:solidFill>
            <a:schemeClr val="tx2"/>
          </a:solidFill>
          <a:latin typeface="+mj-lt"/>
          <a:ea typeface="+mj-ea"/>
          <a:cs typeface="+mj-cs"/>
        </a:defRPr>
      </a:lvl1pPr>
    </p:titleStyle>
    <p:bodyStyle>
      <a:lvl1pPr marL="216000" indent="-216000" algn="l" defTabSz="685800" rtl="0" eaLnBrk="1" latinLnBrk="0" hangingPunct="1">
        <a:lnSpc>
          <a:spcPct val="90000"/>
        </a:lnSpc>
        <a:spcBef>
          <a:spcPts val="0"/>
        </a:spcBef>
        <a:spcAft>
          <a:spcPts val="600"/>
        </a:spcAft>
        <a:buClrTx/>
        <a:buSzPct val="70000"/>
        <a:buFont typeface="Wingdings" panose="05000000000000000000" pitchFamily="2" charset="2"/>
        <a:buChar char=""/>
        <a:tabLst>
          <a:tab pos="216000" algn="l"/>
        </a:tabLst>
        <a:defRPr sz="1400" kern="1200">
          <a:solidFill>
            <a:schemeClr val="tx2"/>
          </a:solidFill>
          <a:latin typeface="+mn-lt"/>
          <a:ea typeface="+mn-ea"/>
          <a:cs typeface="+mn-cs"/>
        </a:defRPr>
      </a:lvl1pPr>
      <a:lvl2pPr marL="288000" indent="-144000" algn="l" defTabSz="685800" rtl="0" eaLnBrk="1" latinLnBrk="0" hangingPunct="1">
        <a:lnSpc>
          <a:spcPct val="90000"/>
        </a:lnSpc>
        <a:spcBef>
          <a:spcPts val="0"/>
        </a:spcBef>
        <a:spcAft>
          <a:spcPts val="600"/>
        </a:spcAft>
        <a:buClrTx/>
        <a:buFont typeface="Calibri" panose="020F0502020204030204" pitchFamily="34" charset="0"/>
        <a:buChar char="–"/>
        <a:tabLst>
          <a:tab pos="144000" algn="l"/>
          <a:tab pos="288000" algn="l"/>
          <a:tab pos="432000" algn="l"/>
        </a:tabLst>
        <a:defRPr sz="1300" kern="1200">
          <a:solidFill>
            <a:schemeClr val="tx2"/>
          </a:solidFill>
          <a:latin typeface="+mn-lt"/>
          <a:ea typeface="+mn-ea"/>
          <a:cs typeface="+mn-cs"/>
        </a:defRPr>
      </a:lvl2pPr>
      <a:lvl3pPr marL="432000" indent="-144000" algn="l" defTabSz="685800" rtl="0" eaLnBrk="1" latinLnBrk="0" hangingPunct="1">
        <a:lnSpc>
          <a:spcPct val="90000"/>
        </a:lnSpc>
        <a:spcBef>
          <a:spcPts val="0"/>
        </a:spcBef>
        <a:spcAft>
          <a:spcPts val="600"/>
        </a:spcAft>
        <a:buClrTx/>
        <a:buFont typeface="Calibri" panose="020F0502020204030204" pitchFamily="34" charset="0"/>
        <a:buChar char="–"/>
        <a:defRPr sz="1300" kern="1200">
          <a:solidFill>
            <a:schemeClr val="tx2"/>
          </a:solidFill>
          <a:latin typeface="+mn-lt"/>
          <a:ea typeface="+mn-ea"/>
          <a:cs typeface="+mn-cs"/>
        </a:defRPr>
      </a:lvl3pPr>
      <a:lvl4pPr marL="576000" indent="-144000" algn="l" defTabSz="685800" rtl="0" eaLnBrk="1" latinLnBrk="0" hangingPunct="1">
        <a:lnSpc>
          <a:spcPct val="90000"/>
        </a:lnSpc>
        <a:spcBef>
          <a:spcPts val="0"/>
        </a:spcBef>
        <a:spcAft>
          <a:spcPts val="600"/>
        </a:spcAft>
        <a:buClrTx/>
        <a:buFont typeface="Calibri" panose="020F0502020204030204" pitchFamily="34" charset="0"/>
        <a:buChar char="–"/>
        <a:defRPr sz="1300" kern="1200">
          <a:solidFill>
            <a:schemeClr val="tx2"/>
          </a:solidFill>
          <a:latin typeface="+mn-lt"/>
          <a:ea typeface="+mn-ea"/>
          <a:cs typeface="+mn-cs"/>
        </a:defRPr>
      </a:lvl4pPr>
      <a:lvl5pPr marL="720000" indent="-144000" algn="l" defTabSz="685800" rtl="0" eaLnBrk="1" latinLnBrk="0" hangingPunct="1">
        <a:lnSpc>
          <a:spcPct val="90000"/>
        </a:lnSpc>
        <a:spcBef>
          <a:spcPts val="0"/>
        </a:spcBef>
        <a:spcAft>
          <a:spcPts val="600"/>
        </a:spcAft>
        <a:buClrTx/>
        <a:buFont typeface="Calibri" panose="020F0502020204030204" pitchFamily="34" charset="0"/>
        <a:buChar char="–"/>
        <a:defRPr sz="1300" kern="1200">
          <a:solidFill>
            <a:schemeClr val="tx2"/>
          </a:solidFill>
          <a:latin typeface="+mn-lt"/>
          <a:ea typeface="+mn-ea"/>
          <a:cs typeface="+mn-cs"/>
        </a:defRPr>
      </a:lvl5pPr>
      <a:lvl6pPr marL="864000" indent="-144000" algn="l" defTabSz="685800" rtl="0" eaLnBrk="1" latinLnBrk="0" hangingPunct="1">
        <a:lnSpc>
          <a:spcPct val="90000"/>
        </a:lnSpc>
        <a:spcBef>
          <a:spcPts val="0"/>
        </a:spcBef>
        <a:spcAft>
          <a:spcPts val="600"/>
        </a:spcAft>
        <a:buFont typeface="Calibri" panose="020F0502020204030204" pitchFamily="34" charset="0"/>
        <a:buChar char="–"/>
        <a:defRPr sz="1300" kern="1200">
          <a:solidFill>
            <a:schemeClr val="tx2"/>
          </a:solidFill>
          <a:latin typeface="+mn-lt"/>
          <a:ea typeface="+mn-ea"/>
          <a:cs typeface="+mn-cs"/>
        </a:defRPr>
      </a:lvl6pPr>
      <a:lvl7pPr marL="1008000" indent="-144000" algn="l" defTabSz="685800" rtl="0" eaLnBrk="1" latinLnBrk="0" hangingPunct="1">
        <a:lnSpc>
          <a:spcPct val="90000"/>
        </a:lnSpc>
        <a:spcBef>
          <a:spcPts val="0"/>
        </a:spcBef>
        <a:spcAft>
          <a:spcPts val="600"/>
        </a:spcAft>
        <a:buFont typeface="Calibri" panose="020F0502020204030204" pitchFamily="34" charset="0"/>
        <a:buChar char="–"/>
        <a:defRPr sz="1300" kern="1200">
          <a:solidFill>
            <a:schemeClr val="tx2"/>
          </a:solidFill>
          <a:latin typeface="+mn-lt"/>
          <a:ea typeface="+mn-ea"/>
          <a:cs typeface="+mn-cs"/>
        </a:defRPr>
      </a:lvl7pPr>
      <a:lvl8pPr marL="1152000" indent="-144000" algn="l" defTabSz="685800" rtl="0" eaLnBrk="1" latinLnBrk="0" hangingPunct="1">
        <a:lnSpc>
          <a:spcPct val="90000"/>
        </a:lnSpc>
        <a:spcBef>
          <a:spcPts val="0"/>
        </a:spcBef>
        <a:spcAft>
          <a:spcPts val="600"/>
        </a:spcAft>
        <a:buFont typeface="Calibri" panose="020F0502020204030204" pitchFamily="34" charset="0"/>
        <a:buChar char="–"/>
        <a:defRPr sz="1300" kern="1200">
          <a:solidFill>
            <a:schemeClr val="tx2"/>
          </a:solidFill>
          <a:latin typeface="+mn-lt"/>
          <a:ea typeface="+mn-ea"/>
          <a:cs typeface="+mn-cs"/>
        </a:defRPr>
      </a:lvl8pPr>
      <a:lvl9pPr marL="1296000" indent="-144000" algn="l" defTabSz="685800" rtl="0" eaLnBrk="1" latinLnBrk="0" hangingPunct="1">
        <a:lnSpc>
          <a:spcPct val="90000"/>
        </a:lnSpc>
        <a:spcBef>
          <a:spcPts val="0"/>
        </a:spcBef>
        <a:spcAft>
          <a:spcPts val="600"/>
        </a:spcAft>
        <a:buFont typeface="Calibri" panose="020F0502020204030204" pitchFamily="34" charset="0"/>
        <a:buChar char="–"/>
        <a:defRPr sz="1300" kern="1200">
          <a:solidFill>
            <a:schemeClr val="tx2"/>
          </a:solidFill>
          <a:latin typeface="+mn-lt"/>
          <a:ea typeface="+mn-ea"/>
          <a:cs typeface="+mn-cs"/>
        </a:defRPr>
      </a:lvl9pPr>
    </p:bodyStyle>
    <p:otherStyle>
      <a:defPPr>
        <a:defRPr lang="sv-S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6">
          <p15:clr>
            <a:srgbClr val="009FE2"/>
          </p15:clr>
        </p15:guide>
        <p15:guide id="2" pos="653">
          <p15:clr>
            <a:srgbClr val="009FE2"/>
          </p15:clr>
        </p15:guide>
        <p15:guide id="3" pos="733">
          <p15:clr>
            <a:srgbClr val="009FE2"/>
          </p15:clr>
        </p15:guide>
        <p15:guide id="4" pos="1088">
          <p15:clr>
            <a:srgbClr val="009FE2"/>
          </p15:clr>
        </p15:guide>
        <p15:guide id="5" pos="1170">
          <p15:clr>
            <a:srgbClr val="009FE2"/>
          </p15:clr>
        </p15:guide>
        <p15:guide id="6" pos="1519">
          <p15:clr>
            <a:srgbClr val="009FE2"/>
          </p15:clr>
        </p15:guide>
        <p15:guide id="7" pos="1608">
          <p15:clr>
            <a:srgbClr val="009FE2"/>
          </p15:clr>
        </p15:guide>
        <p15:guide id="8" pos="1965">
          <p15:clr>
            <a:srgbClr val="009FE2"/>
          </p15:clr>
        </p15:guide>
        <p15:guide id="9" pos="2045">
          <p15:clr>
            <a:srgbClr val="009FE2"/>
          </p15:clr>
        </p15:guide>
        <p15:guide id="10" pos="2402">
          <p15:clr>
            <a:srgbClr val="009FE2"/>
          </p15:clr>
        </p15:guide>
        <p15:guide id="11" pos="2494">
          <p15:clr>
            <a:srgbClr val="009FE2"/>
          </p15:clr>
        </p15:guide>
        <p15:guide id="12" pos="2840">
          <p15:clr>
            <a:srgbClr val="009FE2"/>
          </p15:clr>
        </p15:guide>
        <p15:guide id="13" pos="2920">
          <p15:clr>
            <a:srgbClr val="009FE2"/>
          </p15:clr>
        </p15:guide>
        <p15:guide id="14" pos="3277">
          <p15:clr>
            <a:srgbClr val="009FE2"/>
          </p15:clr>
        </p15:guide>
        <p15:guide id="15" pos="3357">
          <p15:clr>
            <a:srgbClr val="009FE2"/>
          </p15:clr>
        </p15:guide>
        <p15:guide id="16" pos="3714">
          <p15:clr>
            <a:srgbClr val="009FE2"/>
          </p15:clr>
        </p15:guide>
        <p15:guide id="17" pos="3794">
          <p15:clr>
            <a:srgbClr val="009FE2"/>
          </p15:clr>
        </p15:guide>
        <p15:guide id="18" pos="4152">
          <p15:clr>
            <a:srgbClr val="009FE2"/>
          </p15:clr>
        </p15:guide>
        <p15:guide id="19" pos="4232">
          <p15:clr>
            <a:srgbClr val="009FE2"/>
          </p15:clr>
        </p15:guide>
        <p15:guide id="20" pos="4589">
          <p15:clr>
            <a:srgbClr val="009FE2"/>
          </p15:clr>
        </p15:guide>
        <p15:guide id="21" pos="4669">
          <p15:clr>
            <a:srgbClr val="009FE2"/>
          </p15:clr>
        </p15:guide>
        <p15:guide id="22" pos="5026">
          <p15:clr>
            <a:srgbClr val="009FE2"/>
          </p15:clr>
        </p15:guide>
        <p15:guide id="23" pos="5106">
          <p15:clr>
            <a:srgbClr val="009FE2"/>
          </p15:clr>
        </p15:guide>
        <p15:guide id="24" pos="5464">
          <p15:clr>
            <a:srgbClr val="009FE2"/>
          </p15:clr>
        </p15:guide>
        <p15:guide id="25" orient="horz" pos="160">
          <p15:clr>
            <a:srgbClr val="F26B43"/>
          </p15:clr>
        </p15:guide>
        <p15:guide id="26" orient="horz" pos="593">
          <p15:clr>
            <a:srgbClr val="009FE2"/>
          </p15:clr>
        </p15:guide>
        <p15:guide id="27" orient="horz" pos="673">
          <p15:clr>
            <a:srgbClr val="009FE2"/>
          </p15:clr>
        </p15:guide>
        <p15:guide id="28" orient="horz" pos="1106">
          <p15:clr>
            <a:srgbClr val="009FE2"/>
          </p15:clr>
        </p15:guide>
        <p15:guide id="29" orient="horz" pos="1186">
          <p15:clr>
            <a:srgbClr val="009FE2"/>
          </p15:clr>
        </p15:guide>
        <p15:guide id="30" orient="horz" pos="1620">
          <p15:clr>
            <a:srgbClr val="009FE2"/>
          </p15:clr>
        </p15:guide>
        <p15:guide id="31" orient="horz" pos="1700">
          <p15:clr>
            <a:srgbClr val="009FE2"/>
          </p15:clr>
        </p15:guide>
        <p15:guide id="32" orient="horz" pos="2133">
          <p15:clr>
            <a:srgbClr val="009FE2"/>
          </p15:clr>
        </p15:guide>
        <p15:guide id="33" orient="horz" pos="2213">
          <p15:clr>
            <a:srgbClr val="009FE2"/>
          </p15:clr>
        </p15:guide>
        <p15:guide id="34" orient="horz" pos="2646">
          <p15:clr>
            <a:srgbClr val="009FE2"/>
          </p15:clr>
        </p15:guide>
        <p15:guide id="35" orient="horz" pos="2726">
          <p15:clr>
            <a:srgbClr val="009FE2"/>
          </p15:clr>
        </p15:guide>
        <p15:guide id="36" orient="horz" pos="3160">
          <p15:clr>
            <a:srgbClr val="009FE2"/>
          </p15:clr>
        </p15:guide>
        <p15:guide id="37" pos="160">
          <p15:clr>
            <a:srgbClr val="C40079"/>
          </p15:clr>
        </p15:guide>
        <p15:guide id="38" pos="5600">
          <p15:clr>
            <a:srgbClr val="C40079"/>
          </p15:clr>
        </p15:guide>
        <p15:guide id="39" orient="horz" pos="3080">
          <p15:clr>
            <a:srgbClr val="C40079"/>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CF0132D-9E8F-154A-2C07-1F993AAEF614}"/>
              </a:ext>
            </a:extLst>
          </p:cNvPr>
          <p:cNvGraphicFramePr>
            <a:graphicFrameLocks noChangeAspect="1"/>
          </p:cNvGraphicFramePr>
          <p:nvPr userDrawn="1">
            <p:custDataLst>
              <p:tags r:id="rId32"/>
            </p:custDataLst>
            <p:extLst>
              <p:ext uri="{D42A27DB-BD31-4B8C-83A1-F6EECF244321}">
                <p14:modId xmlns:p14="http://schemas.microsoft.com/office/powerpoint/2010/main" val="2490881826"/>
              </p:ext>
            </p:extLst>
          </p:nvPr>
        </p:nvGraphicFramePr>
        <p:xfrm>
          <a:off x="1191" y="1192"/>
          <a:ext cx="1191" cy="1191"/>
        </p:xfrm>
        <a:graphic>
          <a:graphicData uri="http://schemas.openxmlformats.org/presentationml/2006/ole">
            <mc:AlternateContent xmlns:mc="http://schemas.openxmlformats.org/markup-compatibility/2006">
              <mc:Choice xmlns:v="urn:schemas-microsoft-com:vml" Requires="v">
                <p:oleObj name="think-cell Slide" r:id="rId33" imgW="360" imgH="360" progId="TCLayout.ActiveDocument.1">
                  <p:embed/>
                </p:oleObj>
              </mc:Choice>
              <mc:Fallback>
                <p:oleObj name="think-cell Slide" r:id="rId33" imgW="360" imgH="360" progId="TCLayout.ActiveDocument.1">
                  <p:embed/>
                  <p:pic>
                    <p:nvPicPr>
                      <p:cNvPr id="8" name="think-cell data - do not delete" hidden="1">
                        <a:extLst>
                          <a:ext uri="{FF2B5EF4-FFF2-40B4-BE49-F238E27FC236}">
                            <a16:creationId xmlns:a16="http://schemas.microsoft.com/office/drawing/2014/main" id="{1CF0132D-9E8F-154A-2C07-1F993AAEF614}"/>
                          </a:ext>
                        </a:extLst>
                      </p:cNvPr>
                      <p:cNvPicPr/>
                      <p:nvPr/>
                    </p:nvPicPr>
                    <p:blipFill>
                      <a:blip r:embed="rId34"/>
                      <a:stretch>
                        <a:fillRect/>
                      </a:stretch>
                    </p:blipFill>
                    <p:spPr>
                      <a:xfrm>
                        <a:off x="1191" y="1192"/>
                        <a:ext cx="1191" cy="1191"/>
                      </a:xfrm>
                      <a:prstGeom prst="rect">
                        <a:avLst/>
                      </a:prstGeom>
                    </p:spPr>
                  </p:pic>
                </p:oleObj>
              </mc:Fallback>
            </mc:AlternateContent>
          </a:graphicData>
        </a:graphic>
      </p:graphicFrame>
      <p:sp>
        <p:nvSpPr>
          <p:cNvPr id="2" name="Pladsholder til titel 1"/>
          <p:cNvSpPr>
            <a:spLocks noGrp="1"/>
          </p:cNvSpPr>
          <p:nvPr>
            <p:ph type="title"/>
          </p:nvPr>
        </p:nvSpPr>
        <p:spPr>
          <a:xfrm>
            <a:off x="318641" y="218700"/>
            <a:ext cx="8506107" cy="610200"/>
          </a:xfrm>
          <a:prstGeom prst="rect">
            <a:avLst/>
          </a:prstGeom>
        </p:spPr>
        <p:txBody>
          <a:bodyPr vert="horz" lIns="0" tIns="0" rIns="1080000" bIns="0" rtlCol="0" anchor="b" anchorCtr="0">
            <a:noAutofit/>
          </a:bodyPr>
          <a:lstStyle/>
          <a:p>
            <a:r>
              <a:rPr lang="da-DK"/>
              <a:t>Klik for at indsætte overskrift i en eller to linjer</a:t>
            </a:r>
          </a:p>
        </p:txBody>
      </p:sp>
      <p:sp>
        <p:nvSpPr>
          <p:cNvPr id="3" name="Pladsholder til tekst 2"/>
          <p:cNvSpPr>
            <a:spLocks noGrp="1"/>
          </p:cNvSpPr>
          <p:nvPr>
            <p:ph type="body" idx="1"/>
          </p:nvPr>
        </p:nvSpPr>
        <p:spPr>
          <a:xfrm>
            <a:off x="318641" y="1015199"/>
            <a:ext cx="8506107" cy="3483000"/>
          </a:xfrm>
          <a:prstGeom prst="rect">
            <a:avLst/>
          </a:prstGeom>
        </p:spPr>
        <p:txBody>
          <a:bodyPr vert="horz" lIns="0" tIns="72000" rIns="2160000" bIns="0" rtlCol="0">
            <a:noAutofit/>
          </a:bodyPr>
          <a:lstStyle/>
          <a:p>
            <a:pPr lvl="0"/>
            <a:r>
              <a:rPr lang="da-DK"/>
              <a:t>Klik for at indsætte tekst</a:t>
            </a:r>
          </a:p>
          <a:p>
            <a:pPr lvl="1"/>
            <a:r>
              <a:rPr lang="da-DK"/>
              <a:t>Andet niveau</a:t>
            </a:r>
          </a:p>
          <a:p>
            <a:pPr lvl="2"/>
            <a:r>
              <a:rPr lang="da-DK"/>
              <a:t>Tredje niveau</a:t>
            </a:r>
          </a:p>
          <a:p>
            <a:pPr lvl="3"/>
            <a:r>
              <a:rPr lang="da-DK"/>
              <a:t>Fjerde niveau</a:t>
            </a:r>
          </a:p>
          <a:p>
            <a:pPr lvl="4"/>
            <a:r>
              <a:rPr lang="da-DK"/>
              <a:t>Femte niveau</a:t>
            </a:r>
          </a:p>
          <a:p>
            <a:pPr lvl="5"/>
            <a:r>
              <a:rPr lang="da-DK"/>
              <a:t>6 niveau</a:t>
            </a:r>
          </a:p>
          <a:p>
            <a:pPr lvl="6"/>
            <a:r>
              <a:rPr lang="da-DK"/>
              <a:t>7 niveau</a:t>
            </a:r>
          </a:p>
          <a:p>
            <a:pPr lvl="7"/>
            <a:r>
              <a:rPr lang="da-DK"/>
              <a:t>8 niveau</a:t>
            </a:r>
          </a:p>
          <a:p>
            <a:pPr lvl="8"/>
            <a:r>
              <a:rPr lang="da-DK"/>
              <a:t>9 niveau</a:t>
            </a:r>
          </a:p>
        </p:txBody>
      </p:sp>
      <p:sp>
        <p:nvSpPr>
          <p:cNvPr id="4" name="Pladsholder til dato 3"/>
          <p:cNvSpPr>
            <a:spLocks noGrp="1"/>
          </p:cNvSpPr>
          <p:nvPr>
            <p:ph type="dt" sz="half" idx="2"/>
          </p:nvPr>
        </p:nvSpPr>
        <p:spPr>
          <a:xfrm>
            <a:off x="6812350" y="4706100"/>
            <a:ext cx="2012400" cy="118800"/>
          </a:xfrm>
          <a:prstGeom prst="rect">
            <a:avLst/>
          </a:prstGeom>
        </p:spPr>
        <p:txBody>
          <a:bodyPr vert="horz" lIns="0" tIns="0" rIns="0" bIns="0" rtlCol="0" anchor="ctr">
            <a:noAutofit/>
          </a:bodyPr>
          <a:lstStyle>
            <a:lvl1pPr algn="r">
              <a:lnSpc>
                <a:spcPct val="99000"/>
              </a:lnSpc>
              <a:defRPr sz="750">
                <a:solidFill>
                  <a:schemeClr val="accent3"/>
                </a:solidFill>
              </a:defRPr>
            </a:lvl1pPr>
          </a:lstStyle>
          <a:p>
            <a:r>
              <a:rPr lang="sv-SE"/>
              <a:t>26/03/2026</a:t>
            </a:r>
            <a:endParaRPr lang="da-DK"/>
          </a:p>
        </p:txBody>
      </p:sp>
      <p:sp>
        <p:nvSpPr>
          <p:cNvPr id="5" name="Pladsholder til sidefod 4" hidden="1"/>
          <p:cNvSpPr>
            <a:spLocks noGrp="1"/>
          </p:cNvSpPr>
          <p:nvPr>
            <p:ph type="ftr" sz="quarter" idx="3"/>
          </p:nvPr>
        </p:nvSpPr>
        <p:spPr>
          <a:xfrm>
            <a:off x="7626327" y="5575548"/>
            <a:ext cx="1095400" cy="236562"/>
          </a:xfrm>
          <a:prstGeom prst="rect">
            <a:avLst/>
          </a:prstGeom>
        </p:spPr>
        <p:txBody>
          <a:bodyPr vert="horz" lIns="0" tIns="0" rIns="0" bIns="0" rtlCol="0" anchor="ctr">
            <a:noAutofit/>
          </a:bodyPr>
          <a:lstStyle>
            <a:lvl1pPr algn="ctr">
              <a:defRPr sz="100">
                <a:solidFill>
                  <a:schemeClr val="bg1">
                    <a:lumMod val="75000"/>
                  </a:schemeClr>
                </a:solidFill>
              </a:defRPr>
            </a:lvl1pPr>
          </a:lstStyle>
          <a:p>
            <a:r>
              <a:rPr lang="en-US"/>
              <a:t>Stakeholder Forum Agenda - Classification: External</a:t>
            </a:r>
            <a:endParaRPr lang="da-DK"/>
          </a:p>
        </p:txBody>
      </p:sp>
      <p:sp>
        <p:nvSpPr>
          <p:cNvPr id="6" name="Pladsholder til diasnummer 5"/>
          <p:cNvSpPr>
            <a:spLocks noGrp="1"/>
          </p:cNvSpPr>
          <p:nvPr>
            <p:ph type="sldNum" sz="quarter" idx="4"/>
          </p:nvPr>
        </p:nvSpPr>
        <p:spPr>
          <a:xfrm>
            <a:off x="6812350" y="4819500"/>
            <a:ext cx="2012400" cy="135000"/>
          </a:xfrm>
          <a:prstGeom prst="rect">
            <a:avLst/>
          </a:prstGeom>
        </p:spPr>
        <p:txBody>
          <a:bodyPr vert="horz" lIns="0" tIns="0" rIns="0" bIns="0" rtlCol="0" anchor="t" anchorCtr="0">
            <a:noAutofit/>
          </a:bodyPr>
          <a:lstStyle>
            <a:lvl1pPr algn="r">
              <a:lnSpc>
                <a:spcPct val="99000"/>
              </a:lnSpc>
              <a:defRPr sz="750">
                <a:solidFill>
                  <a:schemeClr val="accent3"/>
                </a:solidFill>
              </a:defRPr>
            </a:lvl1pPr>
          </a:lstStyle>
          <a:p>
            <a:fld id="{667EC89C-17A0-4E64-A6D2-B825673CEEDF}" type="slidenum">
              <a:rPr lang="da-DK" smtClean="0"/>
              <a:pPr/>
              <a:t>‹#›</a:t>
            </a:fld>
            <a:endParaRPr lang="da-DK"/>
          </a:p>
        </p:txBody>
      </p:sp>
      <p:cxnSp>
        <p:nvCxnSpPr>
          <p:cNvPr id="9" name="Lige forbindelse 8"/>
          <p:cNvCxnSpPr/>
          <p:nvPr/>
        </p:nvCxnSpPr>
        <p:spPr>
          <a:xfrm>
            <a:off x="318641" y="893700"/>
            <a:ext cx="8830151"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10" name="Logo"/>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331563" y="4587299"/>
            <a:ext cx="1141768" cy="421200"/>
          </a:xfrm>
          <a:prstGeom prst="rect">
            <a:avLst/>
          </a:prstGeom>
        </p:spPr>
      </p:pic>
    </p:spTree>
    <p:extLst>
      <p:ext uri="{BB962C8B-B14F-4D97-AF65-F5344CB8AC3E}">
        <p14:creationId xmlns:p14="http://schemas.microsoft.com/office/powerpoint/2010/main" val="2972115222"/>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 id="2147483782" r:id="rId12"/>
    <p:sldLayoutId id="2147483783" r:id="rId13"/>
    <p:sldLayoutId id="2147483784" r:id="rId14"/>
    <p:sldLayoutId id="2147483785" r:id="rId15"/>
    <p:sldLayoutId id="2147483786" r:id="rId16"/>
    <p:sldLayoutId id="2147483787" r:id="rId17"/>
    <p:sldLayoutId id="2147483788" r:id="rId18"/>
    <p:sldLayoutId id="2147483789" r:id="rId19"/>
    <p:sldLayoutId id="2147483790" r:id="rId20"/>
    <p:sldLayoutId id="2147483791" r:id="rId21"/>
    <p:sldLayoutId id="2147483792" r:id="rId22"/>
    <p:sldLayoutId id="2147483793" r:id="rId23"/>
    <p:sldLayoutId id="2147483794" r:id="rId24"/>
    <p:sldLayoutId id="2147483795" r:id="rId25"/>
    <p:sldLayoutId id="2147483796" r:id="rId26"/>
    <p:sldLayoutId id="2147483797" r:id="rId27"/>
    <p:sldLayoutId id="2147483798" r:id="rId28"/>
    <p:sldLayoutId id="2147483799" r:id="rId29"/>
    <p:sldLayoutId id="2147483800" r:id="rId30"/>
  </p:sldLayoutIdLst>
  <p:hf hdr="0"/>
  <p:txStyles>
    <p:titleStyle>
      <a:lvl1pPr algn="l" defTabSz="685732" rtl="0" eaLnBrk="1" latinLnBrk="0" hangingPunct="1">
        <a:lnSpc>
          <a:spcPct val="83000"/>
        </a:lnSpc>
        <a:spcBef>
          <a:spcPct val="0"/>
        </a:spcBef>
        <a:buNone/>
        <a:defRPr sz="2100" b="1" kern="1200">
          <a:solidFill>
            <a:schemeClr val="tx1"/>
          </a:solidFill>
          <a:latin typeface="+mj-lt"/>
          <a:ea typeface="+mj-ea"/>
          <a:cs typeface="+mj-cs"/>
        </a:defRPr>
      </a:lvl1pPr>
    </p:titleStyle>
    <p:bodyStyle>
      <a:lvl1pPr marL="0" indent="0" algn="l" defTabSz="685732" rtl="0" eaLnBrk="1" latinLnBrk="0" hangingPunct="1">
        <a:lnSpc>
          <a:spcPct val="99000"/>
        </a:lnSpc>
        <a:spcBef>
          <a:spcPts val="1500"/>
        </a:spcBef>
        <a:buFont typeface="Arial" panose="020B0604020202020204" pitchFamily="34" charset="0"/>
        <a:buChar char="​"/>
        <a:defRPr sz="1650" kern="1200">
          <a:solidFill>
            <a:schemeClr val="tx1"/>
          </a:solidFill>
          <a:latin typeface="+mn-lt"/>
          <a:ea typeface="+mn-ea"/>
          <a:cs typeface="+mn-cs"/>
        </a:defRPr>
      </a:lvl1pPr>
      <a:lvl2pPr marL="172783" indent="-172783" algn="l" defTabSz="685732" rtl="0" eaLnBrk="1" latinLnBrk="0" hangingPunct="1">
        <a:lnSpc>
          <a:spcPct val="99000"/>
        </a:lnSpc>
        <a:spcBef>
          <a:spcPts val="1500"/>
        </a:spcBef>
        <a:buFont typeface="Arial" panose="020B0604020202020204" pitchFamily="34" charset="0"/>
        <a:buChar char="•"/>
        <a:defRPr sz="1650" kern="1200">
          <a:solidFill>
            <a:schemeClr val="tx1"/>
          </a:solidFill>
          <a:latin typeface="+mn-lt"/>
          <a:ea typeface="+mn-ea"/>
          <a:cs typeface="+mn-cs"/>
        </a:defRPr>
      </a:lvl2pPr>
      <a:lvl3pPr marL="404960" indent="-134987" algn="l" defTabSz="685732" rtl="0" eaLnBrk="1" latinLnBrk="0" hangingPunct="1">
        <a:lnSpc>
          <a:spcPct val="99000"/>
        </a:lnSpc>
        <a:spcBef>
          <a:spcPts val="375"/>
        </a:spcBef>
        <a:buFont typeface="Arial" panose="020B0604020202020204" pitchFamily="34" charset="0"/>
        <a:buChar char="•"/>
        <a:defRPr sz="1350" kern="1200">
          <a:solidFill>
            <a:schemeClr val="tx1"/>
          </a:solidFill>
          <a:latin typeface="+mn-lt"/>
          <a:ea typeface="+mn-ea"/>
          <a:cs typeface="+mn-cs"/>
        </a:defRPr>
      </a:lvl3pPr>
      <a:lvl4pPr marL="674933" indent="-134987" algn="l" defTabSz="685732" rtl="0" eaLnBrk="1" latinLnBrk="0" hangingPunct="1">
        <a:lnSpc>
          <a:spcPct val="99000"/>
        </a:lnSpc>
        <a:spcBef>
          <a:spcPts val="375"/>
        </a:spcBef>
        <a:buFont typeface="Arial" panose="020B0604020202020204" pitchFamily="34" charset="0"/>
        <a:buChar char="•"/>
        <a:defRPr sz="1125" kern="1200">
          <a:solidFill>
            <a:schemeClr val="tx1"/>
          </a:solidFill>
          <a:latin typeface="+mn-lt"/>
          <a:ea typeface="+mn-ea"/>
          <a:cs typeface="+mn-cs"/>
        </a:defRPr>
      </a:lvl4pPr>
      <a:lvl5pPr marL="944906" indent="-134987" algn="l" defTabSz="685732" rtl="0" eaLnBrk="1" latinLnBrk="0" hangingPunct="1">
        <a:lnSpc>
          <a:spcPct val="99000"/>
        </a:lnSpc>
        <a:spcBef>
          <a:spcPts val="375"/>
        </a:spcBef>
        <a:buFont typeface="Arial" panose="020B0604020202020204" pitchFamily="34" charset="0"/>
        <a:buChar char="•"/>
        <a:defRPr sz="900" kern="1200">
          <a:solidFill>
            <a:schemeClr val="tx1"/>
          </a:solidFill>
          <a:latin typeface="+mn-lt"/>
          <a:ea typeface="+mn-ea"/>
          <a:cs typeface="+mn-cs"/>
        </a:defRPr>
      </a:lvl5pPr>
      <a:lvl6pPr marL="1214879" indent="-134987" algn="l" defTabSz="685732" rtl="0" eaLnBrk="1" latinLnBrk="0" hangingPunct="1">
        <a:lnSpc>
          <a:spcPct val="99000"/>
        </a:lnSpc>
        <a:spcBef>
          <a:spcPts val="375"/>
        </a:spcBef>
        <a:buFont typeface="Arial" panose="020B0604020202020204" pitchFamily="34" charset="0"/>
        <a:buChar char="•"/>
        <a:defRPr sz="750" kern="1200" baseline="0">
          <a:solidFill>
            <a:schemeClr val="tx1"/>
          </a:solidFill>
          <a:latin typeface="+mn-lt"/>
          <a:ea typeface="+mn-ea"/>
          <a:cs typeface="+mn-cs"/>
        </a:defRPr>
      </a:lvl6pPr>
      <a:lvl7pPr marL="1214879" indent="-134987" algn="l" defTabSz="685732" rtl="0" eaLnBrk="1" latinLnBrk="0" hangingPunct="1">
        <a:lnSpc>
          <a:spcPct val="99000"/>
        </a:lnSpc>
        <a:spcBef>
          <a:spcPts val="375"/>
        </a:spcBef>
        <a:buFont typeface="Arial" panose="020B0604020202020204" pitchFamily="34" charset="0"/>
        <a:buChar char="•"/>
        <a:defRPr sz="750" kern="1200">
          <a:solidFill>
            <a:schemeClr val="tx1"/>
          </a:solidFill>
          <a:latin typeface="+mn-lt"/>
          <a:ea typeface="+mn-ea"/>
          <a:cs typeface="+mn-cs"/>
        </a:defRPr>
      </a:lvl7pPr>
      <a:lvl8pPr marL="1214879" indent="-134987" algn="l" defTabSz="685732" rtl="0" eaLnBrk="1" latinLnBrk="0" hangingPunct="1">
        <a:lnSpc>
          <a:spcPct val="99000"/>
        </a:lnSpc>
        <a:spcBef>
          <a:spcPts val="375"/>
        </a:spcBef>
        <a:buFont typeface="Arial" panose="020B0604020202020204" pitchFamily="34" charset="0"/>
        <a:buChar char="•"/>
        <a:defRPr sz="750" kern="1200">
          <a:solidFill>
            <a:schemeClr val="tx1"/>
          </a:solidFill>
          <a:latin typeface="+mn-lt"/>
          <a:ea typeface="+mn-ea"/>
          <a:cs typeface="+mn-cs"/>
        </a:defRPr>
      </a:lvl8pPr>
      <a:lvl9pPr marL="1214879" indent="-134987" algn="l" defTabSz="685732" rtl="0" eaLnBrk="1" latinLnBrk="0" hangingPunct="1">
        <a:lnSpc>
          <a:spcPct val="99000"/>
        </a:lnSpc>
        <a:spcBef>
          <a:spcPts val="375"/>
        </a:spcBef>
        <a:buFont typeface="Arial" panose="020B0604020202020204" pitchFamily="34" charset="0"/>
        <a:buChar char="•"/>
        <a:defRPr sz="750" kern="1200">
          <a:solidFill>
            <a:schemeClr val="tx1"/>
          </a:solidFill>
          <a:latin typeface="+mn-lt"/>
          <a:ea typeface="+mn-ea"/>
          <a:cs typeface="+mn-cs"/>
        </a:defRPr>
      </a:lvl9pPr>
    </p:bodyStyle>
    <p:otherStyle>
      <a:defPPr>
        <a:defRPr lang="da-DK"/>
      </a:defPPr>
      <a:lvl1pPr marL="0" algn="l" defTabSz="685732" rtl="0" eaLnBrk="1" latinLnBrk="0" hangingPunct="1">
        <a:defRPr sz="1350" kern="1200">
          <a:solidFill>
            <a:schemeClr val="tx1"/>
          </a:solidFill>
          <a:latin typeface="+mn-lt"/>
          <a:ea typeface="+mn-ea"/>
          <a:cs typeface="+mn-cs"/>
        </a:defRPr>
      </a:lvl1pPr>
      <a:lvl2pPr marL="342866" algn="l" defTabSz="685732" rtl="0" eaLnBrk="1" latinLnBrk="0" hangingPunct="1">
        <a:defRPr sz="1350" kern="1200">
          <a:solidFill>
            <a:schemeClr val="tx1"/>
          </a:solidFill>
          <a:latin typeface="+mn-lt"/>
          <a:ea typeface="+mn-ea"/>
          <a:cs typeface="+mn-cs"/>
        </a:defRPr>
      </a:lvl2pPr>
      <a:lvl3pPr marL="685732" algn="l" defTabSz="685732" rtl="0" eaLnBrk="1" latinLnBrk="0" hangingPunct="1">
        <a:defRPr sz="1350" kern="1200">
          <a:solidFill>
            <a:schemeClr val="tx1"/>
          </a:solidFill>
          <a:latin typeface="+mn-lt"/>
          <a:ea typeface="+mn-ea"/>
          <a:cs typeface="+mn-cs"/>
        </a:defRPr>
      </a:lvl3pPr>
      <a:lvl4pPr marL="1028597" algn="l" defTabSz="685732" rtl="0" eaLnBrk="1" latinLnBrk="0" hangingPunct="1">
        <a:defRPr sz="1350" kern="1200">
          <a:solidFill>
            <a:schemeClr val="tx1"/>
          </a:solidFill>
          <a:latin typeface="+mn-lt"/>
          <a:ea typeface="+mn-ea"/>
          <a:cs typeface="+mn-cs"/>
        </a:defRPr>
      </a:lvl4pPr>
      <a:lvl5pPr marL="1371463" algn="l" defTabSz="685732" rtl="0" eaLnBrk="1" latinLnBrk="0" hangingPunct="1">
        <a:defRPr sz="1350" kern="1200">
          <a:solidFill>
            <a:schemeClr val="tx1"/>
          </a:solidFill>
          <a:latin typeface="+mn-lt"/>
          <a:ea typeface="+mn-ea"/>
          <a:cs typeface="+mn-cs"/>
        </a:defRPr>
      </a:lvl5pPr>
      <a:lvl6pPr marL="1714328" algn="l" defTabSz="685732" rtl="0" eaLnBrk="1" latinLnBrk="0" hangingPunct="1">
        <a:defRPr sz="1350" kern="1200">
          <a:solidFill>
            <a:schemeClr val="tx1"/>
          </a:solidFill>
          <a:latin typeface="+mn-lt"/>
          <a:ea typeface="+mn-ea"/>
          <a:cs typeface="+mn-cs"/>
        </a:defRPr>
      </a:lvl6pPr>
      <a:lvl7pPr marL="2057195" algn="l" defTabSz="685732" rtl="0" eaLnBrk="1" latinLnBrk="0" hangingPunct="1">
        <a:defRPr sz="1350" kern="1200">
          <a:solidFill>
            <a:schemeClr val="tx1"/>
          </a:solidFill>
          <a:latin typeface="+mn-lt"/>
          <a:ea typeface="+mn-ea"/>
          <a:cs typeface="+mn-cs"/>
        </a:defRPr>
      </a:lvl7pPr>
      <a:lvl8pPr marL="2400060" algn="l" defTabSz="685732" rtl="0" eaLnBrk="1" latinLnBrk="0" hangingPunct="1">
        <a:defRPr sz="1350" kern="1200">
          <a:solidFill>
            <a:schemeClr val="tx1"/>
          </a:solidFill>
          <a:latin typeface="+mn-lt"/>
          <a:ea typeface="+mn-ea"/>
          <a:cs typeface="+mn-cs"/>
        </a:defRPr>
      </a:lvl8pPr>
      <a:lvl9pPr marL="2742926" algn="l" defTabSz="685732"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DF8D1F15-4E6B-4705-81CB-DAE3CB5D0670}"/>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nb-NO"/>
              <a:t>Klikk for å redigere tittelstil</a:t>
            </a:r>
          </a:p>
        </p:txBody>
      </p:sp>
      <p:sp>
        <p:nvSpPr>
          <p:cNvPr id="3" name="Plassholder for tekst 2">
            <a:extLst>
              <a:ext uri="{FF2B5EF4-FFF2-40B4-BE49-F238E27FC236}">
                <a16:creationId xmlns:a16="http://schemas.microsoft.com/office/drawing/2014/main" id="{C9CF21E5-38B8-44C7-BC35-2FEF49852709}"/>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bunntekst 4">
            <a:extLst>
              <a:ext uri="{FF2B5EF4-FFF2-40B4-BE49-F238E27FC236}">
                <a16:creationId xmlns:a16="http://schemas.microsoft.com/office/drawing/2014/main" id="{4630E066-962A-4B42-B0BC-BD0AE8A516DB}"/>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a:t>Stakeholder Forum Agenda - Classification: External</a:t>
            </a:r>
            <a:endParaRPr lang="nb-NO"/>
          </a:p>
        </p:txBody>
      </p:sp>
    </p:spTree>
    <p:extLst>
      <p:ext uri="{BB962C8B-B14F-4D97-AF65-F5344CB8AC3E}">
        <p14:creationId xmlns:p14="http://schemas.microsoft.com/office/powerpoint/2010/main" val="2412099605"/>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843" r:id="rId11"/>
    <p:sldLayoutId id="2147483844" r:id="rId12"/>
    <p:sldLayoutId id="2147483845" r:id="rId13"/>
    <p:sldLayoutId id="2147483846" r:id="rId14"/>
    <p:sldLayoutId id="2147483847" r:id="rId15"/>
    <p:sldLayoutId id="2147483848" r:id="rId16"/>
    <p:sldLayoutId id="2147483849" r:id="rId17"/>
  </p:sldLayoutIdLst>
  <p:hf hdr="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b-NO"/>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90">
          <p15:clr>
            <a:srgbClr val="F26B43"/>
          </p15:clr>
        </p15:guide>
        <p15:guide id="2" pos="3840">
          <p15:clr>
            <a:srgbClr val="F26B43"/>
          </p15:clr>
        </p15:guide>
        <p15:guide id="3" pos="470">
          <p15:clr>
            <a:srgbClr val="F26B43"/>
          </p15:clr>
        </p15:guide>
        <p15:guide id="4" pos="7203">
          <p15:clr>
            <a:srgbClr val="F26B43"/>
          </p15:clr>
        </p15:guide>
        <p15:guide id="5" orient="horz" pos="180">
          <p15:clr>
            <a:srgbClr val="F26B43"/>
          </p15:clr>
        </p15:guide>
        <p15:guide id="6" orient="horz" pos="73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DF8D1F15-4E6B-4705-81CB-DAE3CB5D0670}"/>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nb-NO"/>
              <a:t>Klikk for å redigere tittelstil</a:t>
            </a:r>
          </a:p>
        </p:txBody>
      </p:sp>
      <p:sp>
        <p:nvSpPr>
          <p:cNvPr id="3" name="Plassholder for tekst 2">
            <a:extLst>
              <a:ext uri="{FF2B5EF4-FFF2-40B4-BE49-F238E27FC236}">
                <a16:creationId xmlns:a16="http://schemas.microsoft.com/office/drawing/2014/main" id="{C9CF21E5-38B8-44C7-BC35-2FEF49852709}"/>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bunntekst 4">
            <a:extLst>
              <a:ext uri="{FF2B5EF4-FFF2-40B4-BE49-F238E27FC236}">
                <a16:creationId xmlns:a16="http://schemas.microsoft.com/office/drawing/2014/main" id="{4630E066-962A-4B42-B0BC-BD0AE8A516DB}"/>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a:t>Stakeholder Forum Agenda - Classification: External</a:t>
            </a:r>
            <a:endParaRPr lang="nb-NO"/>
          </a:p>
        </p:txBody>
      </p:sp>
    </p:spTree>
    <p:extLst>
      <p:ext uri="{BB962C8B-B14F-4D97-AF65-F5344CB8AC3E}">
        <p14:creationId xmlns:p14="http://schemas.microsoft.com/office/powerpoint/2010/main" val="3029638228"/>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4" r:id="rId3"/>
    <p:sldLayoutId id="2147483855" r:id="rId4"/>
    <p:sldLayoutId id="2147483856" r:id="rId5"/>
    <p:sldLayoutId id="2147483857" r:id="rId6"/>
    <p:sldLayoutId id="2147483858" r:id="rId7"/>
    <p:sldLayoutId id="2147483859" r:id="rId8"/>
    <p:sldLayoutId id="2147483860" r:id="rId9"/>
    <p:sldLayoutId id="2147483861" r:id="rId10"/>
    <p:sldLayoutId id="2147483862" r:id="rId11"/>
    <p:sldLayoutId id="2147483863" r:id="rId12"/>
    <p:sldLayoutId id="2147483864" r:id="rId13"/>
    <p:sldLayoutId id="2147483865" r:id="rId14"/>
    <p:sldLayoutId id="2147483866" r:id="rId15"/>
    <p:sldLayoutId id="2147483867" r:id="rId16"/>
    <p:sldLayoutId id="2147483868" r:id="rId17"/>
    <p:sldLayoutId id="2147483869" r:id="rId18"/>
    <p:sldLayoutId id="2147483870" r:id="rId19"/>
    <p:sldLayoutId id="2147483871" r:id="rId20"/>
    <p:sldLayoutId id="2147483872" r:id="rId21"/>
    <p:sldLayoutId id="2147483873" r:id="rId22"/>
    <p:sldLayoutId id="2147483874" r:id="rId23"/>
    <p:sldLayoutId id="2147483875" r:id="rId24"/>
    <p:sldLayoutId id="2147483876" r:id="rId25"/>
    <p:sldLayoutId id="2147483877" r:id="rId26"/>
    <p:sldLayoutId id="2147483878" r:id="rId27"/>
  </p:sldLayoutIdLst>
  <p:hf hdr="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b-NO"/>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90">
          <p15:clr>
            <a:srgbClr val="F26B43"/>
          </p15:clr>
        </p15:guide>
        <p15:guide id="2" pos="3840">
          <p15:clr>
            <a:srgbClr val="F26B43"/>
          </p15:clr>
        </p15:guide>
        <p15:guide id="3" pos="470">
          <p15:clr>
            <a:srgbClr val="F26B43"/>
          </p15:clr>
        </p15:guide>
        <p15:guide id="4" pos="7203">
          <p15:clr>
            <a:srgbClr val="F26B43"/>
          </p15:clr>
        </p15:guide>
        <p15:guide id="5" orient="horz" pos="180">
          <p15:clr>
            <a:srgbClr val="F26B43"/>
          </p15:clr>
        </p15:guide>
        <p15:guide id="6" orient="horz" pos="73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da-DK" noProof="0"/>
              <a:t>Klik for at redigere i master</a:t>
            </a:r>
          </a:p>
        </p:txBody>
      </p:sp>
      <p:sp>
        <p:nvSpPr>
          <p:cNvPr id="3" name="Text Placeholder 2"/>
          <p:cNvSpPr>
            <a:spLocks noGrp="1"/>
          </p:cNvSpPr>
          <p:nvPr>
            <p:ph type="body" idx="1"/>
          </p:nvPr>
        </p:nvSpPr>
        <p:spPr>
          <a:xfrm>
            <a:off x="457200" y="1200150"/>
            <a:ext cx="8229600" cy="3394472"/>
          </a:xfrm>
          <a:prstGeom prst="rect">
            <a:avLst/>
          </a:prstGeom>
        </p:spPr>
        <p:txBody>
          <a:bodyPr vert="horz" lIns="91440" tIns="45720" rIns="91440" bIns="4572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a-DK" noProof="0"/>
          </a:p>
        </p:txBody>
      </p:sp>
      <p:cxnSp>
        <p:nvCxnSpPr>
          <p:cNvPr id="12" name="Lige forbindelse 11"/>
          <p:cNvCxnSpPr/>
          <p:nvPr/>
        </p:nvCxnSpPr>
        <p:spPr>
          <a:xfrm>
            <a:off x="8314543" y="4858660"/>
            <a:ext cx="0" cy="102050"/>
          </a:xfrm>
          <a:prstGeom prst="line">
            <a:avLst/>
          </a:prstGeom>
          <a:ln w="6350" cmpd="sng"/>
          <a:effectLst/>
        </p:spPr>
        <p:style>
          <a:lnRef idx="2">
            <a:schemeClr val="accent1"/>
          </a:lnRef>
          <a:fillRef idx="0">
            <a:schemeClr val="accent1"/>
          </a:fillRef>
          <a:effectRef idx="1">
            <a:schemeClr val="accent1"/>
          </a:effectRef>
          <a:fontRef idx="minor">
            <a:schemeClr val="tx1"/>
          </a:fontRef>
        </p:style>
      </p:cxnSp>
      <p:pic>
        <p:nvPicPr>
          <p:cNvPr id="7" name="Billede 6"/>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457200" y="4867893"/>
            <a:ext cx="703333" cy="69804"/>
          </a:xfrm>
          <a:prstGeom prst="rect">
            <a:avLst/>
          </a:prstGeom>
        </p:spPr>
      </p:pic>
      <p:cxnSp>
        <p:nvCxnSpPr>
          <p:cNvPr id="13" name="Lige forbindelse 12"/>
          <p:cNvCxnSpPr/>
          <p:nvPr/>
        </p:nvCxnSpPr>
        <p:spPr>
          <a:xfrm>
            <a:off x="1670776" y="4858660"/>
            <a:ext cx="0" cy="102050"/>
          </a:xfrm>
          <a:prstGeom prst="line">
            <a:avLst/>
          </a:prstGeom>
          <a:ln w="6350" cmpd="sng"/>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67140319"/>
      </p:ext>
    </p:extLst>
  </p:cSld>
  <p:clrMap bg1="lt1" tx1="dk1" bg2="lt2" tx2="dk2" accent1="accent1" accent2="accent2" accent3="accent3" accent4="accent4" accent5="accent5" accent6="accent6" hlink="hlink" folHlink="folHlink"/>
  <p:sldLayoutIdLst>
    <p:sldLayoutId id="2147483880" r:id="rId1"/>
    <p:sldLayoutId id="2147483881" r:id="rId2"/>
    <p:sldLayoutId id="2147483882" r:id="rId3"/>
    <p:sldLayoutId id="2147483883" r:id="rId4"/>
    <p:sldLayoutId id="2147483884" r:id="rId5"/>
    <p:sldLayoutId id="2147483885" r:id="rId6"/>
    <p:sldLayoutId id="2147483886" r:id="rId7"/>
    <p:sldLayoutId id="2147483887" r:id="rId8"/>
    <p:sldLayoutId id="2147483888" r:id="rId9"/>
    <p:sldLayoutId id="2147483889" r:id="rId10"/>
    <p:sldLayoutId id="2147483890" r:id="rId11"/>
    <p:sldLayoutId id="2147483891" r:id="rId12"/>
    <p:sldLayoutId id="2147483892" r:id="rId13"/>
    <p:sldLayoutId id="2147483893" r:id="rId14"/>
    <p:sldLayoutId id="2147483894" r:id="rId15"/>
    <p:sldLayoutId id="2147483895" r:id="rId16"/>
    <p:sldLayoutId id="2147483896" r:id="rId17"/>
    <p:sldLayoutId id="2147483897" r:id="rId18"/>
    <p:sldLayoutId id="2147483898" r:id="rId19"/>
    <p:sldLayoutId id="2147483899" r:id="rId20"/>
    <p:sldLayoutId id="2147483900" r:id="rId21"/>
  </p:sldLayoutIdLst>
  <p:transition>
    <p:fade/>
  </p:transition>
  <p:hf hdr="0"/>
  <p:txStyles>
    <p:titleStyle>
      <a:lvl1pPr algn="l" defTabSz="457200" rtl="0" eaLnBrk="1" latinLnBrk="0" hangingPunct="1">
        <a:spcBef>
          <a:spcPct val="0"/>
        </a:spcBef>
        <a:buNone/>
        <a:defRPr sz="3000" b="1" i="0" kern="1200" baseline="0">
          <a:solidFill>
            <a:schemeClr val="tx1"/>
          </a:solidFill>
          <a:latin typeface="+mj-lt"/>
          <a:ea typeface="+mj-ea"/>
          <a:cs typeface="+mj-cs"/>
        </a:defRPr>
      </a:lvl1pPr>
    </p:titleStyle>
    <p:bodyStyle>
      <a:lvl1pPr marL="0" indent="0" algn="l" defTabSz="457200" rtl="0" eaLnBrk="1" latinLnBrk="0" hangingPunct="1">
        <a:spcBef>
          <a:spcPts val="500"/>
        </a:spcBef>
        <a:buClr>
          <a:schemeClr val="accent1"/>
        </a:buClr>
        <a:buSzPct val="50000"/>
        <a:buFont typeface="Arial"/>
        <a:buNone/>
        <a:defRPr sz="2400" b="0" i="0" kern="1200">
          <a:solidFill>
            <a:schemeClr val="tx1"/>
          </a:solidFill>
          <a:latin typeface="+mn-lt"/>
          <a:ea typeface="+mn-ea"/>
          <a:cs typeface="+mn-cs"/>
        </a:defRPr>
      </a:lvl1pPr>
      <a:lvl2pPr marL="457200" indent="0" algn="l" defTabSz="457200" rtl="0" eaLnBrk="1" latinLnBrk="0" hangingPunct="1">
        <a:spcBef>
          <a:spcPts val="500"/>
        </a:spcBef>
        <a:buClr>
          <a:schemeClr val="accent1"/>
        </a:buClr>
        <a:buSzPct val="50000"/>
        <a:buFont typeface="Arial"/>
        <a:buNone/>
        <a:defRPr sz="2400" b="0" i="0" kern="1200">
          <a:solidFill>
            <a:schemeClr val="tx1"/>
          </a:solidFill>
          <a:latin typeface="+mn-lt"/>
          <a:ea typeface="+mn-ea"/>
          <a:cs typeface="+mn-cs"/>
        </a:defRPr>
      </a:lvl2pPr>
      <a:lvl3pPr marL="914400" indent="0" algn="l" defTabSz="457200" rtl="0" eaLnBrk="1" latinLnBrk="0" hangingPunct="1">
        <a:spcBef>
          <a:spcPts val="500"/>
        </a:spcBef>
        <a:buClr>
          <a:schemeClr val="accent1"/>
        </a:buClr>
        <a:buSzPct val="50000"/>
        <a:buFont typeface="Arial"/>
        <a:buNone/>
        <a:defRPr sz="2400" b="0" i="0" kern="1200">
          <a:solidFill>
            <a:schemeClr val="tx1"/>
          </a:solidFill>
          <a:latin typeface="+mn-lt"/>
          <a:ea typeface="+mn-ea"/>
          <a:cs typeface="+mn-cs"/>
        </a:defRPr>
      </a:lvl3pPr>
      <a:lvl4pPr marL="1371600" indent="0" algn="l" defTabSz="457200" rtl="0" eaLnBrk="1" latinLnBrk="0" hangingPunct="1">
        <a:spcBef>
          <a:spcPts val="500"/>
        </a:spcBef>
        <a:buClr>
          <a:schemeClr val="accent1"/>
        </a:buClr>
        <a:buSzPct val="50000"/>
        <a:buFont typeface="Arial"/>
        <a:buNone/>
        <a:defRPr sz="1800" b="0" i="0" kern="1200">
          <a:solidFill>
            <a:srgbClr val="7F7F7F"/>
          </a:solidFill>
          <a:latin typeface="+mn-lt"/>
          <a:ea typeface="+mn-ea"/>
          <a:cs typeface="+mn-cs"/>
        </a:defRPr>
      </a:lvl4pPr>
      <a:lvl5pPr marL="1828800" indent="0" algn="l" defTabSz="457200" rtl="0" eaLnBrk="1" latinLnBrk="0" hangingPunct="1">
        <a:spcBef>
          <a:spcPts val="500"/>
        </a:spcBef>
        <a:buClr>
          <a:schemeClr val="accent1"/>
        </a:buClr>
        <a:buSzPct val="50000"/>
        <a:buFont typeface="Arial"/>
        <a:buNone/>
        <a:defRPr sz="1800" b="0" i="0" kern="1200">
          <a:solidFill>
            <a:srgbClr val="7F7F7F"/>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21B44F85-5E5C-44FB-825C-4C7C87207B37}"/>
              </a:ext>
            </a:extLst>
          </p:cNvPr>
          <p:cNvSpPr>
            <a:spLocks noGrp="1"/>
          </p:cNvSpPr>
          <p:nvPr>
            <p:ph type="title"/>
          </p:nvPr>
        </p:nvSpPr>
        <p:spPr>
          <a:xfrm>
            <a:off x="469900" y="254000"/>
            <a:ext cx="8204200" cy="687388"/>
          </a:xfrm>
          <a:prstGeom prst="rect">
            <a:avLst/>
          </a:prstGeom>
        </p:spPr>
        <p:txBody>
          <a:bodyPr vert="horz" lIns="0" tIns="0" rIns="0" bIns="0" rtlCol="0" anchor="t" anchorCtr="0">
            <a:noAutofit/>
          </a:bodyPr>
          <a:lstStyle/>
          <a:p>
            <a:r>
              <a:rPr lang="sv-SE"/>
              <a:t>Klicka här för att ändra mall för rubrikformat</a:t>
            </a:r>
          </a:p>
        </p:txBody>
      </p:sp>
      <p:sp>
        <p:nvSpPr>
          <p:cNvPr id="3" name="Platshållare för text 2">
            <a:extLst>
              <a:ext uri="{FF2B5EF4-FFF2-40B4-BE49-F238E27FC236}">
                <a16:creationId xmlns:a16="http://schemas.microsoft.com/office/drawing/2014/main" id="{D5CE24C1-D518-4955-BF6B-FD6B9E8081A6}"/>
              </a:ext>
            </a:extLst>
          </p:cNvPr>
          <p:cNvSpPr>
            <a:spLocks noGrp="1"/>
          </p:cNvSpPr>
          <p:nvPr>
            <p:ph type="body" idx="1"/>
          </p:nvPr>
        </p:nvSpPr>
        <p:spPr>
          <a:xfrm>
            <a:off x="469900" y="1068388"/>
            <a:ext cx="8204200" cy="3564335"/>
          </a:xfrm>
          <a:prstGeom prst="rect">
            <a:avLst/>
          </a:prstGeom>
        </p:spPr>
        <p:txBody>
          <a:bodyPr vert="horz" lIns="0" tIns="0" rIns="0" bIns="0" rtlCol="0">
            <a:norm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a:p>
            <a:pPr lvl="5"/>
            <a:r>
              <a:rPr lang="sv-SE"/>
              <a:t>Nivå sex</a:t>
            </a:r>
          </a:p>
          <a:p>
            <a:pPr lvl="6"/>
            <a:r>
              <a:rPr lang="sv-SE"/>
              <a:t>Nivå sju</a:t>
            </a:r>
          </a:p>
          <a:p>
            <a:pPr lvl="7"/>
            <a:r>
              <a:rPr lang="sv-SE"/>
              <a:t>Nivå </a:t>
            </a:r>
            <a:r>
              <a:rPr lang="sv-SE" err="1"/>
              <a:t>atta</a:t>
            </a:r>
            <a:endParaRPr lang="sv-SE"/>
          </a:p>
          <a:p>
            <a:pPr lvl="8"/>
            <a:r>
              <a:rPr lang="sv-SE"/>
              <a:t>Nivå nio</a:t>
            </a:r>
          </a:p>
          <a:p>
            <a:pPr lvl="4"/>
            <a:endParaRPr lang="sv-SE"/>
          </a:p>
        </p:txBody>
      </p:sp>
      <p:sp>
        <p:nvSpPr>
          <p:cNvPr id="5" name="Platshållare för sidfot 4">
            <a:extLst>
              <a:ext uri="{FF2B5EF4-FFF2-40B4-BE49-F238E27FC236}">
                <a16:creationId xmlns:a16="http://schemas.microsoft.com/office/drawing/2014/main" id="{1789695D-7F0E-47A9-9DA5-AF97F6AB79D7}"/>
              </a:ext>
            </a:extLst>
          </p:cNvPr>
          <p:cNvSpPr>
            <a:spLocks noGrp="1"/>
          </p:cNvSpPr>
          <p:nvPr>
            <p:ph type="ftr" sz="quarter" idx="3"/>
          </p:nvPr>
        </p:nvSpPr>
        <p:spPr>
          <a:xfrm>
            <a:off x="2552700" y="4615656"/>
            <a:ext cx="5426075" cy="273844"/>
          </a:xfrm>
          <a:prstGeom prst="rect">
            <a:avLst/>
          </a:prstGeom>
        </p:spPr>
        <p:txBody>
          <a:bodyPr vert="horz" lIns="0" tIns="0" rIns="0" bIns="0" rtlCol="0" anchor="b" anchorCtr="0"/>
          <a:lstStyle>
            <a:lvl1pPr algn="r">
              <a:defRPr sz="900" b="1">
                <a:solidFill>
                  <a:schemeClr val="tx2"/>
                </a:solidFill>
              </a:defRPr>
            </a:lvl1pPr>
          </a:lstStyle>
          <a:p>
            <a:r>
              <a:rPr lang="en-US"/>
              <a:t>Stakeholder Forum Agenda - Classification: External</a:t>
            </a:r>
            <a:endParaRPr lang="sv-SE"/>
          </a:p>
        </p:txBody>
      </p:sp>
      <p:sp>
        <p:nvSpPr>
          <p:cNvPr id="6" name="Platshållare för bildnummer 5">
            <a:extLst>
              <a:ext uri="{FF2B5EF4-FFF2-40B4-BE49-F238E27FC236}">
                <a16:creationId xmlns:a16="http://schemas.microsoft.com/office/drawing/2014/main" id="{AEFE2D2D-01C1-4D4D-A436-7A02FBDCA340}"/>
              </a:ext>
            </a:extLst>
          </p:cNvPr>
          <p:cNvSpPr>
            <a:spLocks noGrp="1"/>
          </p:cNvSpPr>
          <p:nvPr>
            <p:ph type="sldNum" sz="quarter" idx="4"/>
          </p:nvPr>
        </p:nvSpPr>
        <p:spPr>
          <a:xfrm>
            <a:off x="8105775" y="4615656"/>
            <a:ext cx="784225" cy="273844"/>
          </a:xfrm>
          <a:prstGeom prst="rect">
            <a:avLst/>
          </a:prstGeom>
        </p:spPr>
        <p:txBody>
          <a:bodyPr vert="horz" lIns="0" tIns="0" rIns="0" bIns="0" rtlCol="0" anchor="b" anchorCtr="0"/>
          <a:lstStyle>
            <a:lvl1pPr algn="r">
              <a:defRPr sz="800">
                <a:solidFill>
                  <a:schemeClr val="tx1"/>
                </a:solidFill>
              </a:defRPr>
            </a:lvl1pPr>
          </a:lstStyle>
          <a:p>
            <a:fld id="{7D1488FD-E232-4E0B-A7C7-33537D0EAE2C}" type="slidenum">
              <a:rPr lang="sv-SE" smtClean="0"/>
              <a:pPr/>
              <a:t>‹#›</a:t>
            </a:fld>
            <a:endParaRPr lang="sv-SE"/>
          </a:p>
        </p:txBody>
      </p:sp>
      <p:pic>
        <p:nvPicPr>
          <p:cNvPr id="8" name="Bild 9">
            <a:extLst>
              <a:ext uri="{FF2B5EF4-FFF2-40B4-BE49-F238E27FC236}">
                <a16:creationId xmlns:a16="http://schemas.microsoft.com/office/drawing/2014/main" id="{8CB0CEE2-3FBA-4FDE-B792-19C209F5FC4A}"/>
              </a:ext>
            </a:extLst>
          </p:cNvPr>
          <p:cNvPicPr>
            <a:picLocks noChangeAspect="1"/>
          </p:cNvPicPr>
          <p:nvPr userDrawn="1"/>
        </p:nvPicPr>
        <p:blipFill>
          <a:blip r:embed="rId46">
            <a:extLst>
              <a:ext uri="{28A0092B-C50C-407E-A947-70E740481C1C}">
                <a14:useLocalDpi xmlns:a14="http://schemas.microsoft.com/office/drawing/2010/main" val="0"/>
              </a:ext>
            </a:extLst>
          </a:blip>
          <a:srcRect/>
          <a:stretch/>
        </p:blipFill>
        <p:spPr>
          <a:xfrm>
            <a:off x="474670" y="4258192"/>
            <a:ext cx="499754" cy="706300"/>
          </a:xfrm>
          <a:prstGeom prst="rect">
            <a:avLst/>
          </a:prstGeom>
        </p:spPr>
      </p:pic>
      <p:sp>
        <p:nvSpPr>
          <p:cNvPr id="9" name="textruta 8">
            <a:extLst>
              <a:ext uri="{FF2B5EF4-FFF2-40B4-BE49-F238E27FC236}">
                <a16:creationId xmlns:a16="http://schemas.microsoft.com/office/drawing/2014/main" id="{030A9D5B-34F2-4F51-AB4A-E30EF9AC03B4}"/>
              </a:ext>
            </a:extLst>
          </p:cNvPr>
          <p:cNvSpPr txBox="1"/>
          <p:nvPr userDrawn="1"/>
        </p:nvSpPr>
        <p:spPr>
          <a:xfrm>
            <a:off x="1023798" y="4570002"/>
            <a:ext cx="2139205" cy="623248"/>
          </a:xfrm>
          <a:prstGeom prst="rect">
            <a:avLst/>
          </a:prstGeom>
          <a:noFill/>
        </p:spPr>
        <p:txBody>
          <a:bodyPr wrap="square" lIns="0" tIns="0" rIns="0" bIns="0" rtlCol="0">
            <a:noAutofit/>
          </a:bodyPr>
          <a:lstStyle/>
          <a:p>
            <a:r>
              <a:rPr lang="en-GB" sz="1200" spc="-50" baseline="0" err="1">
                <a:solidFill>
                  <a:schemeClr val="tx2"/>
                </a:solidFill>
              </a:rPr>
              <a:t>Bankinfrastruktur</a:t>
            </a:r>
            <a:br>
              <a:rPr lang="en-GB" sz="1200" spc="-50" baseline="0">
                <a:solidFill>
                  <a:schemeClr val="tx2"/>
                </a:solidFill>
              </a:rPr>
            </a:br>
            <a:r>
              <a:rPr lang="en-GB" sz="1200" spc="-50" baseline="0" err="1">
                <a:solidFill>
                  <a:schemeClr val="tx2"/>
                </a:solidFill>
              </a:rPr>
              <a:t>i</a:t>
            </a:r>
            <a:r>
              <a:rPr lang="en-GB" sz="1200" spc="-50" baseline="0">
                <a:solidFill>
                  <a:schemeClr val="tx2"/>
                </a:solidFill>
              </a:rPr>
              <a:t> Sverige </a:t>
            </a:r>
            <a:endParaRPr lang="sv-SE" sz="1200" spc="-50" baseline="0">
              <a:solidFill>
                <a:schemeClr val="tx2"/>
              </a:solidFill>
            </a:endParaRPr>
          </a:p>
        </p:txBody>
      </p:sp>
    </p:spTree>
    <p:extLst>
      <p:ext uri="{BB962C8B-B14F-4D97-AF65-F5344CB8AC3E}">
        <p14:creationId xmlns:p14="http://schemas.microsoft.com/office/powerpoint/2010/main" val="1014489408"/>
      </p:ext>
    </p:extLst>
  </p:cSld>
  <p:clrMap bg1="lt1" tx1="dk1" bg2="lt2" tx2="dk2" accent1="accent1" accent2="accent2" accent3="accent3" accent4="accent4" accent5="accent5" accent6="accent6" hlink="hlink" folHlink="folHlink"/>
  <p:sldLayoutIdLst>
    <p:sldLayoutId id="2147483902" r:id="rId1"/>
    <p:sldLayoutId id="2147483903" r:id="rId2"/>
    <p:sldLayoutId id="2147483904" r:id="rId3"/>
    <p:sldLayoutId id="2147483905" r:id="rId4"/>
    <p:sldLayoutId id="2147483906" r:id="rId5"/>
    <p:sldLayoutId id="2147483907" r:id="rId6"/>
    <p:sldLayoutId id="2147483908" r:id="rId7"/>
    <p:sldLayoutId id="2147483909" r:id="rId8"/>
    <p:sldLayoutId id="2147483910" r:id="rId9"/>
    <p:sldLayoutId id="2147483911" r:id="rId10"/>
    <p:sldLayoutId id="2147483912" r:id="rId11"/>
    <p:sldLayoutId id="2147483913" r:id="rId12"/>
    <p:sldLayoutId id="2147483914" r:id="rId13"/>
    <p:sldLayoutId id="2147483915" r:id="rId14"/>
    <p:sldLayoutId id="2147483916" r:id="rId15"/>
    <p:sldLayoutId id="2147483917" r:id="rId16"/>
    <p:sldLayoutId id="2147483918" r:id="rId17"/>
    <p:sldLayoutId id="2147483919" r:id="rId18"/>
    <p:sldLayoutId id="2147483920" r:id="rId19"/>
    <p:sldLayoutId id="2147483921" r:id="rId20"/>
    <p:sldLayoutId id="2147483922" r:id="rId21"/>
    <p:sldLayoutId id="2147483923" r:id="rId22"/>
    <p:sldLayoutId id="2147483924" r:id="rId23"/>
    <p:sldLayoutId id="2147483925" r:id="rId24"/>
    <p:sldLayoutId id="2147483926" r:id="rId25"/>
    <p:sldLayoutId id="2147483927" r:id="rId26"/>
    <p:sldLayoutId id="2147483928" r:id="rId27"/>
    <p:sldLayoutId id="2147483929" r:id="rId28"/>
    <p:sldLayoutId id="2147483930" r:id="rId29"/>
    <p:sldLayoutId id="2147483931" r:id="rId30"/>
    <p:sldLayoutId id="2147483932" r:id="rId31"/>
    <p:sldLayoutId id="2147483933" r:id="rId32"/>
    <p:sldLayoutId id="2147483934" r:id="rId33"/>
    <p:sldLayoutId id="2147483935" r:id="rId34"/>
    <p:sldLayoutId id="2147483936" r:id="rId35"/>
    <p:sldLayoutId id="2147483937" r:id="rId36"/>
    <p:sldLayoutId id="2147483938" r:id="rId37"/>
    <p:sldLayoutId id="2147483939" r:id="rId38"/>
    <p:sldLayoutId id="2147483940" r:id="rId39"/>
    <p:sldLayoutId id="2147483941" r:id="rId40"/>
    <p:sldLayoutId id="2147483942" r:id="rId41"/>
    <p:sldLayoutId id="2147483943" r:id="rId42"/>
    <p:sldLayoutId id="2147483944" r:id="rId43"/>
    <p:sldLayoutId id="2147483945" r:id="rId44"/>
  </p:sldLayoutIdLst>
  <p:hf hdr="0"/>
  <p:txStyles>
    <p:titleStyle>
      <a:lvl1pPr algn="l" defTabSz="685800" rtl="0" eaLnBrk="1" latinLnBrk="0" hangingPunct="1">
        <a:lnSpc>
          <a:spcPct val="100000"/>
        </a:lnSpc>
        <a:spcBef>
          <a:spcPct val="0"/>
        </a:spcBef>
        <a:buNone/>
        <a:defRPr sz="2200" b="1" kern="1200">
          <a:solidFill>
            <a:schemeClr val="tx2"/>
          </a:solidFill>
          <a:latin typeface="+mj-lt"/>
          <a:ea typeface="+mj-ea"/>
          <a:cs typeface="+mj-cs"/>
        </a:defRPr>
      </a:lvl1pPr>
    </p:titleStyle>
    <p:bodyStyle>
      <a:lvl1pPr marL="216000" indent="-216000" algn="l" defTabSz="685800" rtl="0" eaLnBrk="1" latinLnBrk="0" hangingPunct="1">
        <a:lnSpc>
          <a:spcPct val="90000"/>
        </a:lnSpc>
        <a:spcBef>
          <a:spcPts val="0"/>
        </a:spcBef>
        <a:spcAft>
          <a:spcPts val="600"/>
        </a:spcAft>
        <a:buClrTx/>
        <a:buSzPct val="70000"/>
        <a:buFont typeface="Wingdings" panose="05000000000000000000" pitchFamily="2" charset="2"/>
        <a:buChar char=""/>
        <a:tabLst>
          <a:tab pos="216000" algn="l"/>
        </a:tabLst>
        <a:defRPr sz="1400" kern="1200">
          <a:solidFill>
            <a:schemeClr val="tx2"/>
          </a:solidFill>
          <a:latin typeface="+mn-lt"/>
          <a:ea typeface="+mn-ea"/>
          <a:cs typeface="+mn-cs"/>
        </a:defRPr>
      </a:lvl1pPr>
      <a:lvl2pPr marL="288000" indent="-144000" algn="l" defTabSz="685800" rtl="0" eaLnBrk="1" latinLnBrk="0" hangingPunct="1">
        <a:lnSpc>
          <a:spcPct val="90000"/>
        </a:lnSpc>
        <a:spcBef>
          <a:spcPts val="0"/>
        </a:spcBef>
        <a:spcAft>
          <a:spcPts val="600"/>
        </a:spcAft>
        <a:buClrTx/>
        <a:buFont typeface="Calibri" panose="020F0502020204030204" pitchFamily="34" charset="0"/>
        <a:buChar char="–"/>
        <a:tabLst>
          <a:tab pos="144000" algn="l"/>
          <a:tab pos="288000" algn="l"/>
          <a:tab pos="432000" algn="l"/>
        </a:tabLst>
        <a:defRPr sz="1300" kern="1200">
          <a:solidFill>
            <a:schemeClr val="tx2"/>
          </a:solidFill>
          <a:latin typeface="+mn-lt"/>
          <a:ea typeface="+mn-ea"/>
          <a:cs typeface="+mn-cs"/>
        </a:defRPr>
      </a:lvl2pPr>
      <a:lvl3pPr marL="432000" indent="-144000" algn="l" defTabSz="685800" rtl="0" eaLnBrk="1" latinLnBrk="0" hangingPunct="1">
        <a:lnSpc>
          <a:spcPct val="90000"/>
        </a:lnSpc>
        <a:spcBef>
          <a:spcPts val="0"/>
        </a:spcBef>
        <a:spcAft>
          <a:spcPts val="600"/>
        </a:spcAft>
        <a:buClrTx/>
        <a:buFont typeface="Calibri" panose="020F0502020204030204" pitchFamily="34" charset="0"/>
        <a:buChar char="–"/>
        <a:defRPr sz="1300" kern="1200">
          <a:solidFill>
            <a:schemeClr val="tx2"/>
          </a:solidFill>
          <a:latin typeface="+mn-lt"/>
          <a:ea typeface="+mn-ea"/>
          <a:cs typeface="+mn-cs"/>
        </a:defRPr>
      </a:lvl3pPr>
      <a:lvl4pPr marL="576000" indent="-144000" algn="l" defTabSz="685800" rtl="0" eaLnBrk="1" latinLnBrk="0" hangingPunct="1">
        <a:lnSpc>
          <a:spcPct val="90000"/>
        </a:lnSpc>
        <a:spcBef>
          <a:spcPts val="0"/>
        </a:spcBef>
        <a:spcAft>
          <a:spcPts val="600"/>
        </a:spcAft>
        <a:buClrTx/>
        <a:buFont typeface="Calibri" panose="020F0502020204030204" pitchFamily="34" charset="0"/>
        <a:buChar char="–"/>
        <a:defRPr sz="1300" kern="1200">
          <a:solidFill>
            <a:schemeClr val="tx2"/>
          </a:solidFill>
          <a:latin typeface="+mn-lt"/>
          <a:ea typeface="+mn-ea"/>
          <a:cs typeface="+mn-cs"/>
        </a:defRPr>
      </a:lvl4pPr>
      <a:lvl5pPr marL="720000" indent="-144000" algn="l" defTabSz="685800" rtl="0" eaLnBrk="1" latinLnBrk="0" hangingPunct="1">
        <a:lnSpc>
          <a:spcPct val="90000"/>
        </a:lnSpc>
        <a:spcBef>
          <a:spcPts val="0"/>
        </a:spcBef>
        <a:spcAft>
          <a:spcPts val="600"/>
        </a:spcAft>
        <a:buClrTx/>
        <a:buFont typeface="Calibri" panose="020F0502020204030204" pitchFamily="34" charset="0"/>
        <a:buChar char="–"/>
        <a:defRPr sz="1300" kern="1200">
          <a:solidFill>
            <a:schemeClr val="tx2"/>
          </a:solidFill>
          <a:latin typeface="+mn-lt"/>
          <a:ea typeface="+mn-ea"/>
          <a:cs typeface="+mn-cs"/>
        </a:defRPr>
      </a:lvl5pPr>
      <a:lvl6pPr marL="864000" indent="-144000" algn="l" defTabSz="685800" rtl="0" eaLnBrk="1" latinLnBrk="0" hangingPunct="1">
        <a:lnSpc>
          <a:spcPct val="90000"/>
        </a:lnSpc>
        <a:spcBef>
          <a:spcPts val="0"/>
        </a:spcBef>
        <a:spcAft>
          <a:spcPts val="600"/>
        </a:spcAft>
        <a:buFont typeface="Calibri" panose="020F0502020204030204" pitchFamily="34" charset="0"/>
        <a:buChar char="–"/>
        <a:defRPr sz="1300" kern="1200">
          <a:solidFill>
            <a:schemeClr val="tx2"/>
          </a:solidFill>
          <a:latin typeface="+mn-lt"/>
          <a:ea typeface="+mn-ea"/>
          <a:cs typeface="+mn-cs"/>
        </a:defRPr>
      </a:lvl6pPr>
      <a:lvl7pPr marL="1008000" indent="-144000" algn="l" defTabSz="685800" rtl="0" eaLnBrk="1" latinLnBrk="0" hangingPunct="1">
        <a:lnSpc>
          <a:spcPct val="90000"/>
        </a:lnSpc>
        <a:spcBef>
          <a:spcPts val="0"/>
        </a:spcBef>
        <a:spcAft>
          <a:spcPts val="600"/>
        </a:spcAft>
        <a:buFont typeface="Calibri" panose="020F0502020204030204" pitchFamily="34" charset="0"/>
        <a:buChar char="–"/>
        <a:defRPr sz="1300" kern="1200">
          <a:solidFill>
            <a:schemeClr val="tx2"/>
          </a:solidFill>
          <a:latin typeface="+mn-lt"/>
          <a:ea typeface="+mn-ea"/>
          <a:cs typeface="+mn-cs"/>
        </a:defRPr>
      </a:lvl7pPr>
      <a:lvl8pPr marL="1152000" indent="-144000" algn="l" defTabSz="685800" rtl="0" eaLnBrk="1" latinLnBrk="0" hangingPunct="1">
        <a:lnSpc>
          <a:spcPct val="90000"/>
        </a:lnSpc>
        <a:spcBef>
          <a:spcPts val="0"/>
        </a:spcBef>
        <a:spcAft>
          <a:spcPts val="600"/>
        </a:spcAft>
        <a:buFont typeface="Calibri" panose="020F0502020204030204" pitchFamily="34" charset="0"/>
        <a:buChar char="–"/>
        <a:defRPr sz="1300" kern="1200">
          <a:solidFill>
            <a:schemeClr val="tx2"/>
          </a:solidFill>
          <a:latin typeface="+mn-lt"/>
          <a:ea typeface="+mn-ea"/>
          <a:cs typeface="+mn-cs"/>
        </a:defRPr>
      </a:lvl8pPr>
      <a:lvl9pPr marL="1296000" indent="-144000" algn="l" defTabSz="685800" rtl="0" eaLnBrk="1" latinLnBrk="0" hangingPunct="1">
        <a:lnSpc>
          <a:spcPct val="90000"/>
        </a:lnSpc>
        <a:spcBef>
          <a:spcPts val="0"/>
        </a:spcBef>
        <a:spcAft>
          <a:spcPts val="600"/>
        </a:spcAft>
        <a:buFont typeface="Calibri" panose="020F0502020204030204" pitchFamily="34" charset="0"/>
        <a:buChar char="–"/>
        <a:defRPr sz="1300" kern="1200">
          <a:solidFill>
            <a:schemeClr val="tx2"/>
          </a:solidFill>
          <a:latin typeface="+mn-lt"/>
          <a:ea typeface="+mn-ea"/>
          <a:cs typeface="+mn-cs"/>
        </a:defRPr>
      </a:lvl9pPr>
    </p:bodyStyle>
    <p:otherStyle>
      <a:defPPr>
        <a:defRPr lang="sv-S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6">
          <p15:clr>
            <a:srgbClr val="009FE2"/>
          </p15:clr>
        </p15:guide>
        <p15:guide id="2" pos="653">
          <p15:clr>
            <a:srgbClr val="009FE2"/>
          </p15:clr>
        </p15:guide>
        <p15:guide id="3" pos="733">
          <p15:clr>
            <a:srgbClr val="009FE2"/>
          </p15:clr>
        </p15:guide>
        <p15:guide id="4" pos="1088">
          <p15:clr>
            <a:srgbClr val="009FE2"/>
          </p15:clr>
        </p15:guide>
        <p15:guide id="5" pos="1170">
          <p15:clr>
            <a:srgbClr val="009FE2"/>
          </p15:clr>
        </p15:guide>
        <p15:guide id="6" pos="1519">
          <p15:clr>
            <a:srgbClr val="009FE2"/>
          </p15:clr>
        </p15:guide>
        <p15:guide id="7" pos="1608">
          <p15:clr>
            <a:srgbClr val="009FE2"/>
          </p15:clr>
        </p15:guide>
        <p15:guide id="8" pos="1965">
          <p15:clr>
            <a:srgbClr val="009FE2"/>
          </p15:clr>
        </p15:guide>
        <p15:guide id="9" pos="2045">
          <p15:clr>
            <a:srgbClr val="009FE2"/>
          </p15:clr>
        </p15:guide>
        <p15:guide id="10" pos="2402">
          <p15:clr>
            <a:srgbClr val="009FE2"/>
          </p15:clr>
        </p15:guide>
        <p15:guide id="11" pos="2494">
          <p15:clr>
            <a:srgbClr val="009FE2"/>
          </p15:clr>
        </p15:guide>
        <p15:guide id="12" pos="2840">
          <p15:clr>
            <a:srgbClr val="009FE2"/>
          </p15:clr>
        </p15:guide>
        <p15:guide id="13" pos="2920">
          <p15:clr>
            <a:srgbClr val="009FE2"/>
          </p15:clr>
        </p15:guide>
        <p15:guide id="14" pos="3277">
          <p15:clr>
            <a:srgbClr val="009FE2"/>
          </p15:clr>
        </p15:guide>
        <p15:guide id="15" pos="3357">
          <p15:clr>
            <a:srgbClr val="009FE2"/>
          </p15:clr>
        </p15:guide>
        <p15:guide id="16" pos="3714">
          <p15:clr>
            <a:srgbClr val="009FE2"/>
          </p15:clr>
        </p15:guide>
        <p15:guide id="17" pos="3794">
          <p15:clr>
            <a:srgbClr val="009FE2"/>
          </p15:clr>
        </p15:guide>
        <p15:guide id="18" pos="4152">
          <p15:clr>
            <a:srgbClr val="009FE2"/>
          </p15:clr>
        </p15:guide>
        <p15:guide id="19" pos="4232">
          <p15:clr>
            <a:srgbClr val="009FE2"/>
          </p15:clr>
        </p15:guide>
        <p15:guide id="20" pos="4589">
          <p15:clr>
            <a:srgbClr val="009FE2"/>
          </p15:clr>
        </p15:guide>
        <p15:guide id="21" pos="4669">
          <p15:clr>
            <a:srgbClr val="009FE2"/>
          </p15:clr>
        </p15:guide>
        <p15:guide id="22" pos="5026">
          <p15:clr>
            <a:srgbClr val="009FE2"/>
          </p15:clr>
        </p15:guide>
        <p15:guide id="23" pos="5106">
          <p15:clr>
            <a:srgbClr val="009FE2"/>
          </p15:clr>
        </p15:guide>
        <p15:guide id="24" pos="5464">
          <p15:clr>
            <a:srgbClr val="009FE2"/>
          </p15:clr>
        </p15:guide>
        <p15:guide id="25" orient="horz" pos="160">
          <p15:clr>
            <a:srgbClr val="F26B43"/>
          </p15:clr>
        </p15:guide>
        <p15:guide id="26" orient="horz" pos="593">
          <p15:clr>
            <a:srgbClr val="009FE2"/>
          </p15:clr>
        </p15:guide>
        <p15:guide id="27" orient="horz" pos="673">
          <p15:clr>
            <a:srgbClr val="009FE2"/>
          </p15:clr>
        </p15:guide>
        <p15:guide id="28" orient="horz" pos="1106">
          <p15:clr>
            <a:srgbClr val="009FE2"/>
          </p15:clr>
        </p15:guide>
        <p15:guide id="29" orient="horz" pos="1186">
          <p15:clr>
            <a:srgbClr val="009FE2"/>
          </p15:clr>
        </p15:guide>
        <p15:guide id="30" orient="horz" pos="1620">
          <p15:clr>
            <a:srgbClr val="009FE2"/>
          </p15:clr>
        </p15:guide>
        <p15:guide id="31" orient="horz" pos="1700">
          <p15:clr>
            <a:srgbClr val="009FE2"/>
          </p15:clr>
        </p15:guide>
        <p15:guide id="32" orient="horz" pos="2133">
          <p15:clr>
            <a:srgbClr val="009FE2"/>
          </p15:clr>
        </p15:guide>
        <p15:guide id="33" orient="horz" pos="2213">
          <p15:clr>
            <a:srgbClr val="009FE2"/>
          </p15:clr>
        </p15:guide>
        <p15:guide id="34" orient="horz" pos="2646">
          <p15:clr>
            <a:srgbClr val="009FE2"/>
          </p15:clr>
        </p15:guide>
        <p15:guide id="35" orient="horz" pos="2726">
          <p15:clr>
            <a:srgbClr val="009FE2"/>
          </p15:clr>
        </p15:guide>
        <p15:guide id="36" orient="horz" pos="3160">
          <p15:clr>
            <a:srgbClr val="009FE2"/>
          </p15:clr>
        </p15:guide>
        <p15:guide id="37" pos="160">
          <p15:clr>
            <a:srgbClr val="C40079"/>
          </p15:clr>
        </p15:guide>
        <p15:guide id="38" pos="5600">
          <p15:clr>
            <a:srgbClr val="C40079"/>
          </p15:clr>
        </p15:guide>
        <p15:guide id="39" orient="horz" pos="3080">
          <p15:clr>
            <a:srgbClr val="C40079"/>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6.xml"/><Relationship Id="rId1" Type="http://schemas.openxmlformats.org/officeDocument/2006/relationships/slideLayout" Target="../slideLayouts/slideLayout135.xml"/></Relationships>
</file>

<file path=ppt/slides/_rels/slide11.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58.xml"/><Relationship Id="rId1" Type="http://schemas.openxmlformats.org/officeDocument/2006/relationships/tags" Target="../tags/tag2.xml"/><Relationship Id="rId4" Type="http://schemas.openxmlformats.org/officeDocument/2006/relationships/image" Target="../media/image70.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0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00.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71.jpeg"/><Relationship Id="rId2" Type="http://schemas.openxmlformats.org/officeDocument/2006/relationships/slideLayout" Target="../slideLayouts/slideLayout167.xml"/><Relationship Id="rId1" Type="http://schemas.openxmlformats.org/officeDocument/2006/relationships/tags" Target="../tags/tag3.xml"/><Relationship Id="rId6" Type="http://schemas.openxmlformats.org/officeDocument/2006/relationships/hyperlink" Target="https://www.bankinfrastruktur.se/" TargetMode="External"/><Relationship Id="rId5" Type="http://schemas.openxmlformats.org/officeDocument/2006/relationships/hyperlink" Target="mailto:helena.stjernstedt@financesweden.se" TargetMode="External"/><Relationship Id="rId4" Type="http://schemas.openxmlformats.org/officeDocument/2006/relationships/image" Target="../media/image70.emf"/></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2.xml"/></Relationships>
</file>

<file path=ppt/slides/_rels/slide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8" Type="http://schemas.openxmlformats.org/officeDocument/2006/relationships/image" Target="../media/image77.svg"/><Relationship Id="rId3" Type="http://schemas.openxmlformats.org/officeDocument/2006/relationships/image" Target="../media/image72.svg"/><Relationship Id="rId7" Type="http://schemas.openxmlformats.org/officeDocument/2006/relationships/image" Target="../media/image76.png"/><Relationship Id="rId2" Type="http://schemas.openxmlformats.org/officeDocument/2006/relationships/notesSlide" Target="../notesSlides/notesSlide10.xml"/><Relationship Id="rId1" Type="http://schemas.openxmlformats.org/officeDocument/2006/relationships/slideLayout" Target="../slideLayouts/slideLayout151.xml"/><Relationship Id="rId6" Type="http://schemas.openxmlformats.org/officeDocument/2006/relationships/image" Target="../media/image75.svg"/><Relationship Id="rId11" Type="http://schemas.openxmlformats.org/officeDocument/2006/relationships/image" Target="../media/image80.png"/><Relationship Id="rId5" Type="http://schemas.openxmlformats.org/officeDocument/2006/relationships/image" Target="../media/image74.svg"/><Relationship Id="rId10" Type="http://schemas.openxmlformats.org/officeDocument/2006/relationships/image" Target="../media/image79.svg"/><Relationship Id="rId4" Type="http://schemas.openxmlformats.org/officeDocument/2006/relationships/image" Target="../media/image73.svg"/><Relationship Id="rId9" Type="http://schemas.openxmlformats.org/officeDocument/2006/relationships/image" Target="../media/image78.svg"/></Relationships>
</file>

<file path=ppt/slides/_rels/slide21.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11.xml"/><Relationship Id="rId1" Type="http://schemas.openxmlformats.org/officeDocument/2006/relationships/slideLayout" Target="../slideLayouts/slideLayout147.xml"/></Relationships>
</file>

<file path=ppt/slides/_rels/slide22.xml.rels><?xml version="1.0" encoding="UTF-8" standalone="yes"?>
<Relationships xmlns="http://schemas.openxmlformats.org/package/2006/relationships"><Relationship Id="rId2" Type="http://schemas.openxmlformats.org/officeDocument/2006/relationships/hyperlink" Target="mailto:nhm@fida.dk" TargetMode="External"/><Relationship Id="rId1" Type="http://schemas.openxmlformats.org/officeDocument/2006/relationships/slideLayout" Target="../slideLayouts/slideLayout149.xml"/></Relationships>
</file>

<file path=ppt/slides/_rels/slide23.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hyperlink" Target="https://www.nordicpaymentscouncil.org/get-involved/public-consultations-2027-npc-payment-schemes/" TargetMode="External"/><Relationship Id="rId2" Type="http://schemas.openxmlformats.org/officeDocument/2006/relationships/hyperlink" Target="https://www.europeanpaymentscouncil.eu/news-insights/news/public-consultation-change-requests-epc-payment-scheme-rulebooks-0" TargetMode="External"/><Relationship Id="rId1" Type="http://schemas.openxmlformats.org/officeDocument/2006/relationships/slideLayout" Target="../slideLayouts/slideLayout1.xml"/><Relationship Id="rId5" Type="http://schemas.openxmlformats.org/officeDocument/2006/relationships/image" Target="../media/image83.png"/><Relationship Id="rId4" Type="http://schemas.openxmlformats.org/officeDocument/2006/relationships/image" Target="../media/image82.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0.xml"/><Relationship Id="rId1" Type="http://schemas.openxmlformats.org/officeDocument/2006/relationships/slideLayout" Target="../slideLayouts/slideLayout19.xml"/><Relationship Id="rId4" Type="http://schemas.openxmlformats.org/officeDocument/2006/relationships/hyperlink" Target="https://www.nordicpaymentscouncil.org/npc-schemes/npc-one-leg-out-instant-credit-transfer-scheme/" TargetMode="Externa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notesSlide" Target="../notesSlides/notesSlide23.xml"/></Relationships>
</file>

<file path=ppt/slides/_rels/slide4.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2.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4.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hyperlink" Target="mailto:info@npcouncil.org" TargetMode="External"/><Relationship Id="rId7" Type="http://schemas.openxmlformats.org/officeDocument/2006/relationships/hyperlink" Target="mailto:paulina.kudlacik@npcouncil.org" TargetMode="External"/><Relationship Id="rId2" Type="http://schemas.openxmlformats.org/officeDocument/2006/relationships/hyperlink" Target="http://www.nordicpaymentscouncil.org/" TargetMode="External"/><Relationship Id="rId1" Type="http://schemas.openxmlformats.org/officeDocument/2006/relationships/slideLayout" Target="../slideLayouts/slideLayout4.xml"/><Relationship Id="rId6" Type="http://schemas.openxmlformats.org/officeDocument/2006/relationships/hyperlink" Target="mailto:johanna.blomgren@npcouncil.org" TargetMode="External"/><Relationship Id="rId5" Type="http://schemas.openxmlformats.org/officeDocument/2006/relationships/hyperlink" Target="mailto:maria.brogren@npcouncil.org" TargetMode="External"/><Relationship Id="rId4" Type="http://schemas.openxmlformats.org/officeDocument/2006/relationships/hyperlink" Target="mailto:camilla.akerman@npcouncil.org" TargetMode="Externa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0.xml"/></Relationships>
</file>

<file path=ppt/slides/_rels/slide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5.xml"/><Relationship Id="rId1" Type="http://schemas.openxmlformats.org/officeDocument/2006/relationships/slideLayout" Target="../slideLayouts/slideLayout135.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2087B393-C028-4D13-85B5-45C1209DE294}"/>
              </a:ext>
            </a:extLst>
          </p:cNvPr>
          <p:cNvSpPr>
            <a:spLocks noGrp="1"/>
          </p:cNvSpPr>
          <p:nvPr>
            <p:ph type="title"/>
          </p:nvPr>
        </p:nvSpPr>
        <p:spPr/>
        <p:txBody>
          <a:bodyPr/>
          <a:lstStyle/>
          <a:p>
            <a:r>
              <a:rPr lang="en-GB"/>
              <a:t>Nordic Payments Council (NPC)</a:t>
            </a:r>
          </a:p>
        </p:txBody>
      </p:sp>
      <p:sp>
        <p:nvSpPr>
          <p:cNvPr id="7" name="Platshållare för text 6">
            <a:extLst>
              <a:ext uri="{FF2B5EF4-FFF2-40B4-BE49-F238E27FC236}">
                <a16:creationId xmlns:a16="http://schemas.microsoft.com/office/drawing/2014/main" id="{11AA7744-8205-4102-B51A-C2D1F00A0023}"/>
              </a:ext>
            </a:extLst>
          </p:cNvPr>
          <p:cNvSpPr>
            <a:spLocks noGrp="1"/>
          </p:cNvSpPr>
          <p:nvPr>
            <p:ph type="body" sz="quarter" idx="13"/>
          </p:nvPr>
        </p:nvSpPr>
        <p:spPr>
          <a:xfrm>
            <a:off x="380999" y="2502477"/>
            <a:ext cx="4275221" cy="1206396"/>
          </a:xfrm>
        </p:spPr>
        <p:txBody>
          <a:bodyPr/>
          <a:lstStyle/>
          <a:p>
            <a:r>
              <a:rPr lang="en-GB"/>
              <a:t>Stakeholder Forum</a:t>
            </a:r>
          </a:p>
          <a:p>
            <a:r>
              <a:rPr lang="en-GB"/>
              <a:t>Meeting no. 21, 26 March 2026</a:t>
            </a:r>
          </a:p>
          <a:p>
            <a:r>
              <a:rPr lang="en-GB"/>
              <a:t>In Stockholm and via Teams</a:t>
            </a:r>
          </a:p>
        </p:txBody>
      </p:sp>
      <p:sp>
        <p:nvSpPr>
          <p:cNvPr id="4" name="Platshållare för sidfot 3">
            <a:extLst>
              <a:ext uri="{FF2B5EF4-FFF2-40B4-BE49-F238E27FC236}">
                <a16:creationId xmlns:a16="http://schemas.microsoft.com/office/drawing/2014/main" id="{885CBA48-8E62-4867-9F2B-F61773F088FD}"/>
              </a:ext>
            </a:extLst>
          </p:cNvPr>
          <p:cNvSpPr>
            <a:spLocks noGrp="1"/>
          </p:cNvSpPr>
          <p:nvPr>
            <p:ph type="ftr" sz="quarter" idx="11"/>
          </p:nvPr>
        </p:nvSpPr>
        <p:spPr/>
        <p:txBody>
          <a:bodyPr/>
          <a:lstStyle/>
          <a:p>
            <a:r>
              <a:rPr lang="en-US"/>
              <a:t>Stakeholder Forum Agenda - Classification: External</a:t>
            </a:r>
            <a:endParaRPr lang="en-GB"/>
          </a:p>
        </p:txBody>
      </p:sp>
      <p:sp>
        <p:nvSpPr>
          <p:cNvPr id="5" name="Platshållare för datum 4">
            <a:extLst>
              <a:ext uri="{FF2B5EF4-FFF2-40B4-BE49-F238E27FC236}">
                <a16:creationId xmlns:a16="http://schemas.microsoft.com/office/drawing/2014/main" id="{AE718D57-DEB6-4388-B589-1122558509B3}"/>
              </a:ext>
            </a:extLst>
          </p:cNvPr>
          <p:cNvSpPr>
            <a:spLocks noGrp="1"/>
          </p:cNvSpPr>
          <p:nvPr>
            <p:ph type="dt" sz="half" idx="10"/>
          </p:nvPr>
        </p:nvSpPr>
        <p:spPr/>
        <p:txBody>
          <a:bodyPr/>
          <a:lstStyle/>
          <a:p>
            <a:r>
              <a:rPr lang="sv-SE"/>
              <a:t>26/03/2026</a:t>
            </a:r>
            <a:endParaRPr lang="en-GB"/>
          </a:p>
        </p:txBody>
      </p:sp>
      <p:sp>
        <p:nvSpPr>
          <p:cNvPr id="6" name="Platshållare för bildnummer 5">
            <a:extLst>
              <a:ext uri="{FF2B5EF4-FFF2-40B4-BE49-F238E27FC236}">
                <a16:creationId xmlns:a16="http://schemas.microsoft.com/office/drawing/2014/main" id="{91522AC1-CD55-4F22-B708-D4732AB2E782}"/>
              </a:ext>
            </a:extLst>
          </p:cNvPr>
          <p:cNvSpPr>
            <a:spLocks noGrp="1"/>
          </p:cNvSpPr>
          <p:nvPr>
            <p:ph type="sldNum" sz="quarter" idx="12"/>
          </p:nvPr>
        </p:nvSpPr>
        <p:spPr/>
        <p:txBody>
          <a:bodyPr/>
          <a:lstStyle/>
          <a:p>
            <a:fld id="{394EE31B-4DFC-CF4D-9A18-3F5D4D7C7302}" type="slidenum">
              <a:rPr lang="en-GB" smtClean="0"/>
              <a:pPr/>
              <a:t>1</a:t>
            </a:fld>
            <a:endParaRPr lang="en-GB"/>
          </a:p>
        </p:txBody>
      </p:sp>
      <p:pic>
        <p:nvPicPr>
          <p:cNvPr id="8" name="Bildobjekt 7" descr="En bild som visar karta&#10;&#10;Automatiskt genererad beskrivning">
            <a:extLst>
              <a:ext uri="{FF2B5EF4-FFF2-40B4-BE49-F238E27FC236}">
                <a16:creationId xmlns:a16="http://schemas.microsoft.com/office/drawing/2014/main" id="{DEBF3CC1-FD85-44F2-BB83-79957E52D1C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39944" y="927125"/>
            <a:ext cx="3445660" cy="3568736"/>
          </a:xfrm>
          <a:prstGeom prst="rect">
            <a:avLst/>
          </a:prstGeom>
        </p:spPr>
      </p:pic>
    </p:spTree>
    <p:extLst>
      <p:ext uri="{BB962C8B-B14F-4D97-AF65-F5344CB8AC3E}">
        <p14:creationId xmlns:p14="http://schemas.microsoft.com/office/powerpoint/2010/main" val="23965962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0F4408-5329-FD5D-BEEA-6AB40A57AAF7}"/>
            </a:ext>
          </a:extLst>
        </p:cNvPr>
        <p:cNvGrpSpPr/>
        <p:nvPr/>
      </p:nvGrpSpPr>
      <p:grpSpPr>
        <a:xfrm>
          <a:off x="0" y="0"/>
          <a:ext cx="0" cy="0"/>
          <a:chOff x="0" y="0"/>
          <a:chExt cx="0" cy="0"/>
        </a:xfrm>
      </p:grpSpPr>
      <p:sp>
        <p:nvSpPr>
          <p:cNvPr id="7" name="Tittel 6">
            <a:extLst>
              <a:ext uri="{FF2B5EF4-FFF2-40B4-BE49-F238E27FC236}">
                <a16:creationId xmlns:a16="http://schemas.microsoft.com/office/drawing/2014/main" id="{0F453F7B-41B0-0B38-CFDC-0DDFA5F3C019}"/>
              </a:ext>
            </a:extLst>
          </p:cNvPr>
          <p:cNvSpPr>
            <a:spLocks noGrp="1"/>
          </p:cNvSpPr>
          <p:nvPr>
            <p:ph type="title"/>
          </p:nvPr>
        </p:nvSpPr>
        <p:spPr>
          <a:xfrm>
            <a:off x="567130" y="520922"/>
            <a:ext cx="7679666" cy="455830"/>
          </a:xfrm>
        </p:spPr>
        <p:txBody>
          <a:bodyPr/>
          <a:lstStyle/>
          <a:p>
            <a:r>
              <a:rPr lang="nb-NO">
                <a:latin typeface="arial"/>
                <a:cs typeface="arial"/>
              </a:rPr>
              <a:t>Project under </a:t>
            </a:r>
            <a:r>
              <a:rPr lang="nb-NO" err="1">
                <a:latin typeface="arial"/>
                <a:cs typeface="arial"/>
              </a:rPr>
              <a:t>consideration</a:t>
            </a:r>
            <a:endParaRPr lang="nb-NO"/>
          </a:p>
        </p:txBody>
      </p:sp>
      <p:sp>
        <p:nvSpPr>
          <p:cNvPr id="4" name="TekstSylinder 3">
            <a:extLst>
              <a:ext uri="{FF2B5EF4-FFF2-40B4-BE49-F238E27FC236}">
                <a16:creationId xmlns:a16="http://schemas.microsoft.com/office/drawing/2014/main" id="{901D8D42-EF7E-ED96-8342-02B1A9D3FB2E}"/>
              </a:ext>
            </a:extLst>
          </p:cNvPr>
          <p:cNvSpPr txBox="1"/>
          <p:nvPr/>
        </p:nvSpPr>
        <p:spPr>
          <a:xfrm>
            <a:off x="6161382" y="1066492"/>
            <a:ext cx="675185" cy="300082"/>
          </a:xfrm>
          <a:prstGeom prst="rect">
            <a:avLst/>
          </a:prstGeom>
          <a:noFill/>
        </p:spPr>
        <p:txBody>
          <a:bodyPr wrap="none" rtlCol="0">
            <a:spAutoFit/>
          </a:bodyPr>
          <a:lstStyle/>
          <a:p>
            <a:pPr defTabSz="685800"/>
            <a:r>
              <a:rPr lang="nb-NO" sz="1350">
                <a:solidFill>
                  <a:srgbClr val="000000"/>
                </a:solidFill>
                <a:latin typeface="Arial"/>
              </a:rPr>
              <a:t>Status</a:t>
            </a:r>
          </a:p>
        </p:txBody>
      </p:sp>
      <p:sp>
        <p:nvSpPr>
          <p:cNvPr id="5" name="TekstSylinder 4">
            <a:extLst>
              <a:ext uri="{FF2B5EF4-FFF2-40B4-BE49-F238E27FC236}">
                <a16:creationId xmlns:a16="http://schemas.microsoft.com/office/drawing/2014/main" id="{310692FC-BAFF-DBF3-82B0-6E4894BCE2C3}"/>
              </a:ext>
            </a:extLst>
          </p:cNvPr>
          <p:cNvSpPr txBox="1"/>
          <p:nvPr/>
        </p:nvSpPr>
        <p:spPr>
          <a:xfrm>
            <a:off x="3509853" y="1066492"/>
            <a:ext cx="1050288" cy="300082"/>
          </a:xfrm>
          <a:prstGeom prst="rect">
            <a:avLst/>
          </a:prstGeom>
          <a:noFill/>
        </p:spPr>
        <p:txBody>
          <a:bodyPr wrap="none" rtlCol="0">
            <a:spAutoFit/>
          </a:bodyPr>
          <a:lstStyle/>
          <a:p>
            <a:pPr defTabSz="685800"/>
            <a:r>
              <a:rPr lang="nb-NO" sz="1350" err="1">
                <a:solidFill>
                  <a:srgbClr val="000000"/>
                </a:solidFill>
                <a:latin typeface="Arial"/>
              </a:rPr>
              <a:t>Description</a:t>
            </a:r>
            <a:endParaRPr lang="nb-NO" sz="1350">
              <a:solidFill>
                <a:srgbClr val="000000"/>
              </a:solidFill>
              <a:latin typeface="Arial"/>
            </a:endParaRPr>
          </a:p>
        </p:txBody>
      </p:sp>
      <p:sp>
        <p:nvSpPr>
          <p:cNvPr id="6" name="TekstSylinder 5">
            <a:extLst>
              <a:ext uri="{FF2B5EF4-FFF2-40B4-BE49-F238E27FC236}">
                <a16:creationId xmlns:a16="http://schemas.microsoft.com/office/drawing/2014/main" id="{E717AB26-8374-7255-1A1A-6FBB1C0FE725}"/>
              </a:ext>
            </a:extLst>
          </p:cNvPr>
          <p:cNvSpPr txBox="1"/>
          <p:nvPr/>
        </p:nvSpPr>
        <p:spPr>
          <a:xfrm>
            <a:off x="733011" y="1066492"/>
            <a:ext cx="723275" cy="300082"/>
          </a:xfrm>
          <a:prstGeom prst="rect">
            <a:avLst/>
          </a:prstGeom>
          <a:noFill/>
        </p:spPr>
        <p:txBody>
          <a:bodyPr wrap="none" rtlCol="0">
            <a:spAutoFit/>
          </a:bodyPr>
          <a:lstStyle/>
          <a:p>
            <a:pPr defTabSz="685800"/>
            <a:r>
              <a:rPr lang="nb-NO" sz="1350">
                <a:solidFill>
                  <a:srgbClr val="000000"/>
                </a:solidFill>
                <a:latin typeface="Arial"/>
              </a:rPr>
              <a:t>Project</a:t>
            </a:r>
          </a:p>
        </p:txBody>
      </p:sp>
      <p:grpSp>
        <p:nvGrpSpPr>
          <p:cNvPr id="12" name="Gruppe 11">
            <a:extLst>
              <a:ext uri="{FF2B5EF4-FFF2-40B4-BE49-F238E27FC236}">
                <a16:creationId xmlns:a16="http://schemas.microsoft.com/office/drawing/2014/main" id="{DA8F3353-60D0-9F57-EFDA-FE104FE179A2}"/>
              </a:ext>
            </a:extLst>
          </p:cNvPr>
          <p:cNvGrpSpPr/>
          <p:nvPr/>
        </p:nvGrpSpPr>
        <p:grpSpPr>
          <a:xfrm>
            <a:off x="577682" y="1421264"/>
            <a:ext cx="7962497" cy="808073"/>
            <a:chOff x="766042" y="3497959"/>
            <a:chExt cx="10616662" cy="1077430"/>
          </a:xfrm>
        </p:grpSpPr>
        <p:sp>
          <p:nvSpPr>
            <p:cNvPr id="17" name="Rektangel: avrundede hjørner 16">
              <a:extLst>
                <a:ext uri="{FF2B5EF4-FFF2-40B4-BE49-F238E27FC236}">
                  <a16:creationId xmlns:a16="http://schemas.microsoft.com/office/drawing/2014/main" id="{5D3E0D4D-E3D4-FDF3-D829-A9523C221816}"/>
                </a:ext>
              </a:extLst>
            </p:cNvPr>
            <p:cNvSpPr/>
            <p:nvPr/>
          </p:nvSpPr>
          <p:spPr>
            <a:xfrm>
              <a:off x="766042" y="3497959"/>
              <a:ext cx="10498189" cy="1077430"/>
            </a:xfrm>
            <a:prstGeom prst="round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nb-NO" sz="1350">
                <a:solidFill>
                  <a:srgbClr val="FFFFFF"/>
                </a:solidFill>
                <a:latin typeface="Arial"/>
              </a:endParaRPr>
            </a:p>
          </p:txBody>
        </p:sp>
        <p:sp>
          <p:nvSpPr>
            <p:cNvPr id="20" name="TekstSylinder 19">
              <a:extLst>
                <a:ext uri="{FF2B5EF4-FFF2-40B4-BE49-F238E27FC236}">
                  <a16:creationId xmlns:a16="http://schemas.microsoft.com/office/drawing/2014/main" id="{EC36FE08-1120-C262-3514-2D47E20F7828}"/>
                </a:ext>
              </a:extLst>
            </p:cNvPr>
            <p:cNvSpPr txBox="1"/>
            <p:nvPr/>
          </p:nvSpPr>
          <p:spPr>
            <a:xfrm>
              <a:off x="1729518" y="3848041"/>
              <a:ext cx="2266005" cy="400109"/>
            </a:xfrm>
            <a:prstGeom prst="rect">
              <a:avLst/>
            </a:prstGeom>
            <a:noFill/>
          </p:spPr>
          <p:txBody>
            <a:bodyPr wrap="none" rtlCol="0">
              <a:spAutoFit/>
            </a:bodyPr>
            <a:lstStyle/>
            <a:p>
              <a:pPr defTabSz="685800"/>
              <a:r>
                <a:rPr lang="nb-NO" sz="1350">
                  <a:solidFill>
                    <a:srgbClr val="000000"/>
                  </a:solidFill>
                  <a:latin typeface="Arial"/>
                </a:rPr>
                <a:t>Sec. Settlement t+1</a:t>
              </a:r>
            </a:p>
          </p:txBody>
        </p:sp>
        <p:sp>
          <p:nvSpPr>
            <p:cNvPr id="24" name="TekstSylinder 23">
              <a:extLst>
                <a:ext uri="{FF2B5EF4-FFF2-40B4-BE49-F238E27FC236}">
                  <a16:creationId xmlns:a16="http://schemas.microsoft.com/office/drawing/2014/main" id="{9FB6B87A-1171-670E-7077-2BC9207D3401}"/>
                </a:ext>
              </a:extLst>
            </p:cNvPr>
            <p:cNvSpPr txBox="1"/>
            <p:nvPr/>
          </p:nvSpPr>
          <p:spPr>
            <a:xfrm>
              <a:off x="4463890" y="3602742"/>
              <a:ext cx="3869225" cy="954107"/>
            </a:xfrm>
            <a:prstGeom prst="rect">
              <a:avLst/>
            </a:prstGeom>
            <a:noFill/>
          </p:spPr>
          <p:txBody>
            <a:bodyPr wrap="square" rtlCol="0">
              <a:spAutoFit/>
            </a:bodyPr>
            <a:lstStyle/>
            <a:p>
              <a:pPr defTabSz="685800"/>
              <a:r>
                <a:rPr lang="nb-NO" sz="1350">
                  <a:solidFill>
                    <a:srgbClr val="000000"/>
                  </a:solidFill>
                  <a:latin typeface="Arial"/>
                </a:rPr>
                <a:t>Later end-</a:t>
              </a:r>
              <a:r>
                <a:rPr lang="nb-NO" sz="1350" err="1">
                  <a:solidFill>
                    <a:srgbClr val="000000"/>
                  </a:solidFill>
                  <a:latin typeface="Arial"/>
                </a:rPr>
                <a:t>of</a:t>
              </a:r>
              <a:r>
                <a:rPr lang="nb-NO" sz="1350">
                  <a:solidFill>
                    <a:srgbClr val="000000"/>
                  </a:solidFill>
                  <a:latin typeface="Arial"/>
                </a:rPr>
                <a:t> </a:t>
              </a:r>
              <a:r>
                <a:rPr lang="nb-NO" sz="1350" err="1">
                  <a:solidFill>
                    <a:srgbClr val="000000"/>
                  </a:solidFill>
                  <a:latin typeface="Arial"/>
                </a:rPr>
                <a:t>day</a:t>
              </a:r>
              <a:r>
                <a:rPr lang="nb-NO" sz="1350">
                  <a:solidFill>
                    <a:srgbClr val="000000"/>
                  </a:solidFill>
                  <a:latin typeface="Arial"/>
                </a:rPr>
                <a:t> </a:t>
              </a:r>
              <a:r>
                <a:rPr lang="nb-NO" sz="1350" err="1">
                  <a:solidFill>
                    <a:srgbClr val="000000"/>
                  </a:solidFill>
                  <a:latin typeface="Arial"/>
                </a:rPr>
                <a:t>securities</a:t>
              </a:r>
              <a:r>
                <a:rPr lang="nb-NO" sz="1350">
                  <a:solidFill>
                    <a:srgbClr val="000000"/>
                  </a:solidFill>
                  <a:latin typeface="Arial"/>
                </a:rPr>
                <a:t> settlement in Norges Bank. </a:t>
              </a:r>
              <a:r>
                <a:rPr lang="nb-NO" sz="1350" err="1">
                  <a:solidFill>
                    <a:srgbClr val="000000"/>
                  </a:solidFill>
                  <a:latin typeface="Arial"/>
                </a:rPr>
                <a:t>Require</a:t>
              </a:r>
              <a:r>
                <a:rPr lang="nb-NO" sz="1350">
                  <a:solidFill>
                    <a:srgbClr val="000000"/>
                  </a:solidFill>
                  <a:latin typeface="Arial"/>
                </a:rPr>
                <a:t> later end </a:t>
              </a:r>
              <a:r>
                <a:rPr lang="nb-NO" sz="1350" err="1">
                  <a:solidFill>
                    <a:srgbClr val="000000"/>
                  </a:solidFill>
                  <a:latin typeface="Arial"/>
                </a:rPr>
                <a:t>of</a:t>
              </a:r>
              <a:r>
                <a:rPr lang="nb-NO" sz="1350">
                  <a:solidFill>
                    <a:srgbClr val="000000"/>
                  </a:solidFill>
                  <a:latin typeface="Arial"/>
                </a:rPr>
                <a:t> </a:t>
              </a:r>
              <a:r>
                <a:rPr lang="nb-NO" sz="1350" err="1">
                  <a:solidFill>
                    <a:srgbClr val="000000"/>
                  </a:solidFill>
                  <a:latin typeface="Arial"/>
                </a:rPr>
                <a:t>day</a:t>
              </a:r>
              <a:r>
                <a:rPr lang="nb-NO" sz="1350">
                  <a:solidFill>
                    <a:srgbClr val="000000"/>
                  </a:solidFill>
                  <a:latin typeface="Arial"/>
                </a:rPr>
                <a:t> NICS Clearing </a:t>
              </a:r>
            </a:p>
          </p:txBody>
        </p:sp>
        <p:pic>
          <p:nvPicPr>
            <p:cNvPr id="2" name="Picture 2" descr="Ledige stillinger - IT - Norges | FINN Jobb">
              <a:extLst>
                <a:ext uri="{FF2B5EF4-FFF2-40B4-BE49-F238E27FC236}">
                  <a16:creationId xmlns:a16="http://schemas.microsoft.com/office/drawing/2014/main" id="{D9398174-4010-2FEB-C0CE-8211DAB0F93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70625"/>
            <a:stretch/>
          </p:blipFill>
          <p:spPr bwMode="auto">
            <a:xfrm>
              <a:off x="1002208" y="3746019"/>
              <a:ext cx="616738" cy="572998"/>
            </a:xfrm>
            <a:prstGeom prst="rect">
              <a:avLst/>
            </a:prstGeom>
            <a:noFill/>
            <a:extLst>
              <a:ext uri="{909E8E84-426E-40DD-AFC4-6F175D3DCCD1}">
                <a14:hiddenFill xmlns:a14="http://schemas.microsoft.com/office/drawing/2010/main">
                  <a:solidFill>
                    <a:srgbClr val="FFFFFF"/>
                  </a:solidFill>
                </a14:hiddenFill>
              </a:ext>
            </a:extLst>
          </p:spPr>
        </p:pic>
        <p:sp>
          <p:nvSpPr>
            <p:cNvPr id="25" name="TekstSylinder 24">
              <a:extLst>
                <a:ext uri="{FF2B5EF4-FFF2-40B4-BE49-F238E27FC236}">
                  <a16:creationId xmlns:a16="http://schemas.microsoft.com/office/drawing/2014/main" id="{9941B39E-8598-0ED7-3AEF-7FB7A3EF7E04}"/>
                </a:ext>
              </a:extLst>
            </p:cNvPr>
            <p:cNvSpPr txBox="1"/>
            <p:nvPr/>
          </p:nvSpPr>
          <p:spPr>
            <a:xfrm>
              <a:off x="8805037" y="3592140"/>
              <a:ext cx="2577667" cy="954107"/>
            </a:xfrm>
            <a:prstGeom prst="rect">
              <a:avLst/>
            </a:prstGeom>
            <a:noFill/>
          </p:spPr>
          <p:txBody>
            <a:bodyPr wrap="square" rtlCol="0">
              <a:spAutoFit/>
            </a:bodyPr>
            <a:lstStyle/>
            <a:p>
              <a:pPr defTabSz="685800"/>
              <a:r>
                <a:rPr lang="nb-NO" sz="1350" err="1">
                  <a:solidFill>
                    <a:srgbClr val="000000"/>
                  </a:solidFill>
                  <a:latin typeface="Arial"/>
                </a:rPr>
                <a:t>Impact</a:t>
              </a:r>
              <a:r>
                <a:rPr lang="nb-NO" sz="1350">
                  <a:solidFill>
                    <a:srgbClr val="000000"/>
                  </a:solidFill>
                  <a:latin typeface="Arial"/>
                </a:rPr>
                <a:t> </a:t>
              </a:r>
              <a:r>
                <a:rPr lang="nb-NO" sz="1350" err="1">
                  <a:solidFill>
                    <a:srgbClr val="000000"/>
                  </a:solidFill>
                  <a:latin typeface="Arial"/>
                </a:rPr>
                <a:t>assessment</a:t>
              </a:r>
              <a:r>
                <a:rPr lang="nb-NO" sz="1350">
                  <a:solidFill>
                    <a:srgbClr val="000000"/>
                  </a:solidFill>
                  <a:latin typeface="Arial"/>
                </a:rPr>
                <a:t> on-</a:t>
              </a:r>
              <a:r>
                <a:rPr lang="nb-NO" sz="1350" err="1">
                  <a:solidFill>
                    <a:srgbClr val="000000"/>
                  </a:solidFill>
                  <a:latin typeface="Arial"/>
                </a:rPr>
                <a:t>going</a:t>
              </a:r>
              <a:r>
                <a:rPr lang="nb-NO" sz="1350">
                  <a:solidFill>
                    <a:srgbClr val="000000"/>
                  </a:solidFill>
                  <a:latin typeface="Arial"/>
                </a:rPr>
                <a:t>. In </a:t>
              </a:r>
              <a:r>
                <a:rPr lang="nb-NO" sz="1350" err="1">
                  <a:solidFill>
                    <a:srgbClr val="000000"/>
                  </a:solidFill>
                  <a:latin typeface="Arial"/>
                </a:rPr>
                <a:t>production</a:t>
              </a:r>
              <a:r>
                <a:rPr lang="nb-NO" sz="1350">
                  <a:solidFill>
                    <a:srgbClr val="000000"/>
                  </a:solidFill>
                  <a:latin typeface="Arial"/>
                </a:rPr>
                <a:t> q3-q4 27</a:t>
              </a:r>
            </a:p>
          </p:txBody>
        </p:sp>
        <p:sp>
          <p:nvSpPr>
            <p:cNvPr id="9" name="Ellipse 8">
              <a:extLst>
                <a:ext uri="{FF2B5EF4-FFF2-40B4-BE49-F238E27FC236}">
                  <a16:creationId xmlns:a16="http://schemas.microsoft.com/office/drawing/2014/main" id="{B8108560-687D-00DA-82CF-FAF7FAE5551D}"/>
                </a:ext>
              </a:extLst>
            </p:cNvPr>
            <p:cNvSpPr>
              <a:spLocks noChangeAspect="1"/>
            </p:cNvSpPr>
            <p:nvPr/>
          </p:nvSpPr>
          <p:spPr>
            <a:xfrm>
              <a:off x="8333116" y="3852708"/>
              <a:ext cx="360000" cy="360000"/>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nb-NO" sz="1350">
                <a:solidFill>
                  <a:srgbClr val="FFFFFF"/>
                </a:solidFill>
                <a:latin typeface="Arial"/>
              </a:endParaRPr>
            </a:p>
          </p:txBody>
        </p:sp>
      </p:grpSp>
      <p:sp>
        <p:nvSpPr>
          <p:cNvPr id="34" name="Plassholder for tekst 33">
            <a:extLst>
              <a:ext uri="{FF2B5EF4-FFF2-40B4-BE49-F238E27FC236}">
                <a16:creationId xmlns:a16="http://schemas.microsoft.com/office/drawing/2014/main" id="{7564C57F-6669-08EE-7232-C154CD350434}"/>
              </a:ext>
            </a:extLst>
          </p:cNvPr>
          <p:cNvSpPr>
            <a:spLocks noGrp="1"/>
          </p:cNvSpPr>
          <p:nvPr>
            <p:ph type="body" sz="quarter" idx="13"/>
          </p:nvPr>
        </p:nvSpPr>
        <p:spPr/>
        <p:txBody>
          <a:bodyPr/>
          <a:lstStyle/>
          <a:p>
            <a:r>
              <a:rPr lang="nb-NO"/>
              <a:t>Norway </a:t>
            </a:r>
            <a:r>
              <a:rPr lang="nb-NO" err="1"/>
              <a:t>community</a:t>
            </a:r>
            <a:r>
              <a:rPr lang="nb-NO"/>
              <a:t> </a:t>
            </a:r>
            <a:r>
              <a:rPr lang="nb-NO" err="1"/>
              <a:t>update</a:t>
            </a:r>
            <a:endParaRPr lang="nb-NO"/>
          </a:p>
        </p:txBody>
      </p:sp>
    </p:spTree>
    <p:extLst>
      <p:ext uri="{BB962C8B-B14F-4D97-AF65-F5344CB8AC3E}">
        <p14:creationId xmlns:p14="http://schemas.microsoft.com/office/powerpoint/2010/main" val="30185995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001F82-C2F3-B3A2-153F-5FEED60444C4}"/>
            </a:ext>
          </a:extLst>
        </p:cNvPr>
        <p:cNvGrpSpPr/>
        <p:nvPr/>
      </p:nvGrpSpPr>
      <p:grpSpPr>
        <a:xfrm>
          <a:off x="0" y="0"/>
          <a:ext cx="0" cy="0"/>
          <a:chOff x="0" y="0"/>
          <a:chExt cx="0" cy="0"/>
        </a:xfrm>
      </p:grpSpPr>
      <p:sp>
        <p:nvSpPr>
          <p:cNvPr id="2" name="Picture Placeholder 1">
            <a:extLst>
              <a:ext uri="{FF2B5EF4-FFF2-40B4-BE49-F238E27FC236}">
                <a16:creationId xmlns:a16="http://schemas.microsoft.com/office/drawing/2014/main" id="{EFB3EECF-FC58-8E98-A60E-ED955B106A3E}"/>
              </a:ext>
            </a:extLst>
          </p:cNvPr>
          <p:cNvSpPr>
            <a:spLocks noGrp="1"/>
          </p:cNvSpPr>
          <p:nvPr>
            <p:ph type="pic" sz="quarter" idx="15"/>
          </p:nvPr>
        </p:nvSpPr>
        <p:spPr/>
        <p:txBody>
          <a:bodyPr/>
          <a:lstStyle/>
          <a:p>
            <a:endParaRPr lang="sv-SE"/>
          </a:p>
        </p:txBody>
      </p:sp>
      <p:sp>
        <p:nvSpPr>
          <p:cNvPr id="8" name="Rubrik 7">
            <a:extLst>
              <a:ext uri="{FF2B5EF4-FFF2-40B4-BE49-F238E27FC236}">
                <a16:creationId xmlns:a16="http://schemas.microsoft.com/office/drawing/2014/main" id="{2F58B2AD-9DA7-E85A-2703-5BC8FAD566F5}"/>
              </a:ext>
            </a:extLst>
          </p:cNvPr>
          <p:cNvSpPr>
            <a:spLocks noGrp="1"/>
          </p:cNvSpPr>
          <p:nvPr>
            <p:ph type="title"/>
          </p:nvPr>
        </p:nvSpPr>
        <p:spPr/>
        <p:txBody>
          <a:bodyPr/>
          <a:lstStyle/>
          <a:p>
            <a:r>
              <a:rPr lang="en-GB"/>
              <a:t>Suggested Agenda</a:t>
            </a:r>
          </a:p>
        </p:txBody>
      </p:sp>
      <p:sp>
        <p:nvSpPr>
          <p:cNvPr id="10" name="Platshållare för text 9">
            <a:extLst>
              <a:ext uri="{FF2B5EF4-FFF2-40B4-BE49-F238E27FC236}">
                <a16:creationId xmlns:a16="http://schemas.microsoft.com/office/drawing/2014/main" id="{F4DEEFF8-C8C0-BEB9-47B5-46340B865DC1}"/>
              </a:ext>
            </a:extLst>
          </p:cNvPr>
          <p:cNvSpPr>
            <a:spLocks noGrp="1"/>
          </p:cNvSpPr>
          <p:nvPr>
            <p:ph type="body" sz="quarter" idx="17"/>
          </p:nvPr>
        </p:nvSpPr>
        <p:spPr>
          <a:xfrm>
            <a:off x="381000" y="947738"/>
            <a:ext cx="4093842" cy="3487737"/>
          </a:xfrm>
        </p:spPr>
        <p:txBody>
          <a:bodyPr>
            <a:normAutofit fontScale="92500" lnSpcReduction="10000"/>
          </a:bodyPr>
          <a:lstStyle/>
          <a:p>
            <a:pPr marL="342900" indent="-342900">
              <a:buFont typeface="+mj-lt"/>
              <a:buAutoNum type="arabicPeriod"/>
            </a:pPr>
            <a:r>
              <a:rPr lang="en-GB" sz="1600"/>
              <a:t>Introduction </a:t>
            </a:r>
          </a:p>
          <a:p>
            <a:pPr marL="342900" indent="-342900">
              <a:buFont typeface="+mj-lt"/>
              <a:buAutoNum type="arabicPeriod"/>
            </a:pPr>
            <a:r>
              <a:rPr lang="en-GB" sz="1600"/>
              <a:t>Approval of Agenda</a:t>
            </a:r>
          </a:p>
          <a:p>
            <a:pPr marL="342900" indent="-342900">
              <a:buFont typeface="+mj-lt"/>
              <a:buAutoNum type="arabicPeriod"/>
            </a:pPr>
            <a:r>
              <a:rPr lang="en-GB" sz="1600"/>
              <a:t>Approval of last meeting’s minutes</a:t>
            </a:r>
          </a:p>
          <a:p>
            <a:pPr marL="342900" indent="-342900">
              <a:buFont typeface="+mj-lt"/>
              <a:buAutoNum type="arabicPeriod"/>
            </a:pPr>
            <a:r>
              <a:rPr lang="en-GB" sz="1600"/>
              <a:t>Appointment of minutes adjuster</a:t>
            </a:r>
          </a:p>
          <a:p>
            <a:pPr marL="342900" indent="-342900">
              <a:buFont typeface="+mj-lt"/>
              <a:buAutoNum type="arabicPeriod"/>
            </a:pPr>
            <a:r>
              <a:rPr lang="en-GB" sz="1600"/>
              <a:t>NPC General information</a:t>
            </a:r>
          </a:p>
          <a:p>
            <a:pPr marL="342900" indent="-342900">
              <a:buFont typeface="+mj-lt"/>
              <a:buAutoNum type="arabicPeriod"/>
            </a:pPr>
            <a:r>
              <a:rPr lang="en-GB" sz="1600"/>
              <a:t>Nordic community update - NO</a:t>
            </a:r>
          </a:p>
          <a:p>
            <a:pPr marL="342900" indent="-342900">
              <a:buFont typeface="+mj-lt"/>
              <a:buAutoNum type="arabicPeriod"/>
            </a:pPr>
            <a:r>
              <a:rPr lang="en-GB" sz="1600" b="1"/>
              <a:t>External speaker </a:t>
            </a:r>
          </a:p>
          <a:p>
            <a:pPr marL="342900" indent="-342900">
              <a:buFont typeface="+mj-lt"/>
              <a:buAutoNum type="arabicPeriod"/>
            </a:pPr>
            <a:r>
              <a:rPr lang="en-GB" sz="1600"/>
              <a:t>Nordic community update – SE and DK</a:t>
            </a:r>
          </a:p>
          <a:p>
            <a:pPr marL="0" indent="0">
              <a:buNone/>
            </a:pPr>
            <a:r>
              <a:rPr lang="en-GB" sz="1600" i="1"/>
              <a:t>Break</a:t>
            </a:r>
          </a:p>
          <a:p>
            <a:pPr marL="342900" indent="-342900">
              <a:buFont typeface="+mj-lt"/>
              <a:buAutoNum type="arabicPeriod" startAt="9"/>
            </a:pPr>
            <a:r>
              <a:rPr lang="en-GB" sz="1600"/>
              <a:t>NPC Verification of Payee</a:t>
            </a:r>
          </a:p>
          <a:p>
            <a:pPr marL="342900" indent="-342900">
              <a:buFont typeface="+mj-lt"/>
              <a:buAutoNum type="arabicPeriod" startAt="9"/>
            </a:pPr>
            <a:r>
              <a:rPr lang="en-GB" sz="1600"/>
              <a:t>NPC Payment Schemes</a:t>
            </a:r>
          </a:p>
          <a:p>
            <a:pPr marL="342900" indent="-342900">
              <a:buFont typeface="+mj-lt"/>
              <a:buAutoNum type="arabicPeriod" startAt="9"/>
            </a:pPr>
            <a:r>
              <a:rPr lang="en-GB" sz="1600"/>
              <a:t>Position papers </a:t>
            </a:r>
          </a:p>
          <a:p>
            <a:pPr marL="342900" indent="-342900">
              <a:buFont typeface="+mj-lt"/>
              <a:buAutoNum type="arabicPeriod" startAt="9"/>
            </a:pPr>
            <a:r>
              <a:rPr lang="en-GB" sz="1600"/>
              <a:t>NPC going forward </a:t>
            </a:r>
          </a:p>
          <a:p>
            <a:pPr marL="342900" indent="-342900">
              <a:buFont typeface="+mj-lt"/>
              <a:buAutoNum type="arabicPeriod" startAt="9"/>
            </a:pPr>
            <a:r>
              <a:rPr lang="en-GB" sz="1600"/>
              <a:t>Any other business </a:t>
            </a:r>
          </a:p>
          <a:p>
            <a:pPr marL="342900" indent="-342900">
              <a:buFont typeface="+mj-lt"/>
              <a:buAutoNum type="arabicPeriod" startAt="9"/>
            </a:pPr>
            <a:r>
              <a:rPr lang="en-GB" sz="1600"/>
              <a:t>Closing</a:t>
            </a:r>
          </a:p>
        </p:txBody>
      </p:sp>
      <p:sp>
        <p:nvSpPr>
          <p:cNvPr id="5" name="Platshållare för sidfot 4">
            <a:extLst>
              <a:ext uri="{FF2B5EF4-FFF2-40B4-BE49-F238E27FC236}">
                <a16:creationId xmlns:a16="http://schemas.microsoft.com/office/drawing/2014/main" id="{8D520C31-243F-8C52-BFBA-F79B4353A1B9}"/>
              </a:ext>
            </a:extLst>
          </p:cNvPr>
          <p:cNvSpPr>
            <a:spLocks noGrp="1"/>
          </p:cNvSpPr>
          <p:nvPr>
            <p:ph type="ftr" sz="quarter" idx="11"/>
          </p:nvPr>
        </p:nvSpPr>
        <p:spPr/>
        <p:txBody>
          <a:bodyPr/>
          <a:lstStyle/>
          <a:p>
            <a:r>
              <a:rPr lang="en-US"/>
              <a:t>Stakeholder Forum Agenda - Classification: External</a:t>
            </a:r>
            <a:endParaRPr lang="en-GB"/>
          </a:p>
        </p:txBody>
      </p:sp>
      <p:sp>
        <p:nvSpPr>
          <p:cNvPr id="6" name="Platshållare för datum 5">
            <a:extLst>
              <a:ext uri="{FF2B5EF4-FFF2-40B4-BE49-F238E27FC236}">
                <a16:creationId xmlns:a16="http://schemas.microsoft.com/office/drawing/2014/main" id="{72BB0E76-FD31-1ABA-5B41-E5D0A051C63C}"/>
              </a:ext>
            </a:extLst>
          </p:cNvPr>
          <p:cNvSpPr>
            <a:spLocks noGrp="1"/>
          </p:cNvSpPr>
          <p:nvPr>
            <p:ph type="dt" sz="half" idx="10"/>
          </p:nvPr>
        </p:nvSpPr>
        <p:spPr/>
        <p:txBody>
          <a:bodyPr/>
          <a:lstStyle/>
          <a:p>
            <a:r>
              <a:rPr lang="sv-SE"/>
              <a:t>26/03/2026</a:t>
            </a:r>
            <a:endParaRPr lang="en-GB"/>
          </a:p>
        </p:txBody>
      </p:sp>
      <p:sp>
        <p:nvSpPr>
          <p:cNvPr id="7" name="Platshållare för bildnummer 6">
            <a:extLst>
              <a:ext uri="{FF2B5EF4-FFF2-40B4-BE49-F238E27FC236}">
                <a16:creationId xmlns:a16="http://schemas.microsoft.com/office/drawing/2014/main" id="{3F3A196A-3741-C69A-402D-118ED69AC1E1}"/>
              </a:ext>
            </a:extLst>
          </p:cNvPr>
          <p:cNvSpPr>
            <a:spLocks noGrp="1"/>
          </p:cNvSpPr>
          <p:nvPr>
            <p:ph type="sldNum" sz="quarter" idx="12"/>
          </p:nvPr>
        </p:nvSpPr>
        <p:spPr/>
        <p:txBody>
          <a:bodyPr/>
          <a:lstStyle/>
          <a:p>
            <a:fld id="{394EE31B-4DFC-CF4D-9A18-3F5D4D7C7302}" type="slidenum">
              <a:rPr lang="en-GB" smtClean="0"/>
              <a:pPr/>
              <a:t>11</a:t>
            </a:fld>
            <a:endParaRPr lang="en-GB"/>
          </a:p>
        </p:txBody>
      </p:sp>
      <p:pic>
        <p:nvPicPr>
          <p:cNvPr id="11" name="Platshållare för bild 7" descr="En bild som visar person, inomhus, man, stående&#10;&#10;Automatiskt genererad beskrivning">
            <a:extLst>
              <a:ext uri="{FF2B5EF4-FFF2-40B4-BE49-F238E27FC236}">
                <a16:creationId xmlns:a16="http://schemas.microsoft.com/office/drawing/2014/main" id="{9B6294BB-B4FB-345E-3F20-F12DA7EBD70E}"/>
              </a:ext>
            </a:extLst>
          </p:cNvPr>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a:xfrm>
            <a:off x="4572000" y="952574"/>
            <a:ext cx="4156148" cy="3289235"/>
          </a:xfrm>
          <a:prstGeom prst="rect">
            <a:avLst/>
          </a:prstGeom>
        </p:spPr>
      </p:pic>
    </p:spTree>
    <p:extLst>
      <p:ext uri="{BB962C8B-B14F-4D97-AF65-F5344CB8AC3E}">
        <p14:creationId xmlns:p14="http://schemas.microsoft.com/office/powerpoint/2010/main" val="35961129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6FBE430E-91EB-C831-CCB9-B21F9721F1AF}"/>
              </a:ext>
            </a:extLst>
          </p:cNvPr>
          <p:cNvSpPr>
            <a:spLocks noGrp="1"/>
          </p:cNvSpPr>
          <p:nvPr>
            <p:ph type="title"/>
          </p:nvPr>
        </p:nvSpPr>
        <p:spPr/>
        <p:txBody>
          <a:bodyPr>
            <a:normAutofit fontScale="90000"/>
          </a:bodyPr>
          <a:lstStyle/>
          <a:p>
            <a:r>
              <a:rPr lang="sv-SE"/>
              <a:t>External Speaker: Nexus</a:t>
            </a:r>
          </a:p>
        </p:txBody>
      </p:sp>
      <p:sp>
        <p:nvSpPr>
          <p:cNvPr id="11" name="Text Placeholder 10">
            <a:extLst>
              <a:ext uri="{FF2B5EF4-FFF2-40B4-BE49-F238E27FC236}">
                <a16:creationId xmlns:a16="http://schemas.microsoft.com/office/drawing/2014/main" id="{24B24937-AC68-B32B-3617-D3E12440F386}"/>
              </a:ext>
            </a:extLst>
          </p:cNvPr>
          <p:cNvSpPr>
            <a:spLocks noGrp="1"/>
          </p:cNvSpPr>
          <p:nvPr>
            <p:ph type="body" sz="quarter" idx="17"/>
          </p:nvPr>
        </p:nvSpPr>
        <p:spPr/>
        <p:txBody>
          <a:bodyPr/>
          <a:lstStyle/>
          <a:p>
            <a:pPr marL="0" indent="0" algn="ctr">
              <a:buNone/>
            </a:pPr>
            <a:endParaRPr lang="sv-SE" sz="2400"/>
          </a:p>
          <a:p>
            <a:pPr marL="0" indent="0" algn="ctr">
              <a:buNone/>
            </a:pPr>
            <a:r>
              <a:rPr lang="sv-SE" sz="2400"/>
              <a:t>Presentation from Mark Munne, </a:t>
            </a:r>
          </a:p>
          <a:p>
            <a:pPr marL="0" indent="0" algn="ctr">
              <a:buNone/>
            </a:pPr>
            <a:r>
              <a:rPr lang="sv-SE" sz="2400"/>
              <a:t>CTO at Nexus Global Payments</a:t>
            </a:r>
          </a:p>
        </p:txBody>
      </p:sp>
      <p:sp>
        <p:nvSpPr>
          <p:cNvPr id="5" name="Footer Placeholder 4">
            <a:extLst>
              <a:ext uri="{FF2B5EF4-FFF2-40B4-BE49-F238E27FC236}">
                <a16:creationId xmlns:a16="http://schemas.microsoft.com/office/drawing/2014/main" id="{EB8B2A2B-734D-9F15-3AD0-71FB9D1F1611}"/>
              </a:ext>
            </a:extLst>
          </p:cNvPr>
          <p:cNvSpPr>
            <a:spLocks noGrp="1"/>
          </p:cNvSpPr>
          <p:nvPr>
            <p:ph type="ftr" sz="quarter" idx="11"/>
          </p:nvPr>
        </p:nvSpPr>
        <p:spPr/>
        <p:txBody>
          <a:bodyPr/>
          <a:lstStyle/>
          <a:p>
            <a:r>
              <a:rPr lang="en-US"/>
              <a:t>Stakeholder Forum Agenda - Classification: External</a:t>
            </a:r>
            <a:endParaRPr lang="sv-SE"/>
          </a:p>
        </p:txBody>
      </p:sp>
      <p:sp>
        <p:nvSpPr>
          <p:cNvPr id="6" name="Date Placeholder 5">
            <a:extLst>
              <a:ext uri="{FF2B5EF4-FFF2-40B4-BE49-F238E27FC236}">
                <a16:creationId xmlns:a16="http://schemas.microsoft.com/office/drawing/2014/main" id="{19EFCA84-F50B-2CA0-38EA-C2CB945CD4CD}"/>
              </a:ext>
            </a:extLst>
          </p:cNvPr>
          <p:cNvSpPr>
            <a:spLocks noGrp="1"/>
          </p:cNvSpPr>
          <p:nvPr>
            <p:ph type="dt" sz="half" idx="10"/>
          </p:nvPr>
        </p:nvSpPr>
        <p:spPr/>
        <p:txBody>
          <a:bodyPr/>
          <a:lstStyle/>
          <a:p>
            <a:r>
              <a:rPr lang="sv-SE"/>
              <a:t>26/03/2026</a:t>
            </a:r>
          </a:p>
        </p:txBody>
      </p:sp>
      <p:sp>
        <p:nvSpPr>
          <p:cNvPr id="7" name="Slide Number Placeholder 6">
            <a:extLst>
              <a:ext uri="{FF2B5EF4-FFF2-40B4-BE49-F238E27FC236}">
                <a16:creationId xmlns:a16="http://schemas.microsoft.com/office/drawing/2014/main" id="{B0330427-3D78-5A2A-35C0-50095818CB43}"/>
              </a:ext>
            </a:extLst>
          </p:cNvPr>
          <p:cNvSpPr>
            <a:spLocks noGrp="1"/>
          </p:cNvSpPr>
          <p:nvPr>
            <p:ph type="sldNum" sz="quarter" idx="12"/>
          </p:nvPr>
        </p:nvSpPr>
        <p:spPr/>
        <p:txBody>
          <a:bodyPr/>
          <a:lstStyle/>
          <a:p>
            <a:fld id="{394EE31B-4DFC-CF4D-9A18-3F5D4D7C7302}" type="slidenum">
              <a:rPr lang="sv-SE" smtClean="0"/>
              <a:pPr/>
              <a:t>12</a:t>
            </a:fld>
            <a:endParaRPr lang="sv-SE"/>
          </a:p>
        </p:txBody>
      </p:sp>
      <p:pic>
        <p:nvPicPr>
          <p:cNvPr id="4" name="Picture 3">
            <a:extLst>
              <a:ext uri="{FF2B5EF4-FFF2-40B4-BE49-F238E27FC236}">
                <a16:creationId xmlns:a16="http://schemas.microsoft.com/office/drawing/2014/main" id="{64518F39-6546-4ECA-B26E-4EF27B7E4AE6}"/>
              </a:ext>
            </a:extLst>
          </p:cNvPr>
          <p:cNvPicPr>
            <a:picLocks noChangeAspect="1"/>
          </p:cNvPicPr>
          <p:nvPr/>
        </p:nvPicPr>
        <p:blipFill>
          <a:blip r:embed="rId2"/>
          <a:stretch>
            <a:fillRect/>
          </a:stretch>
        </p:blipFill>
        <p:spPr>
          <a:xfrm>
            <a:off x="4584699" y="952575"/>
            <a:ext cx="4156147" cy="2331028"/>
          </a:xfrm>
          <a:prstGeom prst="rect">
            <a:avLst/>
          </a:prstGeom>
        </p:spPr>
      </p:pic>
    </p:spTree>
    <p:extLst>
      <p:ext uri="{BB962C8B-B14F-4D97-AF65-F5344CB8AC3E}">
        <p14:creationId xmlns:p14="http://schemas.microsoft.com/office/powerpoint/2010/main" val="28270282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8FDB60-8E17-743A-23C6-4B5879C41CBE}"/>
            </a:ext>
          </a:extLst>
        </p:cNvPr>
        <p:cNvGrpSpPr/>
        <p:nvPr/>
      </p:nvGrpSpPr>
      <p:grpSpPr>
        <a:xfrm>
          <a:off x="0" y="0"/>
          <a:ext cx="0" cy="0"/>
          <a:chOff x="0" y="0"/>
          <a:chExt cx="0" cy="0"/>
        </a:xfrm>
      </p:grpSpPr>
      <p:sp>
        <p:nvSpPr>
          <p:cNvPr id="2" name="Picture Placeholder 1">
            <a:extLst>
              <a:ext uri="{FF2B5EF4-FFF2-40B4-BE49-F238E27FC236}">
                <a16:creationId xmlns:a16="http://schemas.microsoft.com/office/drawing/2014/main" id="{8E4D80EB-8840-4984-F59C-0770FB0CF582}"/>
              </a:ext>
            </a:extLst>
          </p:cNvPr>
          <p:cNvSpPr>
            <a:spLocks noGrp="1"/>
          </p:cNvSpPr>
          <p:nvPr>
            <p:ph type="pic" sz="quarter" idx="15"/>
          </p:nvPr>
        </p:nvSpPr>
        <p:spPr/>
        <p:txBody>
          <a:bodyPr/>
          <a:lstStyle/>
          <a:p>
            <a:endParaRPr lang="sv-SE"/>
          </a:p>
        </p:txBody>
      </p:sp>
      <p:sp>
        <p:nvSpPr>
          <p:cNvPr id="8" name="Rubrik 7">
            <a:extLst>
              <a:ext uri="{FF2B5EF4-FFF2-40B4-BE49-F238E27FC236}">
                <a16:creationId xmlns:a16="http://schemas.microsoft.com/office/drawing/2014/main" id="{B9ABA709-113A-F5F3-13AE-3586AE7C824D}"/>
              </a:ext>
            </a:extLst>
          </p:cNvPr>
          <p:cNvSpPr>
            <a:spLocks noGrp="1"/>
          </p:cNvSpPr>
          <p:nvPr>
            <p:ph type="title"/>
          </p:nvPr>
        </p:nvSpPr>
        <p:spPr/>
        <p:txBody>
          <a:bodyPr/>
          <a:lstStyle/>
          <a:p>
            <a:r>
              <a:rPr lang="en-GB"/>
              <a:t>Suggested Agenda</a:t>
            </a:r>
          </a:p>
        </p:txBody>
      </p:sp>
      <p:sp>
        <p:nvSpPr>
          <p:cNvPr id="10" name="Platshållare för text 9">
            <a:extLst>
              <a:ext uri="{FF2B5EF4-FFF2-40B4-BE49-F238E27FC236}">
                <a16:creationId xmlns:a16="http://schemas.microsoft.com/office/drawing/2014/main" id="{68D6BA00-02EA-1998-DED6-963B27D07696}"/>
              </a:ext>
            </a:extLst>
          </p:cNvPr>
          <p:cNvSpPr>
            <a:spLocks noGrp="1"/>
          </p:cNvSpPr>
          <p:nvPr>
            <p:ph type="body" sz="quarter" idx="17"/>
          </p:nvPr>
        </p:nvSpPr>
        <p:spPr>
          <a:xfrm>
            <a:off x="381000" y="947738"/>
            <a:ext cx="4093842" cy="3487737"/>
          </a:xfrm>
        </p:spPr>
        <p:txBody>
          <a:bodyPr>
            <a:normAutofit fontScale="92500" lnSpcReduction="10000"/>
          </a:bodyPr>
          <a:lstStyle/>
          <a:p>
            <a:pPr marL="342900" indent="-342900">
              <a:buFont typeface="+mj-lt"/>
              <a:buAutoNum type="arabicPeriod"/>
            </a:pPr>
            <a:r>
              <a:rPr lang="en-GB" sz="1600"/>
              <a:t>Introduction </a:t>
            </a:r>
          </a:p>
          <a:p>
            <a:pPr marL="342900" indent="-342900">
              <a:buFont typeface="+mj-lt"/>
              <a:buAutoNum type="arabicPeriod"/>
            </a:pPr>
            <a:r>
              <a:rPr lang="en-GB" sz="1600"/>
              <a:t>Approval of Agenda</a:t>
            </a:r>
          </a:p>
          <a:p>
            <a:pPr marL="342900" indent="-342900">
              <a:buFont typeface="+mj-lt"/>
              <a:buAutoNum type="arabicPeriod"/>
            </a:pPr>
            <a:r>
              <a:rPr lang="en-GB" sz="1600"/>
              <a:t>Approval of last meeting’s minutes</a:t>
            </a:r>
          </a:p>
          <a:p>
            <a:pPr marL="342900" indent="-342900">
              <a:buFont typeface="+mj-lt"/>
              <a:buAutoNum type="arabicPeriod"/>
            </a:pPr>
            <a:r>
              <a:rPr lang="en-GB" sz="1600"/>
              <a:t>Appointment of minutes adjuster</a:t>
            </a:r>
          </a:p>
          <a:p>
            <a:pPr marL="342900" indent="-342900">
              <a:buFont typeface="+mj-lt"/>
              <a:buAutoNum type="arabicPeriod"/>
            </a:pPr>
            <a:r>
              <a:rPr lang="en-GB" sz="1600"/>
              <a:t>NPC General information</a:t>
            </a:r>
          </a:p>
          <a:p>
            <a:pPr marL="342900" indent="-342900">
              <a:buFont typeface="+mj-lt"/>
              <a:buAutoNum type="arabicPeriod"/>
            </a:pPr>
            <a:r>
              <a:rPr lang="en-GB" sz="1600"/>
              <a:t>Nordic community update - NO</a:t>
            </a:r>
          </a:p>
          <a:p>
            <a:pPr marL="342900" indent="-342900">
              <a:buFont typeface="+mj-lt"/>
              <a:buAutoNum type="arabicPeriod"/>
            </a:pPr>
            <a:r>
              <a:rPr lang="en-GB" sz="1600"/>
              <a:t>External speaker </a:t>
            </a:r>
          </a:p>
          <a:p>
            <a:pPr marL="342900" indent="-342900">
              <a:buFont typeface="+mj-lt"/>
              <a:buAutoNum type="arabicPeriod"/>
            </a:pPr>
            <a:r>
              <a:rPr lang="en-GB" sz="1600" b="1"/>
              <a:t>Nordic community update – SE and DK</a:t>
            </a:r>
          </a:p>
          <a:p>
            <a:pPr marL="0" indent="0">
              <a:buNone/>
            </a:pPr>
            <a:r>
              <a:rPr lang="en-GB" sz="1600" i="1"/>
              <a:t>Break</a:t>
            </a:r>
          </a:p>
          <a:p>
            <a:pPr marL="342900" indent="-342900">
              <a:buFont typeface="+mj-lt"/>
              <a:buAutoNum type="arabicPeriod" startAt="9"/>
            </a:pPr>
            <a:r>
              <a:rPr lang="en-GB" sz="1600"/>
              <a:t>NPC Verification of Payee</a:t>
            </a:r>
          </a:p>
          <a:p>
            <a:pPr marL="342900" indent="-342900">
              <a:buFont typeface="+mj-lt"/>
              <a:buAutoNum type="arabicPeriod" startAt="9"/>
            </a:pPr>
            <a:r>
              <a:rPr lang="en-GB" sz="1600"/>
              <a:t>NPC Payment Schemes</a:t>
            </a:r>
          </a:p>
          <a:p>
            <a:pPr marL="342900" indent="-342900">
              <a:buFont typeface="+mj-lt"/>
              <a:buAutoNum type="arabicPeriod" startAt="9"/>
            </a:pPr>
            <a:r>
              <a:rPr lang="en-GB" sz="1600"/>
              <a:t>Position papers </a:t>
            </a:r>
          </a:p>
          <a:p>
            <a:pPr marL="342900" indent="-342900">
              <a:buFont typeface="+mj-lt"/>
              <a:buAutoNum type="arabicPeriod" startAt="9"/>
            </a:pPr>
            <a:r>
              <a:rPr lang="en-GB" sz="1600"/>
              <a:t>NPC going forward </a:t>
            </a:r>
          </a:p>
          <a:p>
            <a:pPr marL="342900" indent="-342900">
              <a:buFont typeface="+mj-lt"/>
              <a:buAutoNum type="arabicPeriod" startAt="9"/>
            </a:pPr>
            <a:r>
              <a:rPr lang="en-GB" sz="1600"/>
              <a:t>Any other business </a:t>
            </a:r>
          </a:p>
          <a:p>
            <a:pPr marL="342900" indent="-342900">
              <a:buFont typeface="+mj-lt"/>
              <a:buAutoNum type="arabicPeriod" startAt="9"/>
            </a:pPr>
            <a:r>
              <a:rPr lang="en-GB" sz="1600"/>
              <a:t>Closing</a:t>
            </a:r>
          </a:p>
        </p:txBody>
      </p:sp>
      <p:sp>
        <p:nvSpPr>
          <p:cNvPr id="5" name="Platshållare för sidfot 4">
            <a:extLst>
              <a:ext uri="{FF2B5EF4-FFF2-40B4-BE49-F238E27FC236}">
                <a16:creationId xmlns:a16="http://schemas.microsoft.com/office/drawing/2014/main" id="{5F394B41-210F-0BCB-62E4-E9312E5314D2}"/>
              </a:ext>
            </a:extLst>
          </p:cNvPr>
          <p:cNvSpPr>
            <a:spLocks noGrp="1"/>
          </p:cNvSpPr>
          <p:nvPr>
            <p:ph type="ftr" sz="quarter" idx="11"/>
          </p:nvPr>
        </p:nvSpPr>
        <p:spPr/>
        <p:txBody>
          <a:bodyPr/>
          <a:lstStyle/>
          <a:p>
            <a:r>
              <a:rPr lang="en-US"/>
              <a:t>Stakeholder Forum Agenda - Classification: External</a:t>
            </a:r>
            <a:endParaRPr lang="en-GB"/>
          </a:p>
        </p:txBody>
      </p:sp>
      <p:sp>
        <p:nvSpPr>
          <p:cNvPr id="6" name="Platshållare för datum 5">
            <a:extLst>
              <a:ext uri="{FF2B5EF4-FFF2-40B4-BE49-F238E27FC236}">
                <a16:creationId xmlns:a16="http://schemas.microsoft.com/office/drawing/2014/main" id="{A690E33D-D328-CE8E-75A8-231A60C90C1E}"/>
              </a:ext>
            </a:extLst>
          </p:cNvPr>
          <p:cNvSpPr>
            <a:spLocks noGrp="1"/>
          </p:cNvSpPr>
          <p:nvPr>
            <p:ph type="dt" sz="half" idx="10"/>
          </p:nvPr>
        </p:nvSpPr>
        <p:spPr/>
        <p:txBody>
          <a:bodyPr/>
          <a:lstStyle/>
          <a:p>
            <a:r>
              <a:rPr lang="sv-SE"/>
              <a:t>26/03/2026</a:t>
            </a:r>
            <a:endParaRPr lang="en-GB"/>
          </a:p>
        </p:txBody>
      </p:sp>
      <p:sp>
        <p:nvSpPr>
          <p:cNvPr id="7" name="Platshållare för bildnummer 6">
            <a:extLst>
              <a:ext uri="{FF2B5EF4-FFF2-40B4-BE49-F238E27FC236}">
                <a16:creationId xmlns:a16="http://schemas.microsoft.com/office/drawing/2014/main" id="{B24A5178-A40D-5ED0-5213-60D28A36EE9C}"/>
              </a:ext>
            </a:extLst>
          </p:cNvPr>
          <p:cNvSpPr>
            <a:spLocks noGrp="1"/>
          </p:cNvSpPr>
          <p:nvPr>
            <p:ph type="sldNum" sz="quarter" idx="12"/>
          </p:nvPr>
        </p:nvSpPr>
        <p:spPr/>
        <p:txBody>
          <a:bodyPr/>
          <a:lstStyle/>
          <a:p>
            <a:fld id="{394EE31B-4DFC-CF4D-9A18-3F5D4D7C7302}" type="slidenum">
              <a:rPr lang="en-GB" smtClean="0"/>
              <a:pPr/>
              <a:t>13</a:t>
            </a:fld>
            <a:endParaRPr lang="en-GB"/>
          </a:p>
        </p:txBody>
      </p:sp>
      <p:pic>
        <p:nvPicPr>
          <p:cNvPr id="11" name="Platshållare för bild 7" descr="En bild som visar person, inomhus, man, stående&#10;&#10;Automatiskt genererad beskrivning">
            <a:extLst>
              <a:ext uri="{FF2B5EF4-FFF2-40B4-BE49-F238E27FC236}">
                <a16:creationId xmlns:a16="http://schemas.microsoft.com/office/drawing/2014/main" id="{B0959C4C-6757-B5E8-61CB-408BD3195469}"/>
              </a:ext>
            </a:extLst>
          </p:cNvPr>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a:xfrm>
            <a:off x="4572000" y="952574"/>
            <a:ext cx="4156148" cy="3289235"/>
          </a:xfrm>
          <a:prstGeom prst="rect">
            <a:avLst/>
          </a:prstGeom>
        </p:spPr>
      </p:pic>
    </p:spTree>
    <p:extLst>
      <p:ext uri="{BB962C8B-B14F-4D97-AF65-F5344CB8AC3E}">
        <p14:creationId xmlns:p14="http://schemas.microsoft.com/office/powerpoint/2010/main" val="40601976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9EB2C650-0561-DC22-EF45-2EF40DD3EB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kt 2" hidden="1">
                        <a:extLst>
                          <a:ext uri="{FF2B5EF4-FFF2-40B4-BE49-F238E27FC236}">
                            <a16:creationId xmlns:a16="http://schemas.microsoft.com/office/drawing/2014/main" id="{9EB2C650-0561-DC22-EF45-2EF40DD3EB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Rubrik 19">
            <a:extLst>
              <a:ext uri="{FF2B5EF4-FFF2-40B4-BE49-F238E27FC236}">
                <a16:creationId xmlns:a16="http://schemas.microsoft.com/office/drawing/2014/main" id="{55947088-CB0D-4B1A-8B04-18BA699E9964}"/>
              </a:ext>
            </a:extLst>
          </p:cNvPr>
          <p:cNvSpPr>
            <a:spLocks noGrp="1"/>
          </p:cNvSpPr>
          <p:nvPr>
            <p:ph type="ctrTitle"/>
          </p:nvPr>
        </p:nvSpPr>
        <p:spPr>
          <a:xfrm>
            <a:off x="488611" y="1955800"/>
            <a:ext cx="6411542" cy="615950"/>
          </a:xfrm>
        </p:spPr>
        <p:txBody>
          <a:bodyPr vert="horz"/>
          <a:lstStyle/>
          <a:p>
            <a:r>
              <a:rPr lang="sv-SE" sz="2400"/>
              <a:t> </a:t>
            </a:r>
            <a:br>
              <a:rPr lang="sv-SE" sz="2400"/>
            </a:br>
            <a:br>
              <a:rPr lang="sv-SE" sz="2000"/>
            </a:br>
            <a:r>
              <a:rPr lang="sv-SE" sz="1600"/>
              <a:t>Helena Stjernstedt </a:t>
            </a:r>
            <a:br>
              <a:rPr lang="sv-SE" sz="1600"/>
            </a:br>
            <a:r>
              <a:rPr lang="sv-SE" sz="1600"/>
              <a:t>Finansiell infrastruktur /Svenska Bankföreningen (Finance Sweden)/BSAB</a:t>
            </a:r>
            <a:br>
              <a:rPr lang="sv-SE" sz="1600"/>
            </a:br>
            <a:endParaRPr lang="sv-SE" sz="1600"/>
          </a:p>
        </p:txBody>
      </p:sp>
      <p:sp>
        <p:nvSpPr>
          <p:cNvPr id="70" name="Platshållare för innehåll 69">
            <a:extLst>
              <a:ext uri="{FF2B5EF4-FFF2-40B4-BE49-F238E27FC236}">
                <a16:creationId xmlns:a16="http://schemas.microsoft.com/office/drawing/2014/main" id="{86A0F415-CAA4-422E-AA68-602483F3E44F}"/>
              </a:ext>
            </a:extLst>
          </p:cNvPr>
          <p:cNvSpPr>
            <a:spLocks noGrp="1"/>
          </p:cNvSpPr>
          <p:nvPr>
            <p:ph type="subTitle" idx="1"/>
          </p:nvPr>
        </p:nvSpPr>
        <p:spPr>
          <a:xfrm>
            <a:off x="488612" y="2571750"/>
            <a:ext cx="4165600" cy="442383"/>
          </a:xfrm>
        </p:spPr>
        <p:txBody>
          <a:bodyPr/>
          <a:lstStyle/>
          <a:p>
            <a:pPr>
              <a:spcAft>
                <a:spcPts val="0"/>
              </a:spcAft>
            </a:pPr>
            <a:r>
              <a:rPr lang="sv-SE" i="1"/>
              <a:t>26th of </a:t>
            </a:r>
            <a:r>
              <a:rPr lang="sv-SE" i="1" err="1"/>
              <a:t>March</a:t>
            </a:r>
            <a:r>
              <a:rPr lang="sv-SE" i="1"/>
              <a:t>, 2026</a:t>
            </a:r>
          </a:p>
          <a:p>
            <a:pPr>
              <a:spcAft>
                <a:spcPts val="0"/>
              </a:spcAft>
            </a:pPr>
            <a:r>
              <a:rPr lang="sv-SE" sz="1400" b="0" i="1"/>
              <a:t> </a:t>
            </a:r>
          </a:p>
          <a:p>
            <a:endParaRPr lang="sv-SE" i="1"/>
          </a:p>
        </p:txBody>
      </p:sp>
    </p:spTree>
    <p:extLst>
      <p:ext uri="{BB962C8B-B14F-4D97-AF65-F5344CB8AC3E}">
        <p14:creationId xmlns:p14="http://schemas.microsoft.com/office/powerpoint/2010/main" val="25509045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5A575B1-47EA-5368-6AD1-38AE94CCE2D5}"/>
              </a:ext>
            </a:extLst>
          </p:cNvPr>
          <p:cNvSpPr>
            <a:spLocks noGrp="1"/>
          </p:cNvSpPr>
          <p:nvPr>
            <p:ph type="title"/>
          </p:nvPr>
        </p:nvSpPr>
        <p:spPr>
          <a:xfrm>
            <a:off x="469900" y="179313"/>
            <a:ext cx="8204200" cy="687388"/>
          </a:xfrm>
        </p:spPr>
        <p:txBody>
          <a:bodyPr/>
          <a:lstStyle/>
          <a:p>
            <a:r>
              <a:rPr lang="en-US">
                <a:latin typeface="Calibri" panose="020F0502020204030204" pitchFamily="34" charset="0"/>
              </a:rPr>
              <a:t>In pre</a:t>
            </a:r>
            <a:r>
              <a:rPr lang="en-US">
                <a:solidFill>
                  <a:schemeClr val="tx1"/>
                </a:solidFill>
                <a:latin typeface="Calibri" panose="020F0502020204030204" pitchFamily="34" charset="0"/>
              </a:rPr>
              <a:t>paration</a:t>
            </a:r>
            <a:r>
              <a:rPr lang="en-US">
                <a:latin typeface="Calibri" panose="020F0502020204030204" pitchFamily="34" charset="0"/>
              </a:rPr>
              <a:t> of a new Swedish payment infrastructure…. </a:t>
            </a:r>
            <a:br>
              <a:rPr lang="en-US">
                <a:latin typeface="Calibri" panose="020F0502020204030204" pitchFamily="34" charset="0"/>
              </a:rPr>
            </a:br>
            <a:br>
              <a:rPr lang="en-US">
                <a:latin typeface="Calibri" panose="020F0502020204030204" pitchFamily="34" charset="0"/>
              </a:rPr>
            </a:br>
            <a:endParaRPr lang="sv-SE"/>
          </a:p>
        </p:txBody>
      </p:sp>
      <p:sp>
        <p:nvSpPr>
          <p:cNvPr id="3" name="Platshållare för text 2">
            <a:extLst>
              <a:ext uri="{FF2B5EF4-FFF2-40B4-BE49-F238E27FC236}">
                <a16:creationId xmlns:a16="http://schemas.microsoft.com/office/drawing/2014/main" id="{D82CDB41-F508-38D3-6211-1E913303343C}"/>
              </a:ext>
            </a:extLst>
          </p:cNvPr>
          <p:cNvSpPr>
            <a:spLocks noGrp="1"/>
          </p:cNvSpPr>
          <p:nvPr>
            <p:ph type="body" sz="quarter" idx="17"/>
          </p:nvPr>
        </p:nvSpPr>
        <p:spPr>
          <a:xfrm>
            <a:off x="469900" y="702834"/>
            <a:ext cx="7245992" cy="3609761"/>
          </a:xfrm>
        </p:spPr>
        <p:txBody>
          <a:bodyPr>
            <a:normAutofit fontScale="92500" lnSpcReduction="10000"/>
          </a:bodyPr>
          <a:lstStyle/>
          <a:p>
            <a:r>
              <a:rPr lang="en-US" b="1"/>
              <a:t>Bankgirot continues with the preparation for the upcoming transformation </a:t>
            </a:r>
            <a:r>
              <a:rPr lang="en-US"/>
              <a:t>from the existing payment infrastructure (</a:t>
            </a:r>
            <a:r>
              <a:rPr lang="en-US" err="1"/>
              <a:t>Dataclearingen</a:t>
            </a:r>
            <a:r>
              <a:rPr lang="en-US"/>
              <a:t> (DCL) and the </a:t>
            </a:r>
            <a:r>
              <a:rPr lang="en-US" err="1"/>
              <a:t>Bankgiro</a:t>
            </a:r>
            <a:r>
              <a:rPr lang="en-US"/>
              <a:t> system) to </a:t>
            </a:r>
            <a:r>
              <a:rPr lang="en-US" err="1"/>
              <a:t>Bankgirot's</a:t>
            </a:r>
            <a:r>
              <a:rPr lang="en-US"/>
              <a:t> new payment infrastructure which will be based on NPC’s schemes and the format standard ISO20022.</a:t>
            </a:r>
          </a:p>
          <a:p>
            <a:pPr lvl="1"/>
            <a:r>
              <a:rPr lang="en-US" b="1"/>
              <a:t>Transition of Payments:</a:t>
            </a:r>
            <a:r>
              <a:rPr lang="en-US"/>
              <a:t> </a:t>
            </a:r>
          </a:p>
          <a:p>
            <a:pPr lvl="2"/>
            <a:r>
              <a:rPr lang="en-US"/>
              <a:t>During 2026, all Bankgirot payments (except direct debit) will gradually move to SEK Batch.</a:t>
            </a:r>
          </a:p>
          <a:p>
            <a:pPr lvl="2"/>
            <a:r>
              <a:rPr lang="en-US"/>
              <a:t>Direct debit (Autogiro) will transition later, between 2027–2029.</a:t>
            </a:r>
          </a:p>
          <a:p>
            <a:pPr marL="288000" lvl="2" indent="0">
              <a:buNone/>
            </a:pPr>
            <a:endParaRPr lang="en-US"/>
          </a:p>
          <a:p>
            <a:r>
              <a:rPr lang="en-US" b="1"/>
              <a:t>End–date for </a:t>
            </a:r>
            <a:r>
              <a:rPr lang="en-US" b="1" err="1"/>
              <a:t>Dataclearingen</a:t>
            </a:r>
            <a:r>
              <a:rPr lang="en-US" b="1"/>
              <a:t>: 30th of June 2026, </a:t>
            </a:r>
            <a:r>
              <a:rPr lang="en-US"/>
              <a:t>in</a:t>
            </a:r>
            <a:r>
              <a:rPr lang="en-US" b="1"/>
              <a:t> </a:t>
            </a:r>
            <a:r>
              <a:rPr lang="en-US"/>
              <a:t>accordance with the transformation plan. Bankföreningen in the role of owner, informed the participants during the summer (30</a:t>
            </a:r>
            <a:r>
              <a:rPr lang="en-US" baseline="30000"/>
              <a:t>th</a:t>
            </a:r>
            <a:r>
              <a:rPr lang="en-US"/>
              <a:t> of June).    </a:t>
            </a:r>
          </a:p>
          <a:p>
            <a:endParaRPr lang="en-US"/>
          </a:p>
          <a:p>
            <a:r>
              <a:rPr lang="en-US" b="1"/>
              <a:t>Finance Sweden (Svenska Bankföreningen) supports the initiative and coordinates/contributes to, a multiple of activities:    </a:t>
            </a:r>
          </a:p>
          <a:p>
            <a:pPr lvl="1"/>
            <a:r>
              <a:rPr lang="en-US" b="1"/>
              <a:t>The Program Office (PMO)</a:t>
            </a:r>
            <a:r>
              <a:rPr lang="en-US"/>
              <a:t> is staffed by Lars-Åke Edenfeldt, who is responsible for running various activities related to the transformation such as coordinating issues and being responsible for certain joint communication to the market, e.g. to ERP suppliers and to </a:t>
            </a:r>
            <a:r>
              <a:rPr lang="sv-SE"/>
              <a:t>Service agents and </a:t>
            </a:r>
            <a:r>
              <a:rPr lang="sv-SE" err="1"/>
              <a:t>charity</a:t>
            </a:r>
            <a:r>
              <a:rPr lang="sv-SE"/>
              <a:t> association</a:t>
            </a:r>
            <a:r>
              <a:rPr lang="en-US"/>
              <a:t>.</a:t>
            </a:r>
          </a:p>
          <a:p>
            <a:pPr lvl="1"/>
            <a:r>
              <a:rPr lang="en-US" b="1"/>
              <a:t>The Swedish Transformation Program,</a:t>
            </a:r>
            <a:r>
              <a:rPr lang="en-US"/>
              <a:t> now more of a function, is co-chaired by Finance Sweden and Bankgirot. </a:t>
            </a:r>
          </a:p>
          <a:p>
            <a:pPr lvl="1"/>
            <a:r>
              <a:rPr lang="en-US"/>
              <a:t> </a:t>
            </a:r>
            <a:r>
              <a:rPr lang="en-US" b="1"/>
              <a:t>Coordinating questions with our members and Bankgirot </a:t>
            </a:r>
            <a:r>
              <a:rPr lang="en-US"/>
              <a:t>that arises from the work with the transformation plan</a:t>
            </a:r>
          </a:p>
          <a:p>
            <a:pPr lvl="1"/>
            <a:endParaRPr lang="en-US"/>
          </a:p>
          <a:p>
            <a:endParaRPr lang="en-US"/>
          </a:p>
        </p:txBody>
      </p:sp>
      <p:sp>
        <p:nvSpPr>
          <p:cNvPr id="4" name="Platshållare för sidfot 3">
            <a:extLst>
              <a:ext uri="{FF2B5EF4-FFF2-40B4-BE49-F238E27FC236}">
                <a16:creationId xmlns:a16="http://schemas.microsoft.com/office/drawing/2014/main" id="{BD4B4C70-2B13-B656-3408-228AEB19401E}"/>
              </a:ext>
            </a:extLst>
          </p:cNvPr>
          <p:cNvSpPr>
            <a:spLocks noGrp="1"/>
          </p:cNvSpPr>
          <p:nvPr>
            <p:ph type="ftr" sz="quarter" idx="19"/>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94949"/>
                </a:solidFill>
                <a:effectLst/>
                <a:uLnTx/>
                <a:uFillTx/>
                <a:latin typeface="Rubik"/>
                <a:ea typeface="+mn-ea"/>
                <a:cs typeface="+mn-cs"/>
              </a:rPr>
              <a:t>Stakeholder Forum Agenda - Classification: External</a:t>
            </a:r>
            <a:endParaRPr kumimoji="0" lang="en-GB" sz="900" b="1" i="0" u="none" strike="noStrike" kern="1200" cap="none" spc="0" normalizeH="0" baseline="0" noProof="0">
              <a:ln>
                <a:noFill/>
              </a:ln>
              <a:solidFill>
                <a:srgbClr val="494949"/>
              </a:solidFill>
              <a:effectLst/>
              <a:uLnTx/>
              <a:uFillTx/>
              <a:latin typeface="Rubik"/>
              <a:ea typeface="+mn-ea"/>
              <a:cs typeface="+mn-cs"/>
            </a:endParaRPr>
          </a:p>
        </p:txBody>
      </p:sp>
      <p:sp>
        <p:nvSpPr>
          <p:cNvPr id="5" name="Platshållare för bildnummer 4">
            <a:extLst>
              <a:ext uri="{FF2B5EF4-FFF2-40B4-BE49-F238E27FC236}">
                <a16:creationId xmlns:a16="http://schemas.microsoft.com/office/drawing/2014/main" id="{DA61DA27-FE3F-95EA-CF87-CA1519BA6E1E}"/>
              </a:ext>
            </a:extLst>
          </p:cNvPr>
          <p:cNvSpPr>
            <a:spLocks noGrp="1"/>
          </p:cNvSpPr>
          <p:nvPr>
            <p:ph type="sldNum" sz="quarter" idx="2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Rubik"/>
              <a:ea typeface="+mn-ea"/>
              <a:cs typeface="+mn-cs"/>
            </a:endParaRPr>
          </a:p>
        </p:txBody>
      </p:sp>
      <p:sp>
        <p:nvSpPr>
          <p:cNvPr id="6" name="Date Placeholder 5">
            <a:extLst>
              <a:ext uri="{FF2B5EF4-FFF2-40B4-BE49-F238E27FC236}">
                <a16:creationId xmlns:a16="http://schemas.microsoft.com/office/drawing/2014/main" id="{737B2938-6918-90EF-B50D-D77B7DDEF2B3}"/>
              </a:ext>
            </a:extLst>
          </p:cNvPr>
          <p:cNvSpPr>
            <a:spLocks noGrp="1"/>
          </p:cNvSpPr>
          <p:nvPr>
            <p:ph type="dt" sz="half" idx="18"/>
          </p:nvPr>
        </p:nvSpPr>
        <p:spPr/>
        <p:txBody>
          <a:bodyPr/>
          <a:lstStyle/>
          <a:p>
            <a:r>
              <a:rPr lang="sv-SE"/>
              <a:t>26/03/2026</a:t>
            </a:r>
            <a:endParaRPr lang="en-GB"/>
          </a:p>
        </p:txBody>
      </p:sp>
    </p:spTree>
    <p:extLst>
      <p:ext uri="{BB962C8B-B14F-4D97-AF65-F5344CB8AC3E}">
        <p14:creationId xmlns:p14="http://schemas.microsoft.com/office/powerpoint/2010/main" val="24375906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AEF44DA-6D04-D068-C2BA-7E90E1DF5BAA}"/>
              </a:ext>
            </a:extLst>
          </p:cNvPr>
          <p:cNvSpPr>
            <a:spLocks noGrp="1"/>
          </p:cNvSpPr>
          <p:nvPr>
            <p:ph type="title"/>
          </p:nvPr>
        </p:nvSpPr>
        <p:spPr>
          <a:xfrm>
            <a:off x="528266" y="378921"/>
            <a:ext cx="8204200" cy="687388"/>
          </a:xfrm>
        </p:spPr>
        <p:txBody>
          <a:bodyPr/>
          <a:lstStyle/>
          <a:p>
            <a:r>
              <a:rPr lang="en-US" sz="2400">
                <a:latin typeface="Calibri" panose="020F0502020204030204" pitchFamily="34" charset="0"/>
                <a:ea typeface="Times New Roman" panose="02020603050405020304" pitchFamily="18" charset="0"/>
              </a:rPr>
              <a:t>Central bank initiatives and time plans – The Riksbank</a:t>
            </a:r>
            <a:endParaRPr lang="sv-SE"/>
          </a:p>
        </p:txBody>
      </p:sp>
      <p:sp>
        <p:nvSpPr>
          <p:cNvPr id="4" name="Platshållare för sidfot 3">
            <a:extLst>
              <a:ext uri="{FF2B5EF4-FFF2-40B4-BE49-F238E27FC236}">
                <a16:creationId xmlns:a16="http://schemas.microsoft.com/office/drawing/2014/main" id="{D54BE2B6-2D2C-0E4D-4388-73FD03AEA7F0}"/>
              </a:ext>
            </a:extLst>
          </p:cNvPr>
          <p:cNvSpPr>
            <a:spLocks noGrp="1"/>
          </p:cNvSpPr>
          <p:nvPr>
            <p:ph type="ftr" sz="quarter" idx="19"/>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94949"/>
                </a:solidFill>
                <a:effectLst/>
                <a:uLnTx/>
                <a:uFillTx/>
                <a:latin typeface="Rubik"/>
                <a:ea typeface="+mn-ea"/>
                <a:cs typeface="+mn-cs"/>
              </a:rPr>
              <a:t>Stakeholder Forum Agenda - Classification: External</a:t>
            </a:r>
            <a:endParaRPr kumimoji="0" lang="en-GB" sz="900" b="1" i="0" u="none" strike="noStrike" kern="1200" cap="none" spc="0" normalizeH="0" baseline="0" noProof="0">
              <a:ln>
                <a:noFill/>
              </a:ln>
              <a:solidFill>
                <a:srgbClr val="494949"/>
              </a:solidFill>
              <a:effectLst/>
              <a:uLnTx/>
              <a:uFillTx/>
              <a:latin typeface="Rubik"/>
              <a:ea typeface="+mn-ea"/>
              <a:cs typeface="+mn-cs"/>
            </a:endParaRPr>
          </a:p>
        </p:txBody>
      </p:sp>
      <p:sp>
        <p:nvSpPr>
          <p:cNvPr id="5" name="Platshållare för bildnummer 4">
            <a:extLst>
              <a:ext uri="{FF2B5EF4-FFF2-40B4-BE49-F238E27FC236}">
                <a16:creationId xmlns:a16="http://schemas.microsoft.com/office/drawing/2014/main" id="{235A0248-7A86-9A98-CEF0-0BF750724B60}"/>
              </a:ext>
            </a:extLst>
          </p:cNvPr>
          <p:cNvSpPr>
            <a:spLocks noGrp="1"/>
          </p:cNvSpPr>
          <p:nvPr>
            <p:ph type="sldNum" sz="quarter" idx="2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Rubik"/>
              <a:ea typeface="+mn-ea"/>
              <a:cs typeface="+mn-cs"/>
            </a:endParaRPr>
          </a:p>
        </p:txBody>
      </p:sp>
      <p:sp>
        <p:nvSpPr>
          <p:cNvPr id="6" name="Platshållare för text 2">
            <a:extLst>
              <a:ext uri="{FF2B5EF4-FFF2-40B4-BE49-F238E27FC236}">
                <a16:creationId xmlns:a16="http://schemas.microsoft.com/office/drawing/2014/main" id="{751A4763-1CEE-5ACF-7EE0-B4AF2A126895}"/>
              </a:ext>
            </a:extLst>
          </p:cNvPr>
          <p:cNvSpPr>
            <a:spLocks noGrp="1"/>
          </p:cNvSpPr>
          <p:nvPr>
            <p:ph type="body" sz="quarter" idx="17"/>
          </p:nvPr>
        </p:nvSpPr>
        <p:spPr>
          <a:xfrm>
            <a:off x="711146" y="1052283"/>
            <a:ext cx="7137131" cy="3111803"/>
          </a:xfrm>
        </p:spPr>
        <p:txBody>
          <a:bodyPr>
            <a:normAutofit fontScale="70000" lnSpcReduction="20000"/>
          </a:bodyPr>
          <a:lstStyle/>
          <a:p>
            <a:pPr marL="0" indent="0">
              <a:buNone/>
            </a:pPr>
            <a:r>
              <a:rPr lang="en-US" b="1">
                <a:solidFill>
                  <a:schemeClr val="tx1"/>
                </a:solidFill>
              </a:rPr>
              <a:t>2026/2027/2030 </a:t>
            </a:r>
          </a:p>
          <a:p>
            <a:endParaRPr lang="en-US">
              <a:solidFill>
                <a:schemeClr val="tx1"/>
              </a:solidFill>
            </a:endParaRPr>
          </a:p>
          <a:p>
            <a:pPr>
              <a:buFont typeface="Wingdings" panose="05000000000000000000" pitchFamily="2" charset="2"/>
              <a:buChar char="Ø"/>
            </a:pPr>
            <a:r>
              <a:rPr lang="en-US" sz="1600" u="sng">
                <a:solidFill>
                  <a:schemeClr val="tx1"/>
                </a:solidFill>
              </a:rPr>
              <a:t>Preparation for future settlement services continues (T2/T2S):  </a:t>
            </a:r>
            <a:endParaRPr lang="en-US" u="sng">
              <a:solidFill>
                <a:schemeClr val="tx1"/>
              </a:solidFill>
            </a:endParaRPr>
          </a:p>
          <a:p>
            <a:pPr lvl="2">
              <a:buFont typeface="Wingdings" panose="05000000000000000000" pitchFamily="2" charset="2"/>
              <a:buChar char="Ø"/>
            </a:pPr>
            <a:r>
              <a:rPr lang="en-US"/>
              <a:t>T2 Feasibility Assessment phase ongoing </a:t>
            </a:r>
          </a:p>
          <a:p>
            <a:pPr lvl="3">
              <a:buFont typeface="Wingdings" panose="05000000000000000000" pitchFamily="2" charset="2"/>
              <a:buChar char="§"/>
            </a:pPr>
            <a:r>
              <a:rPr lang="en-US"/>
              <a:t>T2 contract negotiation with ECB,  formal signing planned for </a:t>
            </a:r>
            <a:r>
              <a:rPr lang="en-US" b="1"/>
              <a:t>October 2026 </a:t>
            </a:r>
          </a:p>
          <a:p>
            <a:pPr lvl="2">
              <a:buFont typeface="Wingdings" panose="05000000000000000000" pitchFamily="2" charset="2"/>
              <a:buChar char="Ø"/>
            </a:pPr>
            <a:r>
              <a:rPr lang="en-US"/>
              <a:t> </a:t>
            </a:r>
            <a:r>
              <a:rPr lang="sv-SE"/>
              <a:t>T2 Go-live </a:t>
            </a:r>
            <a:r>
              <a:rPr lang="sv-SE" b="1" err="1"/>
              <a:t>February</a:t>
            </a:r>
            <a:r>
              <a:rPr lang="sv-SE" b="1"/>
              <a:t> 2030</a:t>
            </a:r>
          </a:p>
          <a:p>
            <a:pPr lvl="2">
              <a:buFont typeface="Wingdings" panose="05000000000000000000" pitchFamily="2" charset="2"/>
              <a:buChar char="Ø"/>
            </a:pPr>
            <a:r>
              <a:rPr lang="en-US"/>
              <a:t>T2S lower activity than T2, in agreement with decision “T2 prior to T2S”. </a:t>
            </a:r>
          </a:p>
          <a:p>
            <a:pPr lvl="2">
              <a:buFont typeface="Wingdings" panose="05000000000000000000" pitchFamily="2" charset="2"/>
              <a:buChar char="Ø"/>
            </a:pPr>
            <a:endParaRPr lang="en-US">
              <a:solidFill>
                <a:schemeClr val="tx1"/>
              </a:solidFill>
            </a:endParaRPr>
          </a:p>
          <a:p>
            <a:pPr>
              <a:buFont typeface="Wingdings" panose="05000000000000000000" pitchFamily="2" charset="2"/>
              <a:buChar char="Ø"/>
            </a:pPr>
            <a:r>
              <a:rPr lang="en-US" sz="1600" u="sng">
                <a:solidFill>
                  <a:schemeClr val="tx1"/>
                </a:solidFill>
              </a:rPr>
              <a:t>TIPS Cross Currency </a:t>
            </a:r>
          </a:p>
          <a:p>
            <a:pPr lvl="1">
              <a:buFont typeface="Wingdings" panose="05000000000000000000" pitchFamily="2" charset="2"/>
              <a:buChar char="Ø"/>
            </a:pPr>
            <a:r>
              <a:rPr lang="sv-SE"/>
              <a:t>Terms and </a:t>
            </a:r>
            <a:r>
              <a:rPr lang="sv-SE" err="1"/>
              <a:t>conditions</a:t>
            </a:r>
            <a:r>
              <a:rPr lang="sv-SE"/>
              <a:t> (</a:t>
            </a:r>
            <a:r>
              <a:rPr lang="sv-SE" err="1"/>
              <a:t>T&amp;C´s</a:t>
            </a:r>
            <a:r>
              <a:rPr lang="sv-SE"/>
              <a:t>): </a:t>
            </a:r>
          </a:p>
          <a:p>
            <a:pPr lvl="2">
              <a:buFont typeface="Wingdings" panose="05000000000000000000" pitchFamily="2" charset="2"/>
              <a:buChar char="§"/>
            </a:pPr>
            <a:r>
              <a:rPr lang="sv-SE"/>
              <a:t>RIX </a:t>
            </a:r>
            <a:r>
              <a:rPr lang="sv-SE" err="1"/>
              <a:t>participants</a:t>
            </a:r>
            <a:r>
              <a:rPr lang="sv-SE"/>
              <a:t> </a:t>
            </a:r>
            <a:r>
              <a:rPr lang="sv-SE" err="1"/>
              <a:t>consulted</a:t>
            </a:r>
            <a:r>
              <a:rPr lang="sv-SE"/>
              <a:t> </a:t>
            </a:r>
            <a:r>
              <a:rPr lang="sv-SE" b="1"/>
              <a:t>spring 2026</a:t>
            </a:r>
          </a:p>
          <a:p>
            <a:pPr lvl="2">
              <a:buFont typeface="Wingdings" panose="05000000000000000000" pitchFamily="2" charset="2"/>
              <a:buChar char="§"/>
            </a:pPr>
            <a:r>
              <a:rPr lang="sv-SE" b="1"/>
              <a:t>June 2026 </a:t>
            </a:r>
            <a:r>
              <a:rPr lang="sv-SE" b="1" err="1"/>
              <a:t>enter</a:t>
            </a:r>
            <a:r>
              <a:rPr lang="sv-SE" b="1"/>
              <a:t> </a:t>
            </a:r>
            <a:r>
              <a:rPr lang="sv-SE" b="1" err="1"/>
              <a:t>into</a:t>
            </a:r>
            <a:r>
              <a:rPr lang="sv-SE" b="1"/>
              <a:t> force </a:t>
            </a:r>
            <a:r>
              <a:rPr lang="sv-SE"/>
              <a:t>(bilateral </a:t>
            </a:r>
            <a:r>
              <a:rPr lang="sv-SE" err="1"/>
              <a:t>agreements</a:t>
            </a:r>
            <a:r>
              <a:rPr lang="sv-SE"/>
              <a:t> </a:t>
            </a:r>
            <a:r>
              <a:rPr lang="sv-SE" err="1"/>
              <a:t>until</a:t>
            </a:r>
            <a:r>
              <a:rPr lang="sv-SE"/>
              <a:t> </a:t>
            </a:r>
            <a:r>
              <a:rPr lang="sv-SE" err="1"/>
              <a:t>than</a:t>
            </a:r>
            <a:r>
              <a:rPr lang="sv-SE"/>
              <a:t>)</a:t>
            </a:r>
          </a:p>
          <a:p>
            <a:pPr lvl="1">
              <a:buFont typeface="Wingdings" panose="05000000000000000000" pitchFamily="2" charset="2"/>
              <a:buChar char="Ø"/>
            </a:pPr>
            <a:r>
              <a:rPr lang="sv-SE" b="1"/>
              <a:t>November 2026 </a:t>
            </a:r>
            <a:r>
              <a:rPr lang="sv-SE"/>
              <a:t>planned date for impmentation of NPC OLO Scheme RIX-INST </a:t>
            </a:r>
          </a:p>
          <a:p>
            <a:pPr lvl="1">
              <a:buFont typeface="Wingdings" panose="05000000000000000000" pitchFamily="2" charset="2"/>
              <a:buChar char="Ø"/>
            </a:pPr>
            <a:r>
              <a:rPr lang="sv-SE" err="1"/>
              <a:t>Testing</a:t>
            </a:r>
            <a:r>
              <a:rPr lang="sv-SE"/>
              <a:t> (</a:t>
            </a:r>
            <a:r>
              <a:rPr lang="sv-SE" err="1"/>
              <a:t>continues</a:t>
            </a:r>
            <a:r>
              <a:rPr lang="sv-SE"/>
              <a:t>) </a:t>
            </a:r>
            <a:r>
              <a:rPr lang="sv-SE" err="1"/>
              <a:t>during</a:t>
            </a:r>
            <a:r>
              <a:rPr lang="sv-SE"/>
              <a:t> 2026 - 2027</a:t>
            </a:r>
          </a:p>
          <a:p>
            <a:endParaRPr lang="en-US"/>
          </a:p>
          <a:p>
            <a:pPr marL="0" indent="0">
              <a:buNone/>
            </a:pPr>
            <a:r>
              <a:rPr lang="en-US"/>
              <a:t>Potential future initiatives:  </a:t>
            </a:r>
          </a:p>
          <a:p>
            <a:pPr>
              <a:buFont typeface="Arial" panose="020B0604020202020204" pitchFamily="34" charset="0"/>
              <a:buChar char="•"/>
            </a:pPr>
            <a:r>
              <a:rPr lang="en-US"/>
              <a:t>E-krona </a:t>
            </a:r>
          </a:p>
          <a:p>
            <a:pPr>
              <a:buFont typeface="Arial" panose="020B0604020202020204" pitchFamily="34" charset="0"/>
              <a:buChar char="•"/>
            </a:pPr>
            <a:endParaRPr lang="en-US"/>
          </a:p>
          <a:p>
            <a:pPr algn="l"/>
            <a:endParaRPr lang="sv-SE" sz="1800" b="0" i="0" u="none" strike="noStrike" baseline="0">
              <a:solidFill>
                <a:srgbClr val="000000"/>
              </a:solidFill>
              <a:latin typeface="Calibri" panose="020F0502020204030204" pitchFamily="34" charset="0"/>
            </a:endParaRPr>
          </a:p>
          <a:p>
            <a:pPr>
              <a:buFont typeface="Arial" panose="020B0604020202020204" pitchFamily="34" charset="0"/>
              <a:buChar char="•"/>
            </a:pPr>
            <a:endParaRPr lang="en-US"/>
          </a:p>
        </p:txBody>
      </p:sp>
      <p:sp>
        <p:nvSpPr>
          <p:cNvPr id="3" name="Rectangle 1">
            <a:extLst>
              <a:ext uri="{FF2B5EF4-FFF2-40B4-BE49-F238E27FC236}">
                <a16:creationId xmlns:a16="http://schemas.microsoft.com/office/drawing/2014/main" id="{D22B926E-42AD-9AAD-2EB0-9A4025A60C25}"/>
              </a:ext>
            </a:extLst>
          </p:cNvPr>
          <p:cNvSpPr>
            <a:spLocks noChangeArrowheads="1"/>
          </p:cNvSpPr>
          <p:nvPr/>
        </p:nvSpPr>
        <p:spPr bwMode="auto">
          <a:xfrm>
            <a:off x="0" y="184632"/>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sv-SE" altLang="sv-SE"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Date Placeholder 6">
            <a:extLst>
              <a:ext uri="{FF2B5EF4-FFF2-40B4-BE49-F238E27FC236}">
                <a16:creationId xmlns:a16="http://schemas.microsoft.com/office/drawing/2014/main" id="{16729CF1-3216-0811-4C9B-789D5D47B6E8}"/>
              </a:ext>
            </a:extLst>
          </p:cNvPr>
          <p:cNvSpPr>
            <a:spLocks noGrp="1"/>
          </p:cNvSpPr>
          <p:nvPr>
            <p:ph type="dt" sz="half" idx="18"/>
          </p:nvPr>
        </p:nvSpPr>
        <p:spPr/>
        <p:txBody>
          <a:bodyPr/>
          <a:lstStyle/>
          <a:p>
            <a:r>
              <a:rPr lang="sv-SE"/>
              <a:t>26/03/2026</a:t>
            </a:r>
            <a:endParaRPr lang="en-GB"/>
          </a:p>
        </p:txBody>
      </p:sp>
    </p:spTree>
    <p:extLst>
      <p:ext uri="{BB962C8B-B14F-4D97-AF65-F5344CB8AC3E}">
        <p14:creationId xmlns:p14="http://schemas.microsoft.com/office/powerpoint/2010/main" val="5592211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9798073-3F3D-B4F9-293F-2E12C34BE5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kt 2" hidden="1">
                        <a:extLst>
                          <a:ext uri="{FF2B5EF4-FFF2-40B4-BE49-F238E27FC236}">
                            <a16:creationId xmlns:a16="http://schemas.microsoft.com/office/drawing/2014/main" id="{39798073-3F3D-B4F9-293F-2E12C34BE5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ubrik 11">
            <a:extLst>
              <a:ext uri="{FF2B5EF4-FFF2-40B4-BE49-F238E27FC236}">
                <a16:creationId xmlns:a16="http://schemas.microsoft.com/office/drawing/2014/main" id="{B7054653-61A4-4782-955A-F2E0FCDAD70A}"/>
              </a:ext>
            </a:extLst>
          </p:cNvPr>
          <p:cNvSpPr>
            <a:spLocks noGrp="1"/>
          </p:cNvSpPr>
          <p:nvPr>
            <p:ph type="ctrTitle"/>
          </p:nvPr>
        </p:nvSpPr>
        <p:spPr>
          <a:xfrm>
            <a:off x="607045" y="1709443"/>
            <a:ext cx="5792747" cy="2005950"/>
          </a:xfrm>
        </p:spPr>
        <p:txBody>
          <a:bodyPr vert="horz" anchor="t"/>
          <a:lstStyle/>
          <a:p>
            <a:r>
              <a:rPr lang="sv-SE" err="1"/>
              <a:t>Questions</a:t>
            </a:r>
            <a:r>
              <a:rPr lang="sv-SE"/>
              <a:t>?</a:t>
            </a:r>
            <a:br>
              <a:rPr lang="sv-SE"/>
            </a:br>
            <a:br>
              <a:rPr lang="sv-SE" sz="1200"/>
            </a:br>
            <a:r>
              <a:rPr lang="sv-SE" sz="1200" err="1"/>
              <a:t>Please</a:t>
            </a:r>
            <a:r>
              <a:rPr lang="sv-SE" sz="1200"/>
              <a:t> </a:t>
            </a:r>
            <a:r>
              <a:rPr lang="sv-SE" sz="1200" err="1"/>
              <a:t>contact</a:t>
            </a:r>
            <a:r>
              <a:rPr lang="sv-SE" sz="1200">
                <a:cs typeface="Arial" panose="020B0604020202020204" pitchFamily="34" charset="0"/>
              </a:rPr>
              <a:t>:</a:t>
            </a:r>
            <a:br>
              <a:rPr lang="sv-SE" sz="1200">
                <a:cs typeface="Arial" panose="020B0604020202020204" pitchFamily="34" charset="0"/>
              </a:rPr>
            </a:br>
            <a:r>
              <a:rPr lang="sv-SE" sz="1200">
                <a:cs typeface="Arial" panose="020B0604020202020204" pitchFamily="34" charset="0"/>
                <a:hlinkClick r:id="rId5"/>
              </a:rPr>
              <a:t>helena.stjernstedt@financesweden.se</a:t>
            </a:r>
            <a:r>
              <a:rPr lang="sv-SE" sz="1200">
                <a:cs typeface="Arial" panose="020B0604020202020204" pitchFamily="34" charset="0"/>
              </a:rPr>
              <a:t> </a:t>
            </a:r>
            <a:br>
              <a:rPr lang="sv-SE" sz="1200">
                <a:cs typeface="Arial" panose="020B0604020202020204" pitchFamily="34" charset="0"/>
              </a:rPr>
            </a:br>
            <a:br>
              <a:rPr lang="sv-SE" sz="1200">
                <a:cs typeface="Arial" panose="020B0604020202020204" pitchFamily="34" charset="0"/>
              </a:rPr>
            </a:br>
            <a:br>
              <a:rPr lang="sv-SE" sz="1200">
                <a:cs typeface="Arial" panose="020B0604020202020204" pitchFamily="34" charset="0"/>
              </a:rPr>
            </a:br>
            <a:r>
              <a:rPr lang="sv-SE" sz="1200" err="1">
                <a:cs typeface="Arial" panose="020B0604020202020204" pitchFamily="34" charset="0"/>
              </a:rPr>
              <a:t>Additional</a:t>
            </a:r>
            <a:r>
              <a:rPr lang="sv-SE" sz="1200">
                <a:cs typeface="Arial" panose="020B0604020202020204" pitchFamily="34" charset="0"/>
              </a:rPr>
              <a:t> information – </a:t>
            </a:r>
            <a:r>
              <a:rPr lang="sv-SE" sz="1200" err="1">
                <a:cs typeface="Arial" panose="020B0604020202020204" pitchFamily="34" charset="0"/>
              </a:rPr>
              <a:t>please</a:t>
            </a:r>
            <a:r>
              <a:rPr lang="sv-SE" sz="1200">
                <a:cs typeface="Arial" panose="020B0604020202020204" pitchFamily="34" charset="0"/>
              </a:rPr>
              <a:t> visit </a:t>
            </a:r>
            <a:r>
              <a:rPr lang="sv-SE" sz="1200" err="1">
                <a:cs typeface="Arial" panose="020B0604020202020204" pitchFamily="34" charset="0"/>
              </a:rPr>
              <a:t>our</a:t>
            </a:r>
            <a:r>
              <a:rPr lang="sv-SE" sz="1200">
                <a:cs typeface="Arial" panose="020B0604020202020204" pitchFamily="34" charset="0"/>
              </a:rPr>
              <a:t> </a:t>
            </a:r>
            <a:r>
              <a:rPr lang="sv-SE" sz="1200" err="1">
                <a:cs typeface="Arial" panose="020B0604020202020204" pitchFamily="34" charset="0"/>
              </a:rPr>
              <a:t>webpage</a:t>
            </a:r>
            <a:r>
              <a:rPr lang="sv-SE" sz="1200">
                <a:cs typeface="Arial" panose="020B0604020202020204" pitchFamily="34" charset="0"/>
              </a:rPr>
              <a:t>: </a:t>
            </a:r>
            <a:br>
              <a:rPr lang="sv-SE" sz="1200">
                <a:cs typeface="Arial" panose="020B0604020202020204" pitchFamily="34" charset="0"/>
              </a:rPr>
            </a:br>
            <a:r>
              <a:rPr lang="sv-SE" sz="1200" b="0" u="sng">
                <a:cs typeface="Arial" panose="020B0604020202020204" pitchFamily="34" charset="0"/>
                <a:hlinkClick r:id="rId6"/>
              </a:rPr>
              <a:t>https://www.bankinfrastruktur.se</a:t>
            </a:r>
            <a:br>
              <a:rPr lang="sv-SE" sz="1200" b="0" u="sng">
                <a:cs typeface="Arial" panose="020B0604020202020204" pitchFamily="34" charset="0"/>
              </a:rPr>
            </a:br>
            <a:br>
              <a:rPr lang="sv-SE" sz="1200">
                <a:cs typeface="Arial" panose="020B0604020202020204" pitchFamily="34" charset="0"/>
              </a:rPr>
            </a:br>
            <a:endParaRPr lang="sv-SE" sz="1200"/>
          </a:p>
        </p:txBody>
      </p:sp>
      <p:pic>
        <p:nvPicPr>
          <p:cNvPr id="16" name="Platshållare för bild 15">
            <a:extLst>
              <a:ext uri="{FF2B5EF4-FFF2-40B4-BE49-F238E27FC236}">
                <a16:creationId xmlns:a16="http://schemas.microsoft.com/office/drawing/2014/main" id="{9FA42717-4F59-4CB3-9939-79CB0874AD70}"/>
              </a:ext>
            </a:extLst>
          </p:cNvPr>
          <p:cNvPicPr>
            <a:picLocks noGrp="1" noChangeAspect="1"/>
          </p:cNvPicPr>
          <p:nvPr>
            <p:ph type="pic" sz="quarter" idx="10"/>
          </p:nvPr>
        </p:nvPicPr>
        <p:blipFill>
          <a:blip r:embed="rId7">
            <a:extLst>
              <a:ext uri="{28A0092B-C50C-407E-A947-70E740481C1C}">
                <a14:useLocalDpi xmlns:a14="http://schemas.microsoft.com/office/drawing/2010/main" val="0"/>
              </a:ext>
            </a:extLst>
          </a:blip>
          <a:srcRect l="21418" r="21418"/>
          <a:stretch>
            <a:fillRect/>
          </a:stretch>
        </p:blipFill>
        <p:spPr/>
      </p:pic>
      <p:sp>
        <p:nvSpPr>
          <p:cNvPr id="2" name="textruta 1">
            <a:extLst>
              <a:ext uri="{FF2B5EF4-FFF2-40B4-BE49-F238E27FC236}">
                <a16:creationId xmlns:a16="http://schemas.microsoft.com/office/drawing/2014/main" id="{925C66D9-339E-40FE-1069-7CF9C7416CD6}"/>
              </a:ext>
            </a:extLst>
          </p:cNvPr>
          <p:cNvSpPr txBox="1"/>
          <p:nvPr/>
        </p:nvSpPr>
        <p:spPr>
          <a:xfrm>
            <a:off x="5643694" y="4744510"/>
            <a:ext cx="2701381" cy="253916"/>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prstClr val="black"/>
                </a:solidFill>
                <a:effectLst/>
                <a:uLnTx/>
                <a:uFillTx/>
                <a:latin typeface="Rubik"/>
                <a:ea typeface="+mn-ea"/>
                <a:cs typeface="Arial" panose="020B0604020202020204" pitchFamily="34" charset="0"/>
              </a:rPr>
              <a:t>Note: BSAB is a </a:t>
            </a:r>
            <a:r>
              <a:rPr kumimoji="0" lang="sv-SE" sz="1050" b="0" i="0" u="none" strike="noStrike" kern="1200" cap="none" spc="0" normalizeH="0" baseline="0" noProof="0" err="1">
                <a:ln>
                  <a:noFill/>
                </a:ln>
                <a:solidFill>
                  <a:prstClr val="black"/>
                </a:solidFill>
                <a:effectLst/>
                <a:uLnTx/>
                <a:uFillTx/>
                <a:latin typeface="Rubik"/>
                <a:ea typeface="+mn-ea"/>
                <a:cs typeface="Arial" panose="020B0604020202020204" pitchFamily="34" charset="0"/>
              </a:rPr>
              <a:t>subsidiary</a:t>
            </a:r>
            <a:r>
              <a:rPr kumimoji="0" lang="sv-SE" sz="1050" b="0" i="0" u="none" strike="noStrike" kern="1200" cap="none" spc="0" normalizeH="0" baseline="0" noProof="0">
                <a:ln>
                  <a:noFill/>
                </a:ln>
                <a:solidFill>
                  <a:prstClr val="black"/>
                </a:solidFill>
                <a:effectLst/>
                <a:uLnTx/>
                <a:uFillTx/>
                <a:latin typeface="Rubik"/>
                <a:ea typeface="+mn-ea"/>
                <a:cs typeface="Arial" panose="020B0604020202020204" pitchFamily="34" charset="0"/>
              </a:rPr>
              <a:t> to Finance Sweden</a:t>
            </a:r>
            <a:endParaRPr kumimoji="0" lang="sv-SE" sz="1050" b="0" i="0" u="none" strike="noStrike" kern="1200" cap="none" spc="0" normalizeH="0" baseline="0" noProof="0">
              <a:ln>
                <a:noFill/>
              </a:ln>
              <a:solidFill>
                <a:prstClr val="black"/>
              </a:solidFill>
              <a:effectLst/>
              <a:uLnTx/>
              <a:uFillTx/>
              <a:latin typeface="Rubik"/>
              <a:ea typeface="+mn-ea"/>
              <a:cs typeface="+mn-cs"/>
            </a:endParaRPr>
          </a:p>
        </p:txBody>
      </p:sp>
    </p:spTree>
    <p:extLst>
      <p:ext uri="{BB962C8B-B14F-4D97-AF65-F5344CB8AC3E}">
        <p14:creationId xmlns:p14="http://schemas.microsoft.com/office/powerpoint/2010/main" val="42927076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703B7E-D6C2-4877-97A4-B37E64228957}"/>
              </a:ext>
            </a:extLst>
          </p:cNvPr>
          <p:cNvSpPr>
            <a:spLocks noGrp="1"/>
          </p:cNvSpPr>
          <p:nvPr>
            <p:ph type="ctrTitle"/>
          </p:nvPr>
        </p:nvSpPr>
        <p:spPr/>
        <p:txBody>
          <a:bodyPr/>
          <a:lstStyle/>
          <a:p>
            <a:r>
              <a:rPr lang="da-DK"/>
              <a:t>NPC Stakeholder Forum</a:t>
            </a:r>
          </a:p>
        </p:txBody>
      </p:sp>
      <p:sp>
        <p:nvSpPr>
          <p:cNvPr id="3" name="Undertitel 2">
            <a:extLst>
              <a:ext uri="{FF2B5EF4-FFF2-40B4-BE49-F238E27FC236}">
                <a16:creationId xmlns:a16="http://schemas.microsoft.com/office/drawing/2014/main" id="{A16DCC7B-D6C7-F72B-ADAB-652B6F4AB0A2}"/>
              </a:ext>
            </a:extLst>
          </p:cNvPr>
          <p:cNvSpPr>
            <a:spLocks noGrp="1"/>
          </p:cNvSpPr>
          <p:nvPr>
            <p:ph type="subTitle" idx="1"/>
          </p:nvPr>
        </p:nvSpPr>
        <p:spPr/>
        <p:txBody>
          <a:bodyPr/>
          <a:lstStyle/>
          <a:p>
            <a:r>
              <a:rPr lang="da-DK"/>
              <a:t>26 March 2026</a:t>
            </a:r>
          </a:p>
        </p:txBody>
      </p:sp>
    </p:spTree>
    <p:extLst>
      <p:ext uri="{BB962C8B-B14F-4D97-AF65-F5344CB8AC3E}">
        <p14:creationId xmlns:p14="http://schemas.microsoft.com/office/powerpoint/2010/main" val="243753887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567B8DF-BD34-404E-B8A2-A7601F98AE19}"/>
              </a:ext>
            </a:extLst>
          </p:cNvPr>
          <p:cNvSpPr>
            <a:spLocks noGrp="1"/>
          </p:cNvSpPr>
          <p:nvPr>
            <p:ph type="ctrTitle"/>
          </p:nvPr>
        </p:nvSpPr>
        <p:spPr/>
        <p:txBody>
          <a:bodyPr anchor="ctr">
            <a:normAutofit/>
          </a:bodyPr>
          <a:lstStyle/>
          <a:p>
            <a:r>
              <a:rPr lang="da-DK"/>
              <a:t>Updates from the Danish </a:t>
            </a:r>
            <a:r>
              <a:rPr lang="da-DK" err="1"/>
              <a:t>market</a:t>
            </a:r>
            <a:endParaRPr lang="da-DK"/>
          </a:p>
        </p:txBody>
      </p:sp>
      <p:sp>
        <p:nvSpPr>
          <p:cNvPr id="3" name="Pladsholder til indhold 2">
            <a:extLst>
              <a:ext uri="{FF2B5EF4-FFF2-40B4-BE49-F238E27FC236}">
                <a16:creationId xmlns:a16="http://schemas.microsoft.com/office/drawing/2014/main" id="{3FB7EC57-89AC-F6D1-1EAF-982CD50887B6}"/>
              </a:ext>
            </a:extLst>
          </p:cNvPr>
          <p:cNvSpPr>
            <a:spLocks noGrp="1"/>
          </p:cNvSpPr>
          <p:nvPr>
            <p:ph sz="quarter" idx="13"/>
          </p:nvPr>
        </p:nvSpPr>
        <p:spPr/>
        <p:txBody>
          <a:bodyPr anchor="ctr">
            <a:normAutofit/>
          </a:bodyPr>
          <a:lstStyle/>
          <a:p>
            <a:pPr marL="285750" indent="-285750">
              <a:buFont typeface="Wingdings" panose="05000000000000000000" pitchFamily="2" charset="2"/>
              <a:buChar char="§"/>
            </a:pPr>
            <a:r>
              <a:rPr lang="da-DK"/>
              <a:t>Update on the </a:t>
            </a:r>
            <a:r>
              <a:rPr lang="da-DK" err="1"/>
              <a:t>modernisation</a:t>
            </a:r>
            <a:r>
              <a:rPr lang="da-DK"/>
              <a:t> of the Danish </a:t>
            </a:r>
            <a:r>
              <a:rPr lang="da-DK" err="1"/>
              <a:t>payment</a:t>
            </a:r>
            <a:r>
              <a:rPr lang="da-DK"/>
              <a:t> </a:t>
            </a:r>
            <a:r>
              <a:rPr lang="da-DK" err="1"/>
              <a:t>infrastructure</a:t>
            </a:r>
            <a:endParaRPr lang="da-DK"/>
          </a:p>
          <a:p>
            <a:pPr marL="285750" indent="-285750">
              <a:buFont typeface="Wingdings" panose="05000000000000000000" pitchFamily="2" charset="2"/>
              <a:buChar char="§"/>
            </a:pPr>
            <a:endParaRPr lang="da-DK"/>
          </a:p>
          <a:p>
            <a:pPr marL="285750" indent="-285750">
              <a:buFont typeface="Wingdings" panose="05000000000000000000" pitchFamily="2" charset="2"/>
              <a:buChar char="§"/>
            </a:pPr>
            <a:r>
              <a:rPr lang="da-DK"/>
              <a:t>STEP2DKK</a:t>
            </a:r>
          </a:p>
          <a:p>
            <a:pPr marL="285750" indent="-285750">
              <a:buFont typeface="Wingdings" panose="05000000000000000000" pitchFamily="2" charset="2"/>
              <a:buChar char="§"/>
            </a:pPr>
            <a:endParaRPr lang="da-DK"/>
          </a:p>
          <a:p>
            <a:pPr marL="285750" indent="-285750">
              <a:buFont typeface="Wingdings" panose="05000000000000000000" pitchFamily="2" charset="2"/>
              <a:buChar char="§"/>
            </a:pPr>
            <a:r>
              <a:rPr lang="da-DK" err="1"/>
              <a:t>VoP</a:t>
            </a:r>
            <a:endParaRPr lang="en-US"/>
          </a:p>
          <a:p>
            <a:endParaRPr lang="en-US"/>
          </a:p>
        </p:txBody>
      </p:sp>
    </p:spTree>
    <p:extLst>
      <p:ext uri="{BB962C8B-B14F-4D97-AF65-F5344CB8AC3E}">
        <p14:creationId xmlns:p14="http://schemas.microsoft.com/office/powerpoint/2010/main" val="296782506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BE356771-B219-192A-14BA-451839F46CA3}"/>
              </a:ext>
            </a:extLst>
          </p:cNvPr>
          <p:cNvSpPr>
            <a:spLocks noGrp="1"/>
          </p:cNvSpPr>
          <p:nvPr>
            <p:ph type="ftr" sz="quarter" idx="11"/>
          </p:nvPr>
        </p:nvSpPr>
        <p:spPr/>
        <p:txBody>
          <a:bodyPr/>
          <a:lstStyle/>
          <a:p>
            <a:r>
              <a:rPr lang="en-US"/>
              <a:t>Stakeholder Forum Agenda - Classification: External</a:t>
            </a:r>
            <a:endParaRPr lang="sv-SE"/>
          </a:p>
        </p:txBody>
      </p:sp>
      <p:sp>
        <p:nvSpPr>
          <p:cNvPr id="6" name="Date Placeholder 5">
            <a:extLst>
              <a:ext uri="{FF2B5EF4-FFF2-40B4-BE49-F238E27FC236}">
                <a16:creationId xmlns:a16="http://schemas.microsoft.com/office/drawing/2014/main" id="{F06D1E69-88DE-F516-B43B-D66CB6A99D3C}"/>
              </a:ext>
            </a:extLst>
          </p:cNvPr>
          <p:cNvSpPr>
            <a:spLocks noGrp="1"/>
          </p:cNvSpPr>
          <p:nvPr>
            <p:ph type="dt" sz="half" idx="10"/>
          </p:nvPr>
        </p:nvSpPr>
        <p:spPr/>
        <p:txBody>
          <a:bodyPr/>
          <a:lstStyle/>
          <a:p>
            <a:r>
              <a:rPr lang="sv-SE"/>
              <a:t>26/03/2026</a:t>
            </a:r>
          </a:p>
        </p:txBody>
      </p:sp>
      <p:sp>
        <p:nvSpPr>
          <p:cNvPr id="7" name="Slide Number Placeholder 6">
            <a:extLst>
              <a:ext uri="{FF2B5EF4-FFF2-40B4-BE49-F238E27FC236}">
                <a16:creationId xmlns:a16="http://schemas.microsoft.com/office/drawing/2014/main" id="{1F0891AC-E4DF-87CA-609B-0ED90EFFC4C3}"/>
              </a:ext>
            </a:extLst>
          </p:cNvPr>
          <p:cNvSpPr>
            <a:spLocks noGrp="1"/>
          </p:cNvSpPr>
          <p:nvPr>
            <p:ph type="sldNum" sz="quarter" idx="12"/>
          </p:nvPr>
        </p:nvSpPr>
        <p:spPr/>
        <p:txBody>
          <a:bodyPr/>
          <a:lstStyle/>
          <a:p>
            <a:fld id="{394EE31B-4DFC-CF4D-9A18-3F5D4D7C7302}" type="slidenum">
              <a:rPr lang="sv-SE" smtClean="0"/>
              <a:pPr/>
              <a:t>2</a:t>
            </a:fld>
            <a:endParaRPr lang="sv-SE"/>
          </a:p>
        </p:txBody>
      </p:sp>
      <p:pic>
        <p:nvPicPr>
          <p:cNvPr id="3" name="Picture 2">
            <a:extLst>
              <a:ext uri="{FF2B5EF4-FFF2-40B4-BE49-F238E27FC236}">
                <a16:creationId xmlns:a16="http://schemas.microsoft.com/office/drawing/2014/main" id="{0BA4B652-D03C-A33D-C4DB-DD34855E1997}"/>
              </a:ext>
            </a:extLst>
          </p:cNvPr>
          <p:cNvPicPr>
            <a:picLocks noChangeAspect="1"/>
          </p:cNvPicPr>
          <p:nvPr/>
        </p:nvPicPr>
        <p:blipFill>
          <a:blip r:embed="rId2"/>
          <a:stretch>
            <a:fillRect/>
          </a:stretch>
        </p:blipFill>
        <p:spPr>
          <a:xfrm>
            <a:off x="3509231" y="270931"/>
            <a:ext cx="3774537" cy="1314972"/>
          </a:xfrm>
          <a:prstGeom prst="rect">
            <a:avLst/>
          </a:prstGeom>
        </p:spPr>
      </p:pic>
      <p:pic>
        <p:nvPicPr>
          <p:cNvPr id="10" name="Picture 9">
            <a:extLst>
              <a:ext uri="{FF2B5EF4-FFF2-40B4-BE49-F238E27FC236}">
                <a16:creationId xmlns:a16="http://schemas.microsoft.com/office/drawing/2014/main" id="{4FC723FF-B322-54FF-3226-8A9588E03CEB}"/>
              </a:ext>
            </a:extLst>
          </p:cNvPr>
          <p:cNvPicPr>
            <a:picLocks noChangeAspect="1"/>
          </p:cNvPicPr>
          <p:nvPr/>
        </p:nvPicPr>
        <p:blipFill>
          <a:blip r:embed="rId3"/>
          <a:stretch>
            <a:fillRect/>
          </a:stretch>
        </p:blipFill>
        <p:spPr>
          <a:xfrm>
            <a:off x="618079" y="270931"/>
            <a:ext cx="2727704" cy="4340928"/>
          </a:xfrm>
          <a:prstGeom prst="rect">
            <a:avLst/>
          </a:prstGeom>
        </p:spPr>
      </p:pic>
    </p:spTree>
    <p:extLst>
      <p:ext uri="{BB962C8B-B14F-4D97-AF65-F5344CB8AC3E}">
        <p14:creationId xmlns:p14="http://schemas.microsoft.com/office/powerpoint/2010/main" val="19376557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8950AD-CF71-CFB0-D494-9B7FABF12D65}"/>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125B4A97-4BA1-C4A9-B19A-1DADA9E56BAF}"/>
              </a:ext>
            </a:extLst>
          </p:cNvPr>
          <p:cNvSpPr>
            <a:spLocks noGrp="1"/>
          </p:cNvSpPr>
          <p:nvPr>
            <p:ph type="title"/>
          </p:nvPr>
        </p:nvSpPr>
        <p:spPr/>
        <p:txBody>
          <a:bodyPr>
            <a:normAutofit/>
          </a:bodyPr>
          <a:lstStyle/>
          <a:p>
            <a:pPr>
              <a:tabLst>
                <a:tab pos="987425" algn="l"/>
              </a:tabLst>
            </a:pPr>
            <a:r>
              <a:rPr lang="en-US" noProof="0"/>
              <a:t>F</a:t>
            </a:r>
            <a:r>
              <a:rPr lang="en-US" err="1"/>
              <a:t>uture</a:t>
            </a:r>
            <a:r>
              <a:rPr lang="en-US"/>
              <a:t> Payments In</a:t>
            </a:r>
            <a:r>
              <a:rPr lang="en-US" noProof="0" err="1"/>
              <a:t>frastructure</a:t>
            </a:r>
            <a:endParaRPr lang="en-US" noProof="0"/>
          </a:p>
        </p:txBody>
      </p:sp>
      <p:sp>
        <p:nvSpPr>
          <p:cNvPr id="7" name="Content Placeholder 6">
            <a:extLst>
              <a:ext uri="{FF2B5EF4-FFF2-40B4-BE49-F238E27FC236}">
                <a16:creationId xmlns:a16="http://schemas.microsoft.com/office/drawing/2014/main" id="{95241D94-7E99-DAB4-DD9A-14FBC58D01FE}"/>
              </a:ext>
            </a:extLst>
          </p:cNvPr>
          <p:cNvSpPr>
            <a:spLocks noGrp="1"/>
          </p:cNvSpPr>
          <p:nvPr>
            <p:ph idx="4294967295"/>
          </p:nvPr>
        </p:nvSpPr>
        <p:spPr>
          <a:xfrm>
            <a:off x="539554" y="1356238"/>
            <a:ext cx="4622847" cy="3350419"/>
          </a:xfrm>
        </p:spPr>
        <p:txBody>
          <a:bodyPr>
            <a:noAutofit/>
          </a:bodyPr>
          <a:lstStyle/>
          <a:p>
            <a:r>
              <a:rPr lang="en-US" sz="1050" b="1"/>
              <a:t>TIPS DKK instant payments (completed at Easter 2025)</a:t>
            </a:r>
          </a:p>
          <a:p>
            <a:pPr marL="214313" indent="-214313">
              <a:spcAft>
                <a:spcPts val="450"/>
              </a:spcAft>
              <a:buSzPct val="100000"/>
              <a:buFont typeface="Arial" panose="020B0604020202020204" pitchFamily="34" charset="0"/>
              <a:buChar char="•"/>
            </a:pPr>
            <a:r>
              <a:rPr lang="en-US" sz="1050"/>
              <a:t>Implementation and transition to instant payments via TIPS DKK at Easter 2025</a:t>
            </a:r>
          </a:p>
          <a:p>
            <a:pPr marL="214313" indent="-214313">
              <a:spcAft>
                <a:spcPts val="450"/>
              </a:spcAft>
              <a:buSzPct val="100000"/>
              <a:buFont typeface="Arial" panose="020B0604020202020204" pitchFamily="34" charset="0"/>
              <a:buChar char="•"/>
            </a:pPr>
            <a:r>
              <a:rPr lang="en-US" sz="1050"/>
              <a:t>TIPS DKK follows NPC formats</a:t>
            </a:r>
          </a:p>
          <a:p>
            <a:pPr>
              <a:spcAft>
                <a:spcPts val="450"/>
              </a:spcAft>
              <a:buSzPct val="100000"/>
            </a:pPr>
            <a:r>
              <a:rPr lang="en-US" sz="1050" b="1"/>
              <a:t>STEP2 DKK batch payments, expected from early Q2 2027</a:t>
            </a:r>
          </a:p>
          <a:p>
            <a:pPr marL="214313" indent="-214313">
              <a:spcAft>
                <a:spcPts val="450"/>
              </a:spcAft>
              <a:buSzPct val="100000"/>
              <a:buFont typeface="Arial" panose="020B0604020202020204" pitchFamily="34" charset="0"/>
              <a:buChar char="•"/>
            </a:pPr>
            <a:r>
              <a:rPr lang="en-US" sz="1050"/>
              <a:t>Implementation and transition to the STEP2 DKK clearing, including migration to NPC formats</a:t>
            </a:r>
          </a:p>
          <a:p>
            <a:pPr marL="214313" indent="-214313">
              <a:spcAft>
                <a:spcPts val="450"/>
              </a:spcAft>
              <a:buSzPct val="100000"/>
              <a:buFont typeface="Arial" panose="020B0604020202020204" pitchFamily="34" charset="0"/>
              <a:buChar char="•"/>
            </a:pPr>
            <a:r>
              <a:rPr lang="en-US" sz="1050"/>
              <a:t>Migration of transactions from Intraday Clearing to STEP2 DKK expected in Q2 2027, followed by decommissioning of the Intraday Clearing.</a:t>
            </a:r>
          </a:p>
          <a:p>
            <a:pPr>
              <a:spcAft>
                <a:spcPts val="450"/>
              </a:spcAft>
              <a:buSzPct val="100000"/>
            </a:pPr>
            <a:r>
              <a:rPr lang="en-US" sz="1050" b="1"/>
              <a:t>Closure of the </a:t>
            </a:r>
            <a:r>
              <a:rPr lang="en-US" sz="1050" b="1" err="1"/>
              <a:t>Dokumentløs</a:t>
            </a:r>
            <a:r>
              <a:rPr lang="en-US" sz="1050" b="1"/>
              <a:t> Clearing (Document‑less Clearing), expected during 2028</a:t>
            </a:r>
            <a:endParaRPr lang="en-US" sz="1050"/>
          </a:p>
          <a:p>
            <a:pPr marL="214313" indent="-214313">
              <a:spcAft>
                <a:spcPts val="450"/>
              </a:spcAft>
              <a:buSzPct val="100000"/>
              <a:buFont typeface="Arial" panose="020B0604020202020204" pitchFamily="34" charset="0"/>
              <a:buChar char="•"/>
            </a:pPr>
            <a:r>
              <a:rPr lang="en-US" sz="1050"/>
              <a:t>Migration of products in the Document‑less Clearing via STEP2 DKK (FI card, GI card)</a:t>
            </a:r>
          </a:p>
          <a:p>
            <a:pPr marL="214313" indent="-214313">
              <a:spcAft>
                <a:spcPts val="450"/>
              </a:spcAft>
              <a:buSzPct val="100000"/>
              <a:buFont typeface="Arial" panose="020B0604020202020204" pitchFamily="34" charset="0"/>
              <a:buChar char="•"/>
            </a:pPr>
            <a:r>
              <a:rPr lang="en-US" sz="1050"/>
              <a:t>Further information to follow.</a:t>
            </a:r>
          </a:p>
        </p:txBody>
      </p:sp>
      <p:sp>
        <p:nvSpPr>
          <p:cNvPr id="8" name="Subtitle 7">
            <a:extLst>
              <a:ext uri="{FF2B5EF4-FFF2-40B4-BE49-F238E27FC236}">
                <a16:creationId xmlns:a16="http://schemas.microsoft.com/office/drawing/2014/main" id="{5B9A4F2C-1A9B-2AE5-C113-523C795F9C9A}"/>
              </a:ext>
            </a:extLst>
          </p:cNvPr>
          <p:cNvSpPr>
            <a:spLocks noGrp="1"/>
          </p:cNvSpPr>
          <p:nvPr>
            <p:ph type="subTitle" idx="4294967295"/>
          </p:nvPr>
        </p:nvSpPr>
        <p:spPr>
          <a:xfrm>
            <a:off x="531495" y="849194"/>
            <a:ext cx="7593119" cy="585269"/>
          </a:xfrm>
        </p:spPr>
        <p:txBody>
          <a:bodyPr>
            <a:normAutofit/>
          </a:bodyPr>
          <a:lstStyle/>
          <a:p>
            <a:r>
              <a:rPr lang="en-US" sz="1200">
                <a:solidFill>
                  <a:srgbClr val="1C2935"/>
                </a:solidFill>
                <a:latin typeface="Century Gothic" panose="020B0502020202020204" pitchFamily="34" charset="0"/>
              </a:rPr>
              <a:t>The overall purpose of the project is to modernize and harmonize the payment infrastructure in Denmark. The project's objectives include, among other things:</a:t>
            </a:r>
            <a:endParaRPr lang="en-US" sz="1200"/>
          </a:p>
        </p:txBody>
      </p:sp>
      <p:grpSp>
        <p:nvGrpSpPr>
          <p:cNvPr id="140" name="Group 139">
            <a:extLst>
              <a:ext uri="{FF2B5EF4-FFF2-40B4-BE49-F238E27FC236}">
                <a16:creationId xmlns:a16="http://schemas.microsoft.com/office/drawing/2014/main" id="{2B82A102-9DBE-AA96-3C7D-2B410A8A00C0}"/>
              </a:ext>
            </a:extLst>
          </p:cNvPr>
          <p:cNvGrpSpPr/>
          <p:nvPr/>
        </p:nvGrpSpPr>
        <p:grpSpPr>
          <a:xfrm>
            <a:off x="5306743" y="1213842"/>
            <a:ext cx="3305762" cy="3479845"/>
            <a:chOff x="6258129" y="1636773"/>
            <a:chExt cx="5173903" cy="5221227"/>
          </a:xfrm>
        </p:grpSpPr>
        <p:pic>
          <p:nvPicPr>
            <p:cNvPr id="11" name="Graphic 10" descr="Family with girl with solid fill">
              <a:extLst>
                <a:ext uri="{FF2B5EF4-FFF2-40B4-BE49-F238E27FC236}">
                  <a16:creationId xmlns:a16="http://schemas.microsoft.com/office/drawing/2014/main" id="{01E4A438-B1E8-326A-C824-5BDF1FEE4A8F}"/>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8939077" y="1692560"/>
              <a:ext cx="571497" cy="571497"/>
            </a:xfrm>
            <a:prstGeom prst="rect">
              <a:avLst/>
            </a:prstGeom>
          </p:spPr>
        </p:pic>
        <p:pic>
          <p:nvPicPr>
            <p:cNvPr id="13" name="Graphic 12" descr="Credit card with solid fill">
              <a:extLst>
                <a:ext uri="{FF2B5EF4-FFF2-40B4-BE49-F238E27FC236}">
                  <a16:creationId xmlns:a16="http://schemas.microsoft.com/office/drawing/2014/main" id="{83D2908B-A17C-1A0F-C687-94C768716B73}"/>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7741153" y="2865974"/>
              <a:ext cx="914400" cy="914400"/>
            </a:xfrm>
            <a:prstGeom prst="rect">
              <a:avLst/>
            </a:prstGeom>
          </p:spPr>
        </p:pic>
        <p:pic>
          <p:nvPicPr>
            <p:cNvPr id="14" name="Graphic 13" descr="Credit card with solid fill">
              <a:extLst>
                <a:ext uri="{FF2B5EF4-FFF2-40B4-BE49-F238E27FC236}">
                  <a16:creationId xmlns:a16="http://schemas.microsoft.com/office/drawing/2014/main" id="{9C3101E1-E90E-6CD2-BEFA-498D5FEB5641}"/>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6258129" y="2865974"/>
              <a:ext cx="914400" cy="914400"/>
            </a:xfrm>
            <a:prstGeom prst="rect">
              <a:avLst/>
            </a:prstGeom>
          </p:spPr>
        </p:pic>
        <p:pic>
          <p:nvPicPr>
            <p:cNvPr id="16" name="Graphic 15" descr="Internet with solid fill">
              <a:extLst>
                <a:ext uri="{FF2B5EF4-FFF2-40B4-BE49-F238E27FC236}">
                  <a16:creationId xmlns:a16="http://schemas.microsoft.com/office/drawing/2014/main" id="{34EF8B07-8B1F-2EAF-102F-A12D13FEA444}"/>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9188521" y="2865974"/>
              <a:ext cx="914400" cy="914400"/>
            </a:xfrm>
            <a:prstGeom prst="rect">
              <a:avLst/>
            </a:prstGeom>
          </p:spPr>
        </p:pic>
        <p:pic>
          <p:nvPicPr>
            <p:cNvPr id="18" name="Graphic 17" descr="Smart Phone with solid fill">
              <a:extLst>
                <a:ext uri="{FF2B5EF4-FFF2-40B4-BE49-F238E27FC236}">
                  <a16:creationId xmlns:a16="http://schemas.microsoft.com/office/drawing/2014/main" id="{C2381CDC-2F09-85C0-B1FC-D872BF4348D3}"/>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10866120" y="3008505"/>
              <a:ext cx="565912" cy="565912"/>
            </a:xfrm>
            <a:prstGeom prst="rect">
              <a:avLst/>
            </a:prstGeom>
          </p:spPr>
        </p:pic>
        <p:pic>
          <p:nvPicPr>
            <p:cNvPr id="23" name="Picture 22">
              <a:extLst>
                <a:ext uri="{FF2B5EF4-FFF2-40B4-BE49-F238E27FC236}">
                  <a16:creationId xmlns:a16="http://schemas.microsoft.com/office/drawing/2014/main" id="{4A3B9524-B3B6-1CFF-E740-93A3C68E9862}"/>
                </a:ext>
              </a:extLst>
            </p:cNvPr>
            <p:cNvPicPr>
              <a:picLocks noChangeAspect="1"/>
            </p:cNvPicPr>
            <p:nvPr/>
          </p:nvPicPr>
          <p:blipFill>
            <a:blip r:embed="rId7">
              <a:clrChange>
                <a:clrFrom>
                  <a:srgbClr val="E1E1E1"/>
                </a:clrFrom>
                <a:clrTo>
                  <a:srgbClr val="E1E1E1">
                    <a:alpha val="0"/>
                  </a:srgbClr>
                </a:clrTo>
              </a:clrChange>
            </a:blip>
            <a:srcRect l="32402" t="79005" r="34838" b="3703"/>
            <a:stretch>
              <a:fillRect/>
            </a:stretch>
          </p:blipFill>
          <p:spPr>
            <a:xfrm>
              <a:off x="7699831" y="5752116"/>
              <a:ext cx="2082799" cy="1105884"/>
            </a:xfrm>
            <a:prstGeom prst="rect">
              <a:avLst/>
            </a:prstGeom>
          </p:spPr>
        </p:pic>
        <p:pic>
          <p:nvPicPr>
            <p:cNvPr id="24" name="Graphic 23" descr="Clock with solid fill">
              <a:extLst>
                <a:ext uri="{FF2B5EF4-FFF2-40B4-BE49-F238E27FC236}">
                  <a16:creationId xmlns:a16="http://schemas.microsoft.com/office/drawing/2014/main" id="{5078CD01-33B6-42D5-0245-DE05BD34D709}"/>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8198353" y="5852470"/>
              <a:ext cx="526901" cy="526901"/>
            </a:xfrm>
            <a:prstGeom prst="rect">
              <a:avLst/>
            </a:prstGeom>
          </p:spPr>
        </p:pic>
        <p:pic>
          <p:nvPicPr>
            <p:cNvPr id="25" name="Graphic 24" descr="Clock with solid fill">
              <a:extLst>
                <a:ext uri="{FF2B5EF4-FFF2-40B4-BE49-F238E27FC236}">
                  <a16:creationId xmlns:a16="http://schemas.microsoft.com/office/drawing/2014/main" id="{8F529707-D4D5-FD10-D539-B41CBA391EF5}"/>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8836897" y="5852470"/>
              <a:ext cx="526901" cy="526901"/>
            </a:xfrm>
            <a:prstGeom prst="rect">
              <a:avLst/>
            </a:prstGeom>
          </p:spPr>
        </p:pic>
        <p:pic>
          <p:nvPicPr>
            <p:cNvPr id="26" name="Graphic 25" descr="Clock with solid fill">
              <a:extLst>
                <a:ext uri="{FF2B5EF4-FFF2-40B4-BE49-F238E27FC236}">
                  <a16:creationId xmlns:a16="http://schemas.microsoft.com/office/drawing/2014/main" id="{28F24C73-9289-F81D-6218-D44DBD3E8EE0}"/>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8517625" y="5852470"/>
              <a:ext cx="526901" cy="526901"/>
            </a:xfrm>
            <a:prstGeom prst="rect">
              <a:avLst/>
            </a:prstGeom>
          </p:spPr>
        </p:pic>
        <p:cxnSp>
          <p:nvCxnSpPr>
            <p:cNvPr id="34" name="Connector: Elbow 33">
              <a:extLst>
                <a:ext uri="{FF2B5EF4-FFF2-40B4-BE49-F238E27FC236}">
                  <a16:creationId xmlns:a16="http://schemas.microsoft.com/office/drawing/2014/main" id="{8A5387F0-60E9-6E05-CCAC-126F32CCD0F3}"/>
                </a:ext>
              </a:extLst>
            </p:cNvPr>
            <p:cNvCxnSpPr>
              <a:cxnSpLocks/>
            </p:cNvCxnSpPr>
            <p:nvPr/>
          </p:nvCxnSpPr>
          <p:spPr>
            <a:xfrm rot="5400000">
              <a:off x="10503890" y="3716436"/>
              <a:ext cx="560081" cy="734934"/>
            </a:xfrm>
            <a:prstGeom prst="curvedConnector3">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Connector: Elbow 33">
              <a:extLst>
                <a:ext uri="{FF2B5EF4-FFF2-40B4-BE49-F238E27FC236}">
                  <a16:creationId xmlns:a16="http://schemas.microsoft.com/office/drawing/2014/main" id="{94985769-5006-1A91-B980-AF26F2F732FD}"/>
                </a:ext>
              </a:extLst>
            </p:cNvPr>
            <p:cNvCxnSpPr>
              <a:cxnSpLocks/>
            </p:cNvCxnSpPr>
            <p:nvPr/>
          </p:nvCxnSpPr>
          <p:spPr>
            <a:xfrm rot="16200000" flipH="1">
              <a:off x="9700728" y="3820416"/>
              <a:ext cx="561816" cy="525240"/>
            </a:xfrm>
            <a:prstGeom prst="curvedConnector3">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Connector: Elbow 33">
              <a:extLst>
                <a:ext uri="{FF2B5EF4-FFF2-40B4-BE49-F238E27FC236}">
                  <a16:creationId xmlns:a16="http://schemas.microsoft.com/office/drawing/2014/main" id="{BAEE6786-0D58-94C5-A5D9-6A11F0E8EF51}"/>
                </a:ext>
              </a:extLst>
            </p:cNvPr>
            <p:cNvCxnSpPr>
              <a:cxnSpLocks/>
            </p:cNvCxnSpPr>
            <p:nvPr/>
          </p:nvCxnSpPr>
          <p:spPr>
            <a:xfrm rot="5400000">
              <a:off x="8862721" y="3684922"/>
              <a:ext cx="566882" cy="801295"/>
            </a:xfrm>
            <a:prstGeom prst="curvedConnector3">
              <a:avLst>
                <a:gd name="adj1" fmla="val 50000"/>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2B2E59A2-C6D6-1D76-4C7A-2A7EF160B6DB}"/>
                </a:ext>
              </a:extLst>
            </p:cNvPr>
            <p:cNvSpPr/>
            <p:nvPr/>
          </p:nvSpPr>
          <p:spPr>
            <a:xfrm>
              <a:off x="11054997" y="3808982"/>
              <a:ext cx="151615" cy="57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entury Gothic"/>
                <a:ea typeface="+mn-ea"/>
                <a:cs typeface="+mn-cs"/>
              </a:endParaRPr>
            </a:p>
          </p:txBody>
        </p:sp>
        <p:sp>
          <p:nvSpPr>
            <p:cNvPr id="48" name="Rectangle 47">
              <a:extLst>
                <a:ext uri="{FF2B5EF4-FFF2-40B4-BE49-F238E27FC236}">
                  <a16:creationId xmlns:a16="http://schemas.microsoft.com/office/drawing/2014/main" id="{4564F6D5-FA69-B4FE-C90C-858DA576E2C7}"/>
                </a:ext>
              </a:extLst>
            </p:cNvPr>
            <p:cNvSpPr/>
            <p:nvPr/>
          </p:nvSpPr>
          <p:spPr>
            <a:xfrm>
              <a:off x="9546808" y="3808982"/>
              <a:ext cx="151615" cy="57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entury Gothic"/>
                <a:ea typeface="+mn-ea"/>
                <a:cs typeface="+mn-cs"/>
              </a:endParaRPr>
            </a:p>
          </p:txBody>
        </p:sp>
        <p:sp>
          <p:nvSpPr>
            <p:cNvPr id="51" name="Rectangle 50">
              <a:extLst>
                <a:ext uri="{FF2B5EF4-FFF2-40B4-BE49-F238E27FC236}">
                  <a16:creationId xmlns:a16="http://schemas.microsoft.com/office/drawing/2014/main" id="{B354F90A-9443-91C0-C508-9488D9C2241A}"/>
                </a:ext>
              </a:extLst>
            </p:cNvPr>
            <p:cNvSpPr/>
            <p:nvPr/>
          </p:nvSpPr>
          <p:spPr>
            <a:xfrm>
              <a:off x="8130566" y="3808982"/>
              <a:ext cx="151615" cy="57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entury Gothic"/>
                <a:ea typeface="+mn-ea"/>
                <a:cs typeface="+mn-cs"/>
              </a:endParaRPr>
            </a:p>
          </p:txBody>
        </p:sp>
        <p:sp>
          <p:nvSpPr>
            <p:cNvPr id="52" name="Rectangle 51">
              <a:extLst>
                <a:ext uri="{FF2B5EF4-FFF2-40B4-BE49-F238E27FC236}">
                  <a16:creationId xmlns:a16="http://schemas.microsoft.com/office/drawing/2014/main" id="{57F26DE3-DC57-643B-7576-835D4BE7C07A}"/>
                </a:ext>
              </a:extLst>
            </p:cNvPr>
            <p:cNvSpPr/>
            <p:nvPr/>
          </p:nvSpPr>
          <p:spPr>
            <a:xfrm>
              <a:off x="6712194" y="3808982"/>
              <a:ext cx="151615" cy="57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entury Gothic"/>
                <a:ea typeface="+mn-ea"/>
                <a:cs typeface="+mn-cs"/>
              </a:endParaRPr>
            </a:p>
          </p:txBody>
        </p:sp>
        <p:cxnSp>
          <p:nvCxnSpPr>
            <p:cNvPr id="53" name="Connector: Elbow 33">
              <a:extLst>
                <a:ext uri="{FF2B5EF4-FFF2-40B4-BE49-F238E27FC236}">
                  <a16:creationId xmlns:a16="http://schemas.microsoft.com/office/drawing/2014/main" id="{EB76FA62-9ED6-E6A7-1DED-8ECD49A4E1D1}"/>
                </a:ext>
              </a:extLst>
            </p:cNvPr>
            <p:cNvCxnSpPr>
              <a:cxnSpLocks/>
            </p:cNvCxnSpPr>
            <p:nvPr/>
          </p:nvCxnSpPr>
          <p:spPr>
            <a:xfrm rot="5400000">
              <a:off x="7553272" y="3725856"/>
              <a:ext cx="574331" cy="715833"/>
            </a:xfrm>
            <a:prstGeom prst="curvedConnector3">
              <a:avLst>
                <a:gd name="adj1" fmla="val 50000"/>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Connector: Elbow 33">
              <a:extLst>
                <a:ext uri="{FF2B5EF4-FFF2-40B4-BE49-F238E27FC236}">
                  <a16:creationId xmlns:a16="http://schemas.microsoft.com/office/drawing/2014/main" id="{4DE5F117-57BE-8C4B-7246-E8837F8EF95B}"/>
                </a:ext>
              </a:extLst>
            </p:cNvPr>
            <p:cNvCxnSpPr>
              <a:cxnSpLocks/>
            </p:cNvCxnSpPr>
            <p:nvPr/>
          </p:nvCxnSpPr>
          <p:spPr>
            <a:xfrm rot="16200000" flipH="1">
              <a:off x="6731963" y="3792588"/>
              <a:ext cx="568810" cy="587889"/>
            </a:xfrm>
            <a:prstGeom prst="curvedConnector3">
              <a:avLst>
                <a:gd name="adj1" fmla="val 50000"/>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8BEDC3BE-61CF-B42C-B482-9297F7E73989}"/>
                </a:ext>
              </a:extLst>
            </p:cNvPr>
            <p:cNvSpPr txBox="1"/>
            <p:nvPr/>
          </p:nvSpPr>
          <p:spPr>
            <a:xfrm>
              <a:off x="6341049" y="3634568"/>
              <a:ext cx="669873" cy="121220"/>
            </a:xfrm>
            <a:prstGeom prst="rect">
              <a:avLst/>
            </a:prstGeom>
            <a:noFill/>
          </p:spPr>
          <p:txBody>
            <a:bodyPr wrap="non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25" b="1" i="0" u="none" strike="noStrike" kern="1200" cap="none" spc="0" normalizeH="0" baseline="0" noProof="0">
                  <a:ln>
                    <a:noFill/>
                  </a:ln>
                  <a:solidFill>
                    <a:srgbClr val="1C2935"/>
                  </a:solidFill>
                  <a:effectLst/>
                  <a:uLnTx/>
                  <a:uFillTx/>
                  <a:latin typeface="Century Gothic"/>
                  <a:ea typeface="+mn-ea"/>
                  <a:cs typeface="+mn-cs"/>
                </a:rPr>
                <a:t>CREDIT CARD</a:t>
              </a:r>
              <a:endParaRPr kumimoji="0" lang="en-US" sz="525" b="0" i="0" u="none" strike="noStrike" kern="1200" cap="none" spc="0" normalizeH="0" baseline="0" noProof="0">
                <a:ln>
                  <a:noFill/>
                </a:ln>
                <a:solidFill>
                  <a:srgbClr val="1C2935"/>
                </a:solidFill>
                <a:effectLst/>
                <a:uLnTx/>
                <a:uFillTx/>
                <a:latin typeface="Century Gothic"/>
                <a:ea typeface="+mn-ea"/>
                <a:cs typeface="+mn-cs"/>
              </a:endParaRPr>
            </a:p>
          </p:txBody>
        </p:sp>
        <p:sp>
          <p:nvSpPr>
            <p:cNvPr id="61" name="TextBox 60">
              <a:extLst>
                <a:ext uri="{FF2B5EF4-FFF2-40B4-BE49-F238E27FC236}">
                  <a16:creationId xmlns:a16="http://schemas.microsoft.com/office/drawing/2014/main" id="{B7E23598-ED69-2C83-7B83-DA4460061975}"/>
                </a:ext>
              </a:extLst>
            </p:cNvPr>
            <p:cNvSpPr txBox="1"/>
            <p:nvPr/>
          </p:nvSpPr>
          <p:spPr>
            <a:xfrm>
              <a:off x="7914846" y="3634568"/>
              <a:ext cx="587080" cy="121220"/>
            </a:xfrm>
            <a:prstGeom prst="rect">
              <a:avLst/>
            </a:prstGeom>
            <a:noFill/>
          </p:spPr>
          <p:txBody>
            <a:bodyPr wrap="non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25" b="1" i="0" u="none" strike="noStrike" kern="1200" cap="none" spc="0" normalizeH="0" baseline="0" noProof="0">
                  <a:ln>
                    <a:noFill/>
                  </a:ln>
                  <a:solidFill>
                    <a:srgbClr val="1C2935"/>
                  </a:solidFill>
                  <a:effectLst/>
                  <a:uLnTx/>
                  <a:uFillTx/>
                  <a:latin typeface="Century Gothic"/>
                  <a:ea typeface="+mn-ea"/>
                  <a:cs typeface="+mn-cs"/>
                </a:rPr>
                <a:t>DEBIT CARD</a:t>
              </a:r>
              <a:endParaRPr kumimoji="0" lang="en-US" sz="525" b="0" i="0" u="none" strike="noStrike" kern="1200" cap="none" spc="0" normalizeH="0" baseline="0" noProof="0">
                <a:ln>
                  <a:noFill/>
                </a:ln>
                <a:solidFill>
                  <a:srgbClr val="1C2935"/>
                </a:solidFill>
                <a:effectLst/>
                <a:uLnTx/>
                <a:uFillTx/>
                <a:latin typeface="Century Gothic"/>
                <a:ea typeface="+mn-ea"/>
                <a:cs typeface="+mn-cs"/>
              </a:endParaRPr>
            </a:p>
          </p:txBody>
        </p:sp>
        <p:sp>
          <p:nvSpPr>
            <p:cNvPr id="62" name="TextBox 61">
              <a:extLst>
                <a:ext uri="{FF2B5EF4-FFF2-40B4-BE49-F238E27FC236}">
                  <a16:creationId xmlns:a16="http://schemas.microsoft.com/office/drawing/2014/main" id="{FB9B4EB2-00DF-2212-D250-8B9A237F694A}"/>
                </a:ext>
              </a:extLst>
            </p:cNvPr>
            <p:cNvSpPr txBox="1"/>
            <p:nvPr/>
          </p:nvSpPr>
          <p:spPr>
            <a:xfrm>
              <a:off x="9216702" y="3629144"/>
              <a:ext cx="858041" cy="121220"/>
            </a:xfrm>
            <a:prstGeom prst="rect">
              <a:avLst/>
            </a:prstGeom>
            <a:noFill/>
          </p:spPr>
          <p:txBody>
            <a:bodyPr wrap="non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25" b="1" i="0" u="none" strike="noStrike" kern="1200" cap="none" spc="0" normalizeH="0" baseline="0" noProof="0">
                  <a:ln>
                    <a:noFill/>
                  </a:ln>
                  <a:solidFill>
                    <a:srgbClr val="1C2935"/>
                  </a:solidFill>
                  <a:effectLst/>
                  <a:uLnTx/>
                  <a:uFillTx/>
                  <a:latin typeface="Century Gothic"/>
                  <a:ea typeface="+mn-ea"/>
                  <a:cs typeface="+mn-cs"/>
                </a:rPr>
                <a:t>CREDIT TRANSFER</a:t>
              </a:r>
              <a:endParaRPr kumimoji="0" lang="en-US" sz="525" b="0" i="0" u="none" strike="noStrike" kern="1200" cap="none" spc="0" normalizeH="0" baseline="0" noProof="0">
                <a:ln>
                  <a:noFill/>
                </a:ln>
                <a:solidFill>
                  <a:srgbClr val="1C2935"/>
                </a:solidFill>
                <a:effectLst/>
                <a:uLnTx/>
                <a:uFillTx/>
                <a:latin typeface="Century Gothic"/>
                <a:ea typeface="+mn-ea"/>
                <a:cs typeface="+mn-cs"/>
              </a:endParaRPr>
            </a:p>
          </p:txBody>
        </p:sp>
        <p:sp>
          <p:nvSpPr>
            <p:cNvPr id="63" name="TextBox 62">
              <a:extLst>
                <a:ext uri="{FF2B5EF4-FFF2-40B4-BE49-F238E27FC236}">
                  <a16:creationId xmlns:a16="http://schemas.microsoft.com/office/drawing/2014/main" id="{3ADAB842-6665-14F4-3F59-1FAD1554AFDB}"/>
                </a:ext>
              </a:extLst>
            </p:cNvPr>
            <p:cNvSpPr txBox="1"/>
            <p:nvPr/>
          </p:nvSpPr>
          <p:spPr>
            <a:xfrm>
              <a:off x="10978208" y="3629144"/>
              <a:ext cx="373825" cy="121220"/>
            </a:xfrm>
            <a:prstGeom prst="rect">
              <a:avLst/>
            </a:prstGeom>
            <a:noFill/>
          </p:spPr>
          <p:txBody>
            <a:bodyPr wrap="non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25" b="1" i="0" u="none" strike="noStrike" kern="1200" cap="none" spc="0" normalizeH="0" baseline="0" noProof="0">
                  <a:ln>
                    <a:noFill/>
                  </a:ln>
                  <a:solidFill>
                    <a:srgbClr val="1C2935"/>
                  </a:solidFill>
                  <a:effectLst/>
                  <a:uLnTx/>
                  <a:uFillTx/>
                  <a:latin typeface="Century Gothic"/>
                  <a:ea typeface="+mn-ea"/>
                  <a:cs typeface="+mn-cs"/>
                </a:rPr>
                <a:t>MOBILE</a:t>
              </a:r>
              <a:endParaRPr kumimoji="0" lang="en-US" sz="525" b="0" i="0" u="none" strike="noStrike" kern="1200" cap="none" spc="0" normalizeH="0" baseline="0" noProof="0">
                <a:ln>
                  <a:noFill/>
                </a:ln>
                <a:solidFill>
                  <a:srgbClr val="1C2935"/>
                </a:solidFill>
                <a:effectLst/>
                <a:uLnTx/>
                <a:uFillTx/>
                <a:latin typeface="Century Gothic"/>
                <a:ea typeface="+mn-ea"/>
                <a:cs typeface="+mn-cs"/>
              </a:endParaRPr>
            </a:p>
          </p:txBody>
        </p:sp>
        <p:sp>
          <p:nvSpPr>
            <p:cNvPr id="64" name="Rectangle 63">
              <a:extLst>
                <a:ext uri="{FF2B5EF4-FFF2-40B4-BE49-F238E27FC236}">
                  <a16:creationId xmlns:a16="http://schemas.microsoft.com/office/drawing/2014/main" id="{6E07C686-E064-8524-6846-C826D1BB5940}"/>
                </a:ext>
              </a:extLst>
            </p:cNvPr>
            <p:cNvSpPr/>
            <p:nvPr/>
          </p:nvSpPr>
          <p:spPr>
            <a:xfrm>
              <a:off x="9110701" y="2703492"/>
              <a:ext cx="151615" cy="57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entury Gothic"/>
                <a:ea typeface="+mn-ea"/>
                <a:cs typeface="+mn-cs"/>
              </a:endParaRPr>
            </a:p>
          </p:txBody>
        </p:sp>
        <p:cxnSp>
          <p:nvCxnSpPr>
            <p:cNvPr id="66" name="Connector: Elbow 33">
              <a:extLst>
                <a:ext uri="{FF2B5EF4-FFF2-40B4-BE49-F238E27FC236}">
                  <a16:creationId xmlns:a16="http://schemas.microsoft.com/office/drawing/2014/main" id="{DF182BCD-0F4D-30FC-1AB5-7C309CF84D2B}"/>
                </a:ext>
              </a:extLst>
            </p:cNvPr>
            <p:cNvCxnSpPr>
              <a:cxnSpLocks/>
              <a:stCxn id="20" idx="2"/>
              <a:endCxn id="24" idx="0"/>
            </p:cNvCxnSpPr>
            <p:nvPr/>
          </p:nvCxnSpPr>
          <p:spPr>
            <a:xfrm rot="16200000" flipH="1">
              <a:off x="7671583" y="5062249"/>
              <a:ext cx="523092" cy="1057350"/>
            </a:xfrm>
            <a:prstGeom prst="curvedConnector3">
              <a:avLst>
                <a:gd name="adj1" fmla="val 50000"/>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Connector: Elbow 33">
              <a:extLst>
                <a:ext uri="{FF2B5EF4-FFF2-40B4-BE49-F238E27FC236}">
                  <a16:creationId xmlns:a16="http://schemas.microsoft.com/office/drawing/2014/main" id="{F6850FBD-F8AE-A005-B67E-411612D8377E}"/>
                </a:ext>
              </a:extLst>
            </p:cNvPr>
            <p:cNvCxnSpPr>
              <a:cxnSpLocks/>
              <a:stCxn id="22" idx="2"/>
              <a:endCxn id="23" idx="0"/>
            </p:cNvCxnSpPr>
            <p:nvPr/>
          </p:nvCxnSpPr>
          <p:spPr>
            <a:xfrm rot="5400000">
              <a:off x="8529863" y="5540747"/>
              <a:ext cx="422738" cy="1"/>
            </a:xfrm>
            <a:prstGeom prst="curvedConnector3">
              <a:avLst>
                <a:gd name="adj1" fmla="val 50000"/>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2" name="Connector: Elbow 33">
              <a:extLst>
                <a:ext uri="{FF2B5EF4-FFF2-40B4-BE49-F238E27FC236}">
                  <a16:creationId xmlns:a16="http://schemas.microsoft.com/office/drawing/2014/main" id="{2BC22149-950C-32AB-F566-A0EB412C3DC9}"/>
                </a:ext>
              </a:extLst>
            </p:cNvPr>
            <p:cNvCxnSpPr>
              <a:cxnSpLocks/>
              <a:stCxn id="21" idx="2"/>
              <a:endCxn id="25" idx="0"/>
            </p:cNvCxnSpPr>
            <p:nvPr/>
          </p:nvCxnSpPr>
          <p:spPr>
            <a:xfrm rot="5400000">
              <a:off x="9444473" y="4985253"/>
              <a:ext cx="523092" cy="1211342"/>
            </a:xfrm>
            <a:prstGeom prst="curvedConnector3">
              <a:avLst>
                <a:gd name="adj1" fmla="val 50000"/>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pic>
          <p:nvPicPr>
            <p:cNvPr id="20" name="Graphic 19" descr="Clock with solid fill">
              <a:extLst>
                <a:ext uri="{FF2B5EF4-FFF2-40B4-BE49-F238E27FC236}">
                  <a16:creationId xmlns:a16="http://schemas.microsoft.com/office/drawing/2014/main" id="{8B9F82A7-DD64-6110-3A26-6B3B81C9C3C1}"/>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7141003" y="4802477"/>
              <a:ext cx="526901" cy="526901"/>
            </a:xfrm>
            <a:prstGeom prst="rect">
              <a:avLst/>
            </a:prstGeom>
          </p:spPr>
        </p:pic>
        <p:sp>
          <p:nvSpPr>
            <p:cNvPr id="27" name="TextBox 26">
              <a:extLst>
                <a:ext uri="{FF2B5EF4-FFF2-40B4-BE49-F238E27FC236}">
                  <a16:creationId xmlns:a16="http://schemas.microsoft.com/office/drawing/2014/main" id="{5016DEBD-18AA-B9A4-DD16-1C23A57A46E2}"/>
                </a:ext>
              </a:extLst>
            </p:cNvPr>
            <p:cNvSpPr txBox="1"/>
            <p:nvPr/>
          </p:nvSpPr>
          <p:spPr>
            <a:xfrm>
              <a:off x="6935774" y="4440626"/>
              <a:ext cx="900692" cy="363663"/>
            </a:xfrm>
            <a:prstGeom prst="rect">
              <a:avLst/>
            </a:prstGeom>
            <a:noFill/>
          </p:spPr>
          <p:txBody>
            <a:bodyPr wrap="non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25" b="1" i="0" u="none" strike="noStrike" kern="1200" cap="none" spc="0" normalizeH="0" baseline="0" noProof="0">
                  <a:ln>
                    <a:noFill/>
                  </a:ln>
                  <a:solidFill>
                    <a:srgbClr val="C00000"/>
                  </a:solidFill>
                  <a:effectLst/>
                  <a:uLnTx/>
                  <a:uFillTx/>
                  <a:latin typeface="Century Gothic"/>
                  <a:ea typeface="+mn-ea"/>
                  <a:cs typeface="+mn-cs"/>
                </a:rPr>
                <a:t>SUM</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25" b="1" i="0" u="none" strike="noStrike" kern="1200" cap="none" spc="0" normalizeH="0" baseline="0" noProof="0">
                  <a:ln>
                    <a:noFill/>
                  </a:ln>
                  <a:solidFill>
                    <a:srgbClr val="C00000"/>
                  </a:solidFill>
                  <a:effectLst/>
                  <a:uLnTx/>
                  <a:uFillTx/>
                  <a:latin typeface="Century Gothic"/>
                  <a:ea typeface="+mn-ea"/>
                  <a:cs typeface="+mn-cs"/>
                </a:rPr>
                <a:t>-CLEARING</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a:ln>
                    <a:noFill/>
                  </a:ln>
                  <a:solidFill>
                    <a:srgbClr val="C00000"/>
                  </a:solidFill>
                  <a:effectLst/>
                  <a:uLnTx/>
                  <a:uFillTx/>
                  <a:latin typeface="Century Gothic"/>
                  <a:ea typeface="+mn-ea"/>
                  <a:cs typeface="+mn-cs"/>
                </a:rPr>
                <a:t>One business day</a:t>
              </a:r>
            </a:p>
          </p:txBody>
        </p:sp>
        <p:pic>
          <p:nvPicPr>
            <p:cNvPr id="22" name="Graphic 21" descr="Clock with solid fill">
              <a:extLst>
                <a:ext uri="{FF2B5EF4-FFF2-40B4-BE49-F238E27FC236}">
                  <a16:creationId xmlns:a16="http://schemas.microsoft.com/office/drawing/2014/main" id="{72EFDA7B-3BFD-C525-05FE-84D41F1E1654}"/>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8477781" y="4802477"/>
              <a:ext cx="526901" cy="526901"/>
            </a:xfrm>
            <a:prstGeom prst="rect">
              <a:avLst/>
            </a:prstGeom>
          </p:spPr>
        </p:pic>
        <p:sp>
          <p:nvSpPr>
            <p:cNvPr id="31" name="TextBox 30">
              <a:extLst>
                <a:ext uri="{FF2B5EF4-FFF2-40B4-BE49-F238E27FC236}">
                  <a16:creationId xmlns:a16="http://schemas.microsoft.com/office/drawing/2014/main" id="{F2418FC5-FD4C-E5BA-8064-865C65ADC956}"/>
                </a:ext>
              </a:extLst>
            </p:cNvPr>
            <p:cNvSpPr txBox="1"/>
            <p:nvPr/>
          </p:nvSpPr>
          <p:spPr>
            <a:xfrm>
              <a:off x="8479051" y="4440626"/>
              <a:ext cx="524358" cy="363663"/>
            </a:xfrm>
            <a:prstGeom prst="rect">
              <a:avLst/>
            </a:prstGeom>
            <a:noFill/>
          </p:spPr>
          <p:txBody>
            <a:bodyPr wrap="non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25" b="1" i="0" u="none" strike="noStrike" kern="1200" cap="none" spc="0" normalizeH="0" baseline="0" noProof="0">
                  <a:ln>
                    <a:noFill/>
                  </a:ln>
                  <a:solidFill>
                    <a:srgbClr val="C00000"/>
                  </a:solidFill>
                  <a:effectLst/>
                  <a:uLnTx/>
                  <a:uFillTx/>
                  <a:latin typeface="Century Gothic"/>
                  <a:ea typeface="+mn-ea"/>
                  <a:cs typeface="+mn-cs"/>
                </a:rPr>
                <a:t>STEP2 DKK</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25" b="1" i="0" u="none" strike="noStrike" kern="1200" cap="none" spc="0" normalizeH="0" baseline="0" noProof="0">
                  <a:ln>
                    <a:noFill/>
                  </a:ln>
                  <a:solidFill>
                    <a:srgbClr val="C00000"/>
                  </a:solidFill>
                  <a:effectLst/>
                  <a:uLnTx/>
                  <a:uFillTx/>
                  <a:latin typeface="Century Gothic"/>
                  <a:ea typeface="+mn-ea"/>
                  <a:cs typeface="+mn-cs"/>
                </a:rPr>
                <a:t>CLEARING</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a:ln>
                    <a:noFill/>
                  </a:ln>
                  <a:solidFill>
                    <a:srgbClr val="C00000"/>
                  </a:solidFill>
                  <a:effectLst/>
                  <a:uLnTx/>
                  <a:uFillTx/>
                  <a:latin typeface="Century Gothic"/>
                  <a:ea typeface="+mn-ea"/>
                  <a:cs typeface="+mn-cs"/>
                </a:rPr>
                <a:t>Same day</a:t>
              </a:r>
            </a:p>
          </p:txBody>
        </p:sp>
        <p:pic>
          <p:nvPicPr>
            <p:cNvPr id="21" name="Graphic 20" descr="Clock with solid fill">
              <a:extLst>
                <a:ext uri="{FF2B5EF4-FFF2-40B4-BE49-F238E27FC236}">
                  <a16:creationId xmlns:a16="http://schemas.microsoft.com/office/drawing/2014/main" id="{5779D305-6DFE-BB53-FD08-8DF8FD74AB95}"/>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10048239" y="4802477"/>
              <a:ext cx="526901" cy="526901"/>
            </a:xfrm>
            <a:prstGeom prst="rect">
              <a:avLst/>
            </a:prstGeom>
          </p:spPr>
        </p:pic>
        <p:sp>
          <p:nvSpPr>
            <p:cNvPr id="32" name="TextBox 31">
              <a:extLst>
                <a:ext uri="{FF2B5EF4-FFF2-40B4-BE49-F238E27FC236}">
                  <a16:creationId xmlns:a16="http://schemas.microsoft.com/office/drawing/2014/main" id="{12EC987F-132F-0BB5-93EE-99E8E69E5287}"/>
                </a:ext>
              </a:extLst>
            </p:cNvPr>
            <p:cNvSpPr txBox="1"/>
            <p:nvPr/>
          </p:nvSpPr>
          <p:spPr>
            <a:xfrm>
              <a:off x="10011837" y="4440625"/>
              <a:ext cx="516833" cy="363663"/>
            </a:xfrm>
            <a:prstGeom prst="rect">
              <a:avLst/>
            </a:prstGeom>
            <a:noFill/>
          </p:spPr>
          <p:txBody>
            <a:bodyPr wrap="non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25" b="1" i="0" u="none" strike="noStrike" kern="1200" cap="none" spc="0" normalizeH="0" baseline="0" noProof="0">
                  <a:ln>
                    <a:noFill/>
                  </a:ln>
                  <a:solidFill>
                    <a:srgbClr val="C00000"/>
                  </a:solidFill>
                  <a:effectLst/>
                  <a:uLnTx/>
                  <a:uFillTx/>
                  <a:latin typeface="Century Gothic"/>
                  <a:ea typeface="+mn-ea"/>
                  <a:cs typeface="+mn-cs"/>
                </a:rPr>
                <a:t>TIPS DKK</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25" b="1" i="0" u="none" strike="noStrike" kern="1200" cap="none" spc="0" normalizeH="0" baseline="0" noProof="0">
                  <a:ln>
                    <a:noFill/>
                  </a:ln>
                  <a:solidFill>
                    <a:srgbClr val="C00000"/>
                  </a:solidFill>
                  <a:effectLst/>
                  <a:uLnTx/>
                  <a:uFillTx/>
                  <a:latin typeface="Century Gothic"/>
                  <a:ea typeface="+mn-ea"/>
                  <a:cs typeface="+mn-cs"/>
                </a:rPr>
                <a:t>CLEARING</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a:ln>
                    <a:noFill/>
                  </a:ln>
                  <a:solidFill>
                    <a:srgbClr val="C00000"/>
                  </a:solidFill>
                  <a:effectLst/>
                  <a:uLnTx/>
                  <a:uFillTx/>
                  <a:latin typeface="Century Gothic"/>
                  <a:ea typeface="+mn-ea"/>
                  <a:cs typeface="+mn-cs"/>
                </a:rPr>
                <a:t>Instantly</a:t>
              </a:r>
            </a:p>
          </p:txBody>
        </p:sp>
        <p:pic>
          <p:nvPicPr>
            <p:cNvPr id="100" name="Graphic 99" descr="Factory outline">
              <a:extLst>
                <a:ext uri="{FF2B5EF4-FFF2-40B4-BE49-F238E27FC236}">
                  <a16:creationId xmlns:a16="http://schemas.microsoft.com/office/drawing/2014/main" id="{D7A7BC38-2D54-8C34-6DE4-3F50C34CD53D}"/>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8278753" y="1636773"/>
              <a:ext cx="672148" cy="672148"/>
            </a:xfrm>
            <a:prstGeom prst="rect">
              <a:avLst/>
            </a:prstGeom>
          </p:spPr>
        </p:pic>
        <p:sp>
          <p:nvSpPr>
            <p:cNvPr id="104" name="Rectangle 103">
              <a:extLst>
                <a:ext uri="{FF2B5EF4-FFF2-40B4-BE49-F238E27FC236}">
                  <a16:creationId xmlns:a16="http://schemas.microsoft.com/office/drawing/2014/main" id="{1DBDFC18-9AD8-A898-D0C5-F9E4B58B9A18}"/>
                </a:ext>
              </a:extLst>
            </p:cNvPr>
            <p:cNvSpPr/>
            <p:nvPr/>
          </p:nvSpPr>
          <p:spPr>
            <a:xfrm>
              <a:off x="9333448" y="2584702"/>
              <a:ext cx="151615" cy="57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entury Gothic"/>
                <a:ea typeface="+mn-ea"/>
                <a:cs typeface="+mn-cs"/>
              </a:endParaRPr>
            </a:p>
          </p:txBody>
        </p:sp>
        <p:cxnSp>
          <p:nvCxnSpPr>
            <p:cNvPr id="114" name="Connector: Elbow 33">
              <a:extLst>
                <a:ext uri="{FF2B5EF4-FFF2-40B4-BE49-F238E27FC236}">
                  <a16:creationId xmlns:a16="http://schemas.microsoft.com/office/drawing/2014/main" id="{43F495C1-AEF2-6162-7261-29B737FB17BE}"/>
                </a:ext>
              </a:extLst>
            </p:cNvPr>
            <p:cNvCxnSpPr>
              <a:cxnSpLocks/>
            </p:cNvCxnSpPr>
            <p:nvPr/>
          </p:nvCxnSpPr>
          <p:spPr>
            <a:xfrm rot="5400000">
              <a:off x="7434821" y="1712971"/>
              <a:ext cx="504107" cy="1913660"/>
            </a:xfrm>
            <a:prstGeom prst="curvedConnector3">
              <a:avLst>
                <a:gd name="adj1" fmla="val 50000"/>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27" name="Connector: Elbow 33">
              <a:extLst>
                <a:ext uri="{FF2B5EF4-FFF2-40B4-BE49-F238E27FC236}">
                  <a16:creationId xmlns:a16="http://schemas.microsoft.com/office/drawing/2014/main" id="{33166133-A139-3E4E-CE4C-01447613B8EC}"/>
                </a:ext>
              </a:extLst>
            </p:cNvPr>
            <p:cNvCxnSpPr>
              <a:cxnSpLocks/>
            </p:cNvCxnSpPr>
            <p:nvPr/>
          </p:nvCxnSpPr>
          <p:spPr>
            <a:xfrm rot="5400000">
              <a:off x="8261649" y="2362072"/>
              <a:ext cx="498586" cy="609938"/>
            </a:xfrm>
            <a:prstGeom prst="curvedConnector3">
              <a:avLst>
                <a:gd name="adj1" fmla="val 50000"/>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30" name="Connector: Elbow 33">
              <a:extLst>
                <a:ext uri="{FF2B5EF4-FFF2-40B4-BE49-F238E27FC236}">
                  <a16:creationId xmlns:a16="http://schemas.microsoft.com/office/drawing/2014/main" id="{E7089848-D896-179A-1337-D9AF7ECCFEFF}"/>
                </a:ext>
              </a:extLst>
            </p:cNvPr>
            <p:cNvCxnSpPr>
              <a:cxnSpLocks/>
            </p:cNvCxnSpPr>
            <p:nvPr/>
          </p:nvCxnSpPr>
          <p:spPr>
            <a:xfrm rot="16200000" flipH="1">
              <a:off x="9058576" y="2342181"/>
              <a:ext cx="504027" cy="655320"/>
            </a:xfrm>
            <a:prstGeom prst="curvedConnector3">
              <a:avLst>
                <a:gd name="adj1" fmla="val 50000"/>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33" name="Connector: Elbow 33">
              <a:extLst>
                <a:ext uri="{FF2B5EF4-FFF2-40B4-BE49-F238E27FC236}">
                  <a16:creationId xmlns:a16="http://schemas.microsoft.com/office/drawing/2014/main" id="{A90B58A3-52B5-814B-9D1C-2D0DB4CBA2C7}"/>
                </a:ext>
              </a:extLst>
            </p:cNvPr>
            <p:cNvCxnSpPr>
              <a:cxnSpLocks/>
            </p:cNvCxnSpPr>
            <p:nvPr/>
          </p:nvCxnSpPr>
          <p:spPr>
            <a:xfrm rot="16200000" flipH="1">
              <a:off x="9904195" y="1668768"/>
              <a:ext cx="505762" cy="2003881"/>
            </a:xfrm>
            <a:prstGeom prst="curvedConnector3">
              <a:avLst>
                <a:gd name="adj1" fmla="val 50000"/>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39" name="TextBox 138">
              <a:extLst>
                <a:ext uri="{FF2B5EF4-FFF2-40B4-BE49-F238E27FC236}">
                  <a16:creationId xmlns:a16="http://schemas.microsoft.com/office/drawing/2014/main" id="{F049FF42-1995-27EF-124E-FFCF4DB03746}"/>
                </a:ext>
              </a:extLst>
            </p:cNvPr>
            <p:cNvSpPr txBox="1"/>
            <p:nvPr/>
          </p:nvSpPr>
          <p:spPr>
            <a:xfrm>
              <a:off x="8549853" y="2257298"/>
              <a:ext cx="637259" cy="121220"/>
            </a:xfrm>
            <a:prstGeom prst="rect">
              <a:avLst/>
            </a:prstGeom>
            <a:noFill/>
          </p:spPr>
          <p:txBody>
            <a:bodyPr wrap="non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25" b="1" i="0" u="none" strike="noStrike" kern="1200" cap="none" spc="0" normalizeH="0" baseline="0" noProof="0">
                  <a:ln>
                    <a:noFill/>
                  </a:ln>
                  <a:solidFill>
                    <a:srgbClr val="1C2935"/>
                  </a:solidFill>
                  <a:effectLst/>
                  <a:uLnTx/>
                  <a:uFillTx/>
                  <a:latin typeface="Century Gothic"/>
                  <a:ea typeface="+mn-ea"/>
                  <a:cs typeface="+mn-cs"/>
                </a:rPr>
                <a:t>CONSUMERS</a:t>
              </a:r>
              <a:endParaRPr kumimoji="0" lang="en-US" sz="525" b="0" i="0" u="none" strike="noStrike" kern="1200" cap="none" spc="0" normalizeH="0" baseline="0" noProof="0">
                <a:ln>
                  <a:noFill/>
                </a:ln>
                <a:solidFill>
                  <a:srgbClr val="1C2935"/>
                </a:solidFill>
                <a:effectLst/>
                <a:uLnTx/>
                <a:uFillTx/>
                <a:latin typeface="Century Gothic"/>
                <a:ea typeface="+mn-ea"/>
                <a:cs typeface="+mn-cs"/>
              </a:endParaRPr>
            </a:p>
          </p:txBody>
        </p:sp>
      </p:grpSp>
      <p:pic>
        <p:nvPicPr>
          <p:cNvPr id="3" name="Picture 2">
            <a:extLst>
              <a:ext uri="{FF2B5EF4-FFF2-40B4-BE49-F238E27FC236}">
                <a16:creationId xmlns:a16="http://schemas.microsoft.com/office/drawing/2014/main" id="{45B5D0EA-401E-7A26-0FBE-3F42DDEC7485}"/>
              </a:ext>
            </a:extLst>
          </p:cNvPr>
          <p:cNvPicPr>
            <a:picLocks noChangeAspect="1"/>
          </p:cNvPicPr>
          <p:nvPr/>
        </p:nvPicPr>
        <p:blipFill>
          <a:blip r:embed="rId11"/>
          <a:srcRect l="58802" t="3450" r="23597" b="81482"/>
          <a:stretch>
            <a:fillRect/>
          </a:stretch>
        </p:blipFill>
        <p:spPr>
          <a:xfrm>
            <a:off x="8089421" y="3143538"/>
            <a:ext cx="921981" cy="438022"/>
          </a:xfrm>
          <a:prstGeom prst="rect">
            <a:avLst/>
          </a:prstGeom>
          <a:ln>
            <a:solidFill>
              <a:schemeClr val="bg1">
                <a:lumMod val="85000"/>
              </a:schemeClr>
            </a:solidFill>
          </a:ln>
        </p:spPr>
      </p:pic>
      <p:sp>
        <p:nvSpPr>
          <p:cNvPr id="4" name="Rectangle: Rounded Corners 3">
            <a:extLst>
              <a:ext uri="{FF2B5EF4-FFF2-40B4-BE49-F238E27FC236}">
                <a16:creationId xmlns:a16="http://schemas.microsoft.com/office/drawing/2014/main" id="{40A2286C-A94B-FC66-97C4-E289148C4765}"/>
              </a:ext>
            </a:extLst>
          </p:cNvPr>
          <p:cNvSpPr/>
          <p:nvPr/>
        </p:nvSpPr>
        <p:spPr>
          <a:xfrm>
            <a:off x="6447582" y="3015323"/>
            <a:ext cx="2639268" cy="884114"/>
          </a:xfrm>
          <a:prstGeom prst="roundRect">
            <a:avLst/>
          </a:prstGeom>
          <a:noFill/>
          <a:ln>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entury Gothic"/>
              <a:ea typeface="+mn-ea"/>
              <a:cs typeface="+mn-cs"/>
            </a:endParaRPr>
          </a:p>
        </p:txBody>
      </p:sp>
    </p:spTree>
    <p:extLst>
      <p:ext uri="{BB962C8B-B14F-4D97-AF65-F5344CB8AC3E}">
        <p14:creationId xmlns:p14="http://schemas.microsoft.com/office/powerpoint/2010/main" val="329723542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E27C7A0E-9FAE-67BE-CBCB-36ECDB3801C2}"/>
              </a:ext>
            </a:extLst>
          </p:cNvPr>
          <p:cNvSpPr>
            <a:spLocks noGrp="1"/>
          </p:cNvSpPr>
          <p:nvPr>
            <p:ph sz="half" idx="2"/>
          </p:nvPr>
        </p:nvSpPr>
        <p:spPr>
          <a:xfrm>
            <a:off x="4650517" y="869609"/>
            <a:ext cx="4038600" cy="3226903"/>
          </a:xfrm>
        </p:spPr>
        <p:txBody>
          <a:bodyPr>
            <a:normAutofit fontScale="92500" lnSpcReduction="20000"/>
          </a:bodyPr>
          <a:lstStyle/>
          <a:p>
            <a:r>
              <a:rPr lang="en-US" sz="1575" b="1" err="1">
                <a:solidFill>
                  <a:srgbClr val="1C2935"/>
                </a:solidFill>
                <a:latin typeface="Century Gothic" panose="020B0502020202020204" pitchFamily="34" charset="0"/>
              </a:rPr>
              <a:t>VoP</a:t>
            </a:r>
            <a:r>
              <a:rPr lang="en-US" sz="1575" b="1">
                <a:solidFill>
                  <a:srgbClr val="1C2935"/>
                </a:solidFill>
                <a:latin typeface="Century Gothic" panose="020B0502020202020204" pitchFamily="34" charset="0"/>
              </a:rPr>
              <a:t> – Verification of Payee</a:t>
            </a:r>
            <a:endParaRPr lang="en-US" sz="1575">
              <a:solidFill>
                <a:srgbClr val="1C2935"/>
              </a:solidFill>
              <a:latin typeface="Century Gothic" panose="020B0502020202020204" pitchFamily="34" charset="0"/>
            </a:endParaRPr>
          </a:p>
          <a:p>
            <a:r>
              <a:rPr lang="en-US" sz="1575">
                <a:solidFill>
                  <a:srgbClr val="1C2935"/>
                </a:solidFill>
                <a:latin typeface="Century Gothic" panose="020B0502020202020204" pitchFamily="34" charset="0"/>
              </a:rPr>
              <a:t>​</a:t>
            </a:r>
            <a:endParaRPr lang="en-US" sz="1400">
              <a:solidFill>
                <a:srgbClr val="1C2935"/>
              </a:solidFill>
              <a:latin typeface="Century Gothic" panose="020B0502020202020204" pitchFamily="34" charset="0"/>
            </a:endParaRPr>
          </a:p>
          <a:p>
            <a:r>
              <a:rPr lang="en-US" sz="1400" b="1" u="sng">
                <a:solidFill>
                  <a:srgbClr val="1C2935"/>
                </a:solidFill>
                <a:latin typeface="Century Gothic" panose="020B0502020202020204" pitchFamily="34" charset="0"/>
              </a:rPr>
              <a:t>Background</a:t>
            </a:r>
          </a:p>
          <a:p>
            <a:pPr marL="285750" indent="-285750">
              <a:buSzPct val="100000"/>
              <a:buFont typeface="Wingdings" panose="05000000000000000000" pitchFamily="2" charset="2"/>
              <a:buChar char="§"/>
            </a:pPr>
            <a:r>
              <a:rPr lang="da-DK" sz="1400" err="1"/>
              <a:t>VoP</a:t>
            </a:r>
            <a:r>
              <a:rPr lang="da-DK" sz="1400"/>
              <a:t> </a:t>
            </a:r>
            <a:r>
              <a:rPr lang="da-DK" sz="1400" err="1"/>
              <a:t>will</a:t>
            </a:r>
            <a:r>
              <a:rPr lang="da-DK" sz="1400"/>
              <a:t> </a:t>
            </a:r>
            <a:r>
              <a:rPr lang="da-DK" sz="1400" err="1"/>
              <a:t>become</a:t>
            </a:r>
            <a:r>
              <a:rPr lang="da-DK" sz="1400"/>
              <a:t> mandatory for EUR </a:t>
            </a:r>
            <a:r>
              <a:rPr lang="da-DK" sz="1400" err="1"/>
              <a:t>payments</a:t>
            </a:r>
            <a:r>
              <a:rPr lang="da-DK" sz="1400"/>
              <a:t> (SEPA) from </a:t>
            </a:r>
            <a:r>
              <a:rPr lang="da-DK" sz="1400" err="1"/>
              <a:t>July</a:t>
            </a:r>
            <a:r>
              <a:rPr lang="da-DK" sz="1400"/>
              <a:t> 2027 for all non-eurozone </a:t>
            </a:r>
            <a:r>
              <a:rPr lang="da-DK" sz="1400" err="1"/>
              <a:t>countries</a:t>
            </a:r>
            <a:r>
              <a:rPr lang="da-DK" sz="1400"/>
              <a:t> in EU, </a:t>
            </a:r>
            <a:r>
              <a:rPr lang="da-DK" sz="1400" err="1"/>
              <a:t>e.g</a:t>
            </a:r>
            <a:r>
              <a:rPr lang="da-DK" sz="1400"/>
              <a:t>. DK</a:t>
            </a:r>
          </a:p>
          <a:p>
            <a:pPr marL="285750" indent="-285750">
              <a:buSzPct val="100000"/>
              <a:buFont typeface="Wingdings" panose="05000000000000000000" pitchFamily="2" charset="2"/>
              <a:buChar char="§"/>
            </a:pPr>
            <a:r>
              <a:rPr lang="en-US" sz="1400">
                <a:solidFill>
                  <a:srgbClr val="1C2935"/>
                </a:solidFill>
                <a:latin typeface="Century Gothic" panose="020B0502020202020204" pitchFamily="34" charset="0"/>
              </a:rPr>
              <a:t>The </a:t>
            </a:r>
            <a:r>
              <a:rPr lang="en-US" sz="1400" err="1">
                <a:solidFill>
                  <a:srgbClr val="1C2935"/>
                </a:solidFill>
                <a:latin typeface="Century Gothic" panose="020B0502020202020204" pitchFamily="34" charset="0"/>
              </a:rPr>
              <a:t>VoP</a:t>
            </a:r>
            <a:r>
              <a:rPr lang="en-US" sz="1400">
                <a:solidFill>
                  <a:srgbClr val="1C2935"/>
                </a:solidFill>
                <a:latin typeface="Century Gothic" panose="020B0502020202020204" pitchFamily="34" charset="0"/>
              </a:rPr>
              <a:t> requirements since October 2025 have included instant credit transfers in EUR between banks within the Eurozone – but not instant credit transfers to/from banks outside the Eurozone.</a:t>
            </a:r>
            <a:endParaRPr lang="da-DK" sz="1400"/>
          </a:p>
          <a:p>
            <a:endParaRPr lang="en-US" sz="1400">
              <a:solidFill>
                <a:srgbClr val="1C2935"/>
              </a:solidFill>
              <a:latin typeface="Century Gothic" panose="020B0502020202020204" pitchFamily="34" charset="0"/>
            </a:endParaRPr>
          </a:p>
          <a:p>
            <a:r>
              <a:rPr lang="en-US" sz="1400" b="1" u="sng">
                <a:solidFill>
                  <a:srgbClr val="1C2935"/>
                </a:solidFill>
                <a:latin typeface="Century Gothic" panose="020B0502020202020204" pitchFamily="34" charset="0"/>
              </a:rPr>
              <a:t>DK timeline</a:t>
            </a:r>
            <a:endParaRPr lang="en-US" sz="1400" u="sng">
              <a:solidFill>
                <a:srgbClr val="1C2935"/>
              </a:solidFill>
              <a:latin typeface="Century Gothic" panose="020B0502020202020204" pitchFamily="34" charset="0"/>
            </a:endParaRPr>
          </a:p>
          <a:p>
            <a:pPr marL="285750" indent="-285750">
              <a:buSzPct val="100000"/>
              <a:buFont typeface="Wingdings" panose="05000000000000000000" pitchFamily="2" charset="2"/>
              <a:buChar char="§"/>
            </a:pPr>
            <a:r>
              <a:rPr lang="en-US" sz="1400">
                <a:solidFill>
                  <a:srgbClr val="1C2935"/>
                </a:solidFill>
                <a:latin typeface="Century Gothic" panose="020B0502020202020204" pitchFamily="34" charset="0"/>
              </a:rPr>
              <a:t>Everyone can respond, early January 2027</a:t>
            </a:r>
          </a:p>
          <a:p>
            <a:pPr marL="285750" indent="-285750">
              <a:buSzPct val="100000"/>
              <a:buFont typeface="Wingdings" panose="05000000000000000000" pitchFamily="2" charset="2"/>
              <a:buChar char="§"/>
            </a:pPr>
            <a:r>
              <a:rPr lang="en-US" sz="1400">
                <a:solidFill>
                  <a:srgbClr val="1C2935"/>
                </a:solidFill>
                <a:latin typeface="Century Gothic" panose="020B0502020202020204" pitchFamily="34" charset="0"/>
              </a:rPr>
              <a:t>Usage in customer channels until July 2027</a:t>
            </a:r>
          </a:p>
        </p:txBody>
      </p:sp>
      <p:pic>
        <p:nvPicPr>
          <p:cNvPr id="1026" name="Picture 2">
            <a:extLst>
              <a:ext uri="{FF2B5EF4-FFF2-40B4-BE49-F238E27FC236}">
                <a16:creationId xmlns:a16="http://schemas.microsoft.com/office/drawing/2014/main" id="{9A7A67B5-28CA-59B7-8F0B-A125DAA8704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2399" r="22162"/>
          <a:stretch>
            <a:fillRect/>
          </a:stretch>
        </p:blipFill>
        <p:spPr bwMode="auto">
          <a:xfrm>
            <a:off x="530077" y="1084306"/>
            <a:ext cx="3649596" cy="3291531"/>
          </a:xfrm>
          <a:prstGeom prst="rect">
            <a:avLst/>
          </a:prstGeom>
          <a:noFill/>
          <a:extLst>
            <a:ext uri="{909E8E84-426E-40DD-AFC4-6F175D3DCCD1}">
              <a14:hiddenFill xmlns:a14="http://schemas.microsoft.com/office/drawing/2010/main">
                <a:solidFill>
                  <a:srgbClr val="FFFFFF"/>
                </a:solidFill>
              </a14:hiddenFill>
            </a:ext>
          </a:extLst>
        </p:spPr>
      </p:pic>
      <p:sp>
        <p:nvSpPr>
          <p:cNvPr id="9" name="Tekstfelt 8">
            <a:extLst>
              <a:ext uri="{FF2B5EF4-FFF2-40B4-BE49-F238E27FC236}">
                <a16:creationId xmlns:a16="http://schemas.microsoft.com/office/drawing/2014/main" id="{E2B8B62A-63EB-1404-2D4B-46B8ACF6A17F}"/>
              </a:ext>
            </a:extLst>
          </p:cNvPr>
          <p:cNvSpPr txBox="1"/>
          <p:nvPr/>
        </p:nvSpPr>
        <p:spPr>
          <a:xfrm>
            <a:off x="530077" y="454111"/>
            <a:ext cx="3649595" cy="41549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a:ln>
                  <a:noFill/>
                </a:ln>
                <a:solidFill>
                  <a:srgbClr val="FFFFFF"/>
                </a:solidFill>
                <a:effectLst/>
                <a:uLnTx/>
                <a:uFillTx/>
                <a:latin typeface="Century Gothic"/>
                <a:ea typeface="+mn-ea"/>
                <a:cs typeface="+mn-cs"/>
              </a:rPr>
              <a:t>Verification of Payee</a:t>
            </a:r>
          </a:p>
        </p:txBody>
      </p:sp>
    </p:spTree>
    <p:extLst>
      <p:ext uri="{BB962C8B-B14F-4D97-AF65-F5344CB8AC3E}">
        <p14:creationId xmlns:p14="http://schemas.microsoft.com/office/powerpoint/2010/main" val="327663046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Undertitel 4">
            <a:extLst>
              <a:ext uri="{FF2B5EF4-FFF2-40B4-BE49-F238E27FC236}">
                <a16:creationId xmlns:a16="http://schemas.microsoft.com/office/drawing/2014/main" id="{71983883-8040-D92B-498F-EC762306D60C}"/>
              </a:ext>
            </a:extLst>
          </p:cNvPr>
          <p:cNvSpPr>
            <a:spLocks noGrp="1"/>
          </p:cNvSpPr>
          <p:nvPr>
            <p:ph type="subTitle" idx="1"/>
          </p:nvPr>
        </p:nvSpPr>
        <p:spPr/>
        <p:txBody>
          <a:bodyPr>
            <a:normAutofit/>
          </a:bodyPr>
          <a:lstStyle/>
          <a:p>
            <a:r>
              <a:rPr lang="da-DK" err="1"/>
              <a:t>Questions</a:t>
            </a:r>
            <a:r>
              <a:rPr lang="da-DK"/>
              <a:t>?</a:t>
            </a:r>
          </a:p>
          <a:p>
            <a:endParaRPr lang="da-DK" sz="1400"/>
          </a:p>
          <a:p>
            <a:endParaRPr lang="da-DK" sz="1400"/>
          </a:p>
          <a:p>
            <a:pPr algn="r"/>
            <a:r>
              <a:rPr lang="da-DK" sz="1100"/>
              <a:t>Nikolaj Hesselholt Munck</a:t>
            </a:r>
          </a:p>
          <a:p>
            <a:pPr algn="r"/>
            <a:r>
              <a:rPr lang="da-DK" sz="1100">
                <a:hlinkClick r:id="rId2">
                  <a:extLst>
                    <a:ext uri="{A12FA001-AC4F-418D-AE19-62706E023703}">
                      <ahyp:hlinkClr xmlns:ahyp="http://schemas.microsoft.com/office/drawing/2018/hyperlinkcolor" val="tx"/>
                    </a:ext>
                  </a:extLst>
                </a:hlinkClick>
              </a:rPr>
              <a:t>nhm@fida.dk</a:t>
            </a:r>
            <a:endParaRPr lang="da-DK" sz="1100"/>
          </a:p>
          <a:p>
            <a:pPr algn="r"/>
            <a:r>
              <a:rPr lang="da-DK" sz="1100"/>
              <a:t>(+45)29692801</a:t>
            </a:r>
          </a:p>
        </p:txBody>
      </p:sp>
    </p:spTree>
    <p:extLst>
      <p:ext uri="{BB962C8B-B14F-4D97-AF65-F5344CB8AC3E}">
        <p14:creationId xmlns:p14="http://schemas.microsoft.com/office/powerpoint/2010/main" val="314527879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488F7B-2734-FDF6-B430-9333FBC008DA}"/>
            </a:ext>
          </a:extLst>
        </p:cNvPr>
        <p:cNvGrpSpPr/>
        <p:nvPr/>
      </p:nvGrpSpPr>
      <p:grpSpPr>
        <a:xfrm>
          <a:off x="0" y="0"/>
          <a:ext cx="0" cy="0"/>
          <a:chOff x="0" y="0"/>
          <a:chExt cx="0" cy="0"/>
        </a:xfrm>
      </p:grpSpPr>
      <p:sp>
        <p:nvSpPr>
          <p:cNvPr id="2" name="Picture Placeholder 1">
            <a:extLst>
              <a:ext uri="{FF2B5EF4-FFF2-40B4-BE49-F238E27FC236}">
                <a16:creationId xmlns:a16="http://schemas.microsoft.com/office/drawing/2014/main" id="{FBA68178-6CFC-964A-3A48-DA59D5B43C6F}"/>
              </a:ext>
            </a:extLst>
          </p:cNvPr>
          <p:cNvSpPr>
            <a:spLocks noGrp="1"/>
          </p:cNvSpPr>
          <p:nvPr>
            <p:ph type="pic" sz="quarter" idx="15"/>
          </p:nvPr>
        </p:nvSpPr>
        <p:spPr/>
        <p:txBody>
          <a:bodyPr/>
          <a:lstStyle/>
          <a:p>
            <a:endParaRPr lang="sv-SE"/>
          </a:p>
        </p:txBody>
      </p:sp>
      <p:sp>
        <p:nvSpPr>
          <p:cNvPr id="8" name="Rubrik 7">
            <a:extLst>
              <a:ext uri="{FF2B5EF4-FFF2-40B4-BE49-F238E27FC236}">
                <a16:creationId xmlns:a16="http://schemas.microsoft.com/office/drawing/2014/main" id="{4CC6A0EA-E885-05C0-8AED-F3EC1B3B2A4D}"/>
              </a:ext>
            </a:extLst>
          </p:cNvPr>
          <p:cNvSpPr>
            <a:spLocks noGrp="1"/>
          </p:cNvSpPr>
          <p:nvPr>
            <p:ph type="title"/>
          </p:nvPr>
        </p:nvSpPr>
        <p:spPr/>
        <p:txBody>
          <a:bodyPr/>
          <a:lstStyle/>
          <a:p>
            <a:r>
              <a:rPr lang="en-GB"/>
              <a:t>Suggested Agenda</a:t>
            </a:r>
          </a:p>
        </p:txBody>
      </p:sp>
      <p:sp>
        <p:nvSpPr>
          <p:cNvPr id="10" name="Platshållare för text 9">
            <a:extLst>
              <a:ext uri="{FF2B5EF4-FFF2-40B4-BE49-F238E27FC236}">
                <a16:creationId xmlns:a16="http://schemas.microsoft.com/office/drawing/2014/main" id="{9715C3DC-D264-81DC-3D55-6C4F7FFF125E}"/>
              </a:ext>
            </a:extLst>
          </p:cNvPr>
          <p:cNvSpPr>
            <a:spLocks noGrp="1"/>
          </p:cNvSpPr>
          <p:nvPr>
            <p:ph type="body" sz="quarter" idx="17"/>
          </p:nvPr>
        </p:nvSpPr>
        <p:spPr>
          <a:xfrm>
            <a:off x="381000" y="947738"/>
            <a:ext cx="4093842" cy="3487737"/>
          </a:xfrm>
        </p:spPr>
        <p:txBody>
          <a:bodyPr>
            <a:normAutofit fontScale="92500" lnSpcReduction="10000"/>
          </a:bodyPr>
          <a:lstStyle/>
          <a:p>
            <a:pPr marL="342900" indent="-342900">
              <a:buFont typeface="+mj-lt"/>
              <a:buAutoNum type="arabicPeriod"/>
            </a:pPr>
            <a:r>
              <a:rPr lang="en-GB" sz="1600"/>
              <a:t>Introduction </a:t>
            </a:r>
          </a:p>
          <a:p>
            <a:pPr marL="342900" indent="-342900">
              <a:buFont typeface="+mj-lt"/>
              <a:buAutoNum type="arabicPeriod"/>
            </a:pPr>
            <a:r>
              <a:rPr lang="en-GB" sz="1600"/>
              <a:t>Approval of Agenda</a:t>
            </a:r>
          </a:p>
          <a:p>
            <a:pPr marL="342900" indent="-342900">
              <a:buFont typeface="+mj-lt"/>
              <a:buAutoNum type="arabicPeriod"/>
            </a:pPr>
            <a:r>
              <a:rPr lang="en-GB" sz="1600"/>
              <a:t>Approval of last meeting’s minutes</a:t>
            </a:r>
          </a:p>
          <a:p>
            <a:pPr marL="342900" indent="-342900">
              <a:buFont typeface="+mj-lt"/>
              <a:buAutoNum type="arabicPeriod"/>
            </a:pPr>
            <a:r>
              <a:rPr lang="en-GB" sz="1600"/>
              <a:t>Appointment of minutes adjuster</a:t>
            </a:r>
          </a:p>
          <a:p>
            <a:pPr marL="342900" indent="-342900">
              <a:buFont typeface="+mj-lt"/>
              <a:buAutoNum type="arabicPeriod"/>
            </a:pPr>
            <a:r>
              <a:rPr lang="en-GB" sz="1600"/>
              <a:t>NPC General information</a:t>
            </a:r>
          </a:p>
          <a:p>
            <a:pPr marL="342900" indent="-342900">
              <a:buFont typeface="+mj-lt"/>
              <a:buAutoNum type="arabicPeriod"/>
            </a:pPr>
            <a:r>
              <a:rPr lang="en-GB" sz="1600"/>
              <a:t>Nordic community update - NO</a:t>
            </a:r>
          </a:p>
          <a:p>
            <a:pPr marL="342900" indent="-342900">
              <a:buFont typeface="+mj-lt"/>
              <a:buAutoNum type="arabicPeriod"/>
            </a:pPr>
            <a:r>
              <a:rPr lang="en-GB" sz="1600"/>
              <a:t>External speaker </a:t>
            </a:r>
          </a:p>
          <a:p>
            <a:pPr marL="342900" indent="-342900">
              <a:buFont typeface="+mj-lt"/>
              <a:buAutoNum type="arabicPeriod"/>
            </a:pPr>
            <a:r>
              <a:rPr lang="en-GB" sz="1600"/>
              <a:t>Nordic community update – SE and DK</a:t>
            </a:r>
          </a:p>
          <a:p>
            <a:pPr marL="0" indent="0">
              <a:buNone/>
            </a:pPr>
            <a:r>
              <a:rPr lang="en-GB" sz="1600" b="1" i="1"/>
              <a:t>Break</a:t>
            </a:r>
          </a:p>
          <a:p>
            <a:pPr marL="342900" indent="-342900">
              <a:buFont typeface="+mj-lt"/>
              <a:buAutoNum type="arabicPeriod" startAt="9"/>
            </a:pPr>
            <a:r>
              <a:rPr lang="en-GB" sz="1600"/>
              <a:t>NPC Verification of Payee</a:t>
            </a:r>
          </a:p>
          <a:p>
            <a:pPr marL="342900" indent="-342900">
              <a:buFont typeface="+mj-lt"/>
              <a:buAutoNum type="arabicPeriod" startAt="9"/>
            </a:pPr>
            <a:r>
              <a:rPr lang="en-GB" sz="1600"/>
              <a:t>NPC Payment Schemes</a:t>
            </a:r>
          </a:p>
          <a:p>
            <a:pPr marL="342900" indent="-342900">
              <a:buFont typeface="+mj-lt"/>
              <a:buAutoNum type="arabicPeriod" startAt="9"/>
            </a:pPr>
            <a:r>
              <a:rPr lang="en-GB" sz="1600"/>
              <a:t>Position papers </a:t>
            </a:r>
          </a:p>
          <a:p>
            <a:pPr marL="342900" indent="-342900">
              <a:buFont typeface="+mj-lt"/>
              <a:buAutoNum type="arabicPeriod" startAt="9"/>
            </a:pPr>
            <a:r>
              <a:rPr lang="en-GB" sz="1600"/>
              <a:t>NPC going forward </a:t>
            </a:r>
          </a:p>
          <a:p>
            <a:pPr marL="342900" indent="-342900">
              <a:buFont typeface="+mj-lt"/>
              <a:buAutoNum type="arabicPeriod" startAt="9"/>
            </a:pPr>
            <a:r>
              <a:rPr lang="en-GB" sz="1600"/>
              <a:t>Any other business </a:t>
            </a:r>
          </a:p>
          <a:p>
            <a:pPr marL="342900" indent="-342900">
              <a:buFont typeface="+mj-lt"/>
              <a:buAutoNum type="arabicPeriod" startAt="9"/>
            </a:pPr>
            <a:r>
              <a:rPr lang="en-GB" sz="1600"/>
              <a:t>Closing</a:t>
            </a:r>
          </a:p>
        </p:txBody>
      </p:sp>
      <p:sp>
        <p:nvSpPr>
          <p:cNvPr id="5" name="Platshållare för sidfot 4">
            <a:extLst>
              <a:ext uri="{FF2B5EF4-FFF2-40B4-BE49-F238E27FC236}">
                <a16:creationId xmlns:a16="http://schemas.microsoft.com/office/drawing/2014/main" id="{B7E036D5-DF38-5D9B-F13A-9631C1C1CF08}"/>
              </a:ext>
            </a:extLst>
          </p:cNvPr>
          <p:cNvSpPr>
            <a:spLocks noGrp="1"/>
          </p:cNvSpPr>
          <p:nvPr>
            <p:ph type="ftr" sz="quarter" idx="11"/>
          </p:nvPr>
        </p:nvSpPr>
        <p:spPr/>
        <p:txBody>
          <a:bodyPr/>
          <a:lstStyle/>
          <a:p>
            <a:r>
              <a:rPr lang="en-US"/>
              <a:t>Stakeholder Forum Agenda - Classification: External</a:t>
            </a:r>
            <a:endParaRPr lang="en-GB"/>
          </a:p>
        </p:txBody>
      </p:sp>
      <p:sp>
        <p:nvSpPr>
          <p:cNvPr id="6" name="Platshållare för datum 5">
            <a:extLst>
              <a:ext uri="{FF2B5EF4-FFF2-40B4-BE49-F238E27FC236}">
                <a16:creationId xmlns:a16="http://schemas.microsoft.com/office/drawing/2014/main" id="{2DE848AA-6FAB-92F1-5B9E-923C327586BD}"/>
              </a:ext>
            </a:extLst>
          </p:cNvPr>
          <p:cNvSpPr>
            <a:spLocks noGrp="1"/>
          </p:cNvSpPr>
          <p:nvPr>
            <p:ph type="dt" sz="half" idx="10"/>
          </p:nvPr>
        </p:nvSpPr>
        <p:spPr/>
        <p:txBody>
          <a:bodyPr/>
          <a:lstStyle/>
          <a:p>
            <a:r>
              <a:rPr lang="sv-SE"/>
              <a:t>26/03/2026</a:t>
            </a:r>
            <a:endParaRPr lang="en-GB"/>
          </a:p>
        </p:txBody>
      </p:sp>
      <p:sp>
        <p:nvSpPr>
          <p:cNvPr id="7" name="Platshållare för bildnummer 6">
            <a:extLst>
              <a:ext uri="{FF2B5EF4-FFF2-40B4-BE49-F238E27FC236}">
                <a16:creationId xmlns:a16="http://schemas.microsoft.com/office/drawing/2014/main" id="{1329DC79-603C-2722-8717-FDED98505089}"/>
              </a:ext>
            </a:extLst>
          </p:cNvPr>
          <p:cNvSpPr>
            <a:spLocks noGrp="1"/>
          </p:cNvSpPr>
          <p:nvPr>
            <p:ph type="sldNum" sz="quarter" idx="12"/>
          </p:nvPr>
        </p:nvSpPr>
        <p:spPr/>
        <p:txBody>
          <a:bodyPr/>
          <a:lstStyle/>
          <a:p>
            <a:fld id="{394EE31B-4DFC-CF4D-9A18-3F5D4D7C7302}" type="slidenum">
              <a:rPr lang="en-GB" smtClean="0"/>
              <a:pPr/>
              <a:t>23</a:t>
            </a:fld>
            <a:endParaRPr lang="en-GB"/>
          </a:p>
        </p:txBody>
      </p:sp>
      <p:pic>
        <p:nvPicPr>
          <p:cNvPr id="11" name="Platshållare för bild 7" descr="En bild som visar person, inomhus, man, stående&#10;&#10;Automatiskt genererad beskrivning">
            <a:extLst>
              <a:ext uri="{FF2B5EF4-FFF2-40B4-BE49-F238E27FC236}">
                <a16:creationId xmlns:a16="http://schemas.microsoft.com/office/drawing/2014/main" id="{A0D1C21F-7C82-1437-9F39-F452C31CF59B}"/>
              </a:ext>
            </a:extLst>
          </p:cNvPr>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a:xfrm>
            <a:off x="4572000" y="952574"/>
            <a:ext cx="4156148" cy="3289235"/>
          </a:xfrm>
          <a:prstGeom prst="rect">
            <a:avLst/>
          </a:prstGeom>
        </p:spPr>
      </p:pic>
    </p:spTree>
    <p:extLst>
      <p:ext uri="{BB962C8B-B14F-4D97-AF65-F5344CB8AC3E}">
        <p14:creationId xmlns:p14="http://schemas.microsoft.com/office/powerpoint/2010/main" val="2764304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EB17C0-183F-3043-F8E5-2554496982F9}"/>
            </a:ext>
          </a:extLst>
        </p:cNvPr>
        <p:cNvGrpSpPr/>
        <p:nvPr/>
      </p:nvGrpSpPr>
      <p:grpSpPr>
        <a:xfrm>
          <a:off x="0" y="0"/>
          <a:ext cx="0" cy="0"/>
          <a:chOff x="0" y="0"/>
          <a:chExt cx="0" cy="0"/>
        </a:xfrm>
      </p:grpSpPr>
      <p:sp>
        <p:nvSpPr>
          <p:cNvPr id="2" name="Picture Placeholder 1">
            <a:extLst>
              <a:ext uri="{FF2B5EF4-FFF2-40B4-BE49-F238E27FC236}">
                <a16:creationId xmlns:a16="http://schemas.microsoft.com/office/drawing/2014/main" id="{338802F4-5DBB-5DCB-86FC-36774583B1B3}"/>
              </a:ext>
            </a:extLst>
          </p:cNvPr>
          <p:cNvSpPr>
            <a:spLocks noGrp="1"/>
          </p:cNvSpPr>
          <p:nvPr>
            <p:ph type="pic" sz="quarter" idx="15"/>
          </p:nvPr>
        </p:nvSpPr>
        <p:spPr/>
        <p:txBody>
          <a:bodyPr/>
          <a:lstStyle/>
          <a:p>
            <a:endParaRPr lang="sv-SE"/>
          </a:p>
        </p:txBody>
      </p:sp>
      <p:sp>
        <p:nvSpPr>
          <p:cNvPr id="8" name="Rubrik 7">
            <a:extLst>
              <a:ext uri="{FF2B5EF4-FFF2-40B4-BE49-F238E27FC236}">
                <a16:creationId xmlns:a16="http://schemas.microsoft.com/office/drawing/2014/main" id="{3CEB4A5D-8546-938A-716D-F9A24420E96F}"/>
              </a:ext>
            </a:extLst>
          </p:cNvPr>
          <p:cNvSpPr>
            <a:spLocks noGrp="1"/>
          </p:cNvSpPr>
          <p:nvPr>
            <p:ph type="title"/>
          </p:nvPr>
        </p:nvSpPr>
        <p:spPr/>
        <p:txBody>
          <a:bodyPr/>
          <a:lstStyle/>
          <a:p>
            <a:r>
              <a:rPr lang="en-GB"/>
              <a:t>Suggested Agenda</a:t>
            </a:r>
          </a:p>
        </p:txBody>
      </p:sp>
      <p:sp>
        <p:nvSpPr>
          <p:cNvPr id="10" name="Platshållare för text 9">
            <a:extLst>
              <a:ext uri="{FF2B5EF4-FFF2-40B4-BE49-F238E27FC236}">
                <a16:creationId xmlns:a16="http://schemas.microsoft.com/office/drawing/2014/main" id="{113FEDF3-7D18-CCF9-EF76-19F34754C1FB}"/>
              </a:ext>
            </a:extLst>
          </p:cNvPr>
          <p:cNvSpPr>
            <a:spLocks noGrp="1"/>
          </p:cNvSpPr>
          <p:nvPr>
            <p:ph type="body" sz="quarter" idx="17"/>
          </p:nvPr>
        </p:nvSpPr>
        <p:spPr>
          <a:xfrm>
            <a:off x="381000" y="947738"/>
            <a:ext cx="4093842" cy="3487737"/>
          </a:xfrm>
        </p:spPr>
        <p:txBody>
          <a:bodyPr>
            <a:normAutofit fontScale="92500" lnSpcReduction="10000"/>
          </a:bodyPr>
          <a:lstStyle/>
          <a:p>
            <a:pPr marL="342900" indent="-342900">
              <a:buFont typeface="+mj-lt"/>
              <a:buAutoNum type="arabicPeriod"/>
            </a:pPr>
            <a:r>
              <a:rPr lang="en-GB" sz="1600"/>
              <a:t>Introduction </a:t>
            </a:r>
          </a:p>
          <a:p>
            <a:pPr marL="342900" indent="-342900">
              <a:buFont typeface="+mj-lt"/>
              <a:buAutoNum type="arabicPeriod"/>
            </a:pPr>
            <a:r>
              <a:rPr lang="en-GB" sz="1600"/>
              <a:t>Approval of Agenda</a:t>
            </a:r>
          </a:p>
          <a:p>
            <a:pPr marL="342900" indent="-342900">
              <a:buFont typeface="+mj-lt"/>
              <a:buAutoNum type="arabicPeriod"/>
            </a:pPr>
            <a:r>
              <a:rPr lang="en-GB" sz="1600"/>
              <a:t>Approval of last meeting’s minutes</a:t>
            </a:r>
          </a:p>
          <a:p>
            <a:pPr marL="342900" indent="-342900">
              <a:buFont typeface="+mj-lt"/>
              <a:buAutoNum type="arabicPeriod"/>
            </a:pPr>
            <a:r>
              <a:rPr lang="en-GB" sz="1600"/>
              <a:t>Appointment of minutes adjuster</a:t>
            </a:r>
          </a:p>
          <a:p>
            <a:pPr marL="342900" indent="-342900">
              <a:buFont typeface="+mj-lt"/>
              <a:buAutoNum type="arabicPeriod"/>
            </a:pPr>
            <a:r>
              <a:rPr lang="en-GB" sz="1600"/>
              <a:t>NPC General information</a:t>
            </a:r>
          </a:p>
          <a:p>
            <a:pPr marL="342900" indent="-342900">
              <a:buFont typeface="+mj-lt"/>
              <a:buAutoNum type="arabicPeriod"/>
            </a:pPr>
            <a:r>
              <a:rPr lang="en-GB" sz="1600"/>
              <a:t>Nordic community update - NO</a:t>
            </a:r>
          </a:p>
          <a:p>
            <a:pPr marL="342900" indent="-342900">
              <a:buFont typeface="+mj-lt"/>
              <a:buAutoNum type="arabicPeriod"/>
            </a:pPr>
            <a:r>
              <a:rPr lang="en-GB" sz="1600"/>
              <a:t>External speaker </a:t>
            </a:r>
          </a:p>
          <a:p>
            <a:pPr marL="342900" indent="-342900">
              <a:buFont typeface="+mj-lt"/>
              <a:buAutoNum type="arabicPeriod"/>
            </a:pPr>
            <a:r>
              <a:rPr lang="en-GB" sz="1600"/>
              <a:t>Nordic community update – SE and DK</a:t>
            </a:r>
          </a:p>
          <a:p>
            <a:pPr marL="0" indent="0">
              <a:buNone/>
            </a:pPr>
            <a:r>
              <a:rPr lang="en-GB" sz="1600" i="1"/>
              <a:t>Break</a:t>
            </a:r>
          </a:p>
          <a:p>
            <a:pPr marL="342900" indent="-342900">
              <a:buFont typeface="+mj-lt"/>
              <a:buAutoNum type="arabicPeriod" startAt="9"/>
            </a:pPr>
            <a:r>
              <a:rPr lang="en-GB" sz="1600" b="1"/>
              <a:t>NPC Verification of Payee</a:t>
            </a:r>
          </a:p>
          <a:p>
            <a:pPr marL="342900" indent="-342900">
              <a:buFont typeface="+mj-lt"/>
              <a:buAutoNum type="arabicPeriod" startAt="9"/>
            </a:pPr>
            <a:r>
              <a:rPr lang="en-GB" sz="1600"/>
              <a:t>NPC Payment Schemes</a:t>
            </a:r>
          </a:p>
          <a:p>
            <a:pPr marL="342900" indent="-342900">
              <a:buFont typeface="+mj-lt"/>
              <a:buAutoNum type="arabicPeriod" startAt="9"/>
            </a:pPr>
            <a:r>
              <a:rPr lang="en-GB" sz="1600"/>
              <a:t>Position papers </a:t>
            </a:r>
          </a:p>
          <a:p>
            <a:pPr marL="342900" indent="-342900">
              <a:buFont typeface="+mj-lt"/>
              <a:buAutoNum type="arabicPeriod" startAt="9"/>
            </a:pPr>
            <a:r>
              <a:rPr lang="en-GB" sz="1600"/>
              <a:t>NPC going forward </a:t>
            </a:r>
          </a:p>
          <a:p>
            <a:pPr marL="342900" indent="-342900">
              <a:buFont typeface="+mj-lt"/>
              <a:buAutoNum type="arabicPeriod" startAt="9"/>
            </a:pPr>
            <a:r>
              <a:rPr lang="en-GB" sz="1600"/>
              <a:t>Any other business </a:t>
            </a:r>
          </a:p>
          <a:p>
            <a:pPr marL="342900" indent="-342900">
              <a:buFont typeface="+mj-lt"/>
              <a:buAutoNum type="arabicPeriod" startAt="9"/>
            </a:pPr>
            <a:r>
              <a:rPr lang="en-GB" sz="1600"/>
              <a:t>Closing</a:t>
            </a:r>
          </a:p>
        </p:txBody>
      </p:sp>
      <p:sp>
        <p:nvSpPr>
          <p:cNvPr id="5" name="Platshållare för sidfot 4">
            <a:extLst>
              <a:ext uri="{FF2B5EF4-FFF2-40B4-BE49-F238E27FC236}">
                <a16:creationId xmlns:a16="http://schemas.microsoft.com/office/drawing/2014/main" id="{31126A0B-ADFF-FD00-506D-FCC4D4E58A95}"/>
              </a:ext>
            </a:extLst>
          </p:cNvPr>
          <p:cNvSpPr>
            <a:spLocks noGrp="1"/>
          </p:cNvSpPr>
          <p:nvPr>
            <p:ph type="ftr" sz="quarter" idx="11"/>
          </p:nvPr>
        </p:nvSpPr>
        <p:spPr/>
        <p:txBody>
          <a:bodyPr/>
          <a:lstStyle/>
          <a:p>
            <a:r>
              <a:rPr lang="en-US"/>
              <a:t>Stakeholder Forum Agenda - Classification: External</a:t>
            </a:r>
            <a:endParaRPr lang="en-GB"/>
          </a:p>
        </p:txBody>
      </p:sp>
      <p:sp>
        <p:nvSpPr>
          <p:cNvPr id="6" name="Platshållare för datum 5">
            <a:extLst>
              <a:ext uri="{FF2B5EF4-FFF2-40B4-BE49-F238E27FC236}">
                <a16:creationId xmlns:a16="http://schemas.microsoft.com/office/drawing/2014/main" id="{45E90685-746B-8A32-D094-16F03C7D58F8}"/>
              </a:ext>
            </a:extLst>
          </p:cNvPr>
          <p:cNvSpPr>
            <a:spLocks noGrp="1"/>
          </p:cNvSpPr>
          <p:nvPr>
            <p:ph type="dt" sz="half" idx="10"/>
          </p:nvPr>
        </p:nvSpPr>
        <p:spPr/>
        <p:txBody>
          <a:bodyPr/>
          <a:lstStyle/>
          <a:p>
            <a:r>
              <a:rPr lang="sv-SE"/>
              <a:t>26/03/2026</a:t>
            </a:r>
            <a:endParaRPr lang="en-GB"/>
          </a:p>
        </p:txBody>
      </p:sp>
      <p:sp>
        <p:nvSpPr>
          <p:cNvPr id="7" name="Platshållare för bildnummer 6">
            <a:extLst>
              <a:ext uri="{FF2B5EF4-FFF2-40B4-BE49-F238E27FC236}">
                <a16:creationId xmlns:a16="http://schemas.microsoft.com/office/drawing/2014/main" id="{483EF045-B9AB-0EFD-7DD2-8E03FEB09F4E}"/>
              </a:ext>
            </a:extLst>
          </p:cNvPr>
          <p:cNvSpPr>
            <a:spLocks noGrp="1"/>
          </p:cNvSpPr>
          <p:nvPr>
            <p:ph type="sldNum" sz="quarter" idx="12"/>
          </p:nvPr>
        </p:nvSpPr>
        <p:spPr/>
        <p:txBody>
          <a:bodyPr/>
          <a:lstStyle/>
          <a:p>
            <a:fld id="{394EE31B-4DFC-CF4D-9A18-3F5D4D7C7302}" type="slidenum">
              <a:rPr lang="en-GB" smtClean="0"/>
              <a:pPr/>
              <a:t>24</a:t>
            </a:fld>
            <a:endParaRPr lang="en-GB"/>
          </a:p>
        </p:txBody>
      </p:sp>
      <p:pic>
        <p:nvPicPr>
          <p:cNvPr id="11" name="Platshållare för bild 7" descr="En bild som visar person, inomhus, man, stående&#10;&#10;Automatiskt genererad beskrivning">
            <a:extLst>
              <a:ext uri="{FF2B5EF4-FFF2-40B4-BE49-F238E27FC236}">
                <a16:creationId xmlns:a16="http://schemas.microsoft.com/office/drawing/2014/main" id="{D9542C2A-7AA9-AB75-236D-8B97922D68C1}"/>
              </a:ext>
            </a:extLst>
          </p:cNvPr>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a:xfrm>
            <a:off x="4572000" y="952574"/>
            <a:ext cx="4156148" cy="3289235"/>
          </a:xfrm>
          <a:prstGeom prst="rect">
            <a:avLst/>
          </a:prstGeom>
        </p:spPr>
      </p:pic>
    </p:spTree>
    <p:extLst>
      <p:ext uri="{BB962C8B-B14F-4D97-AF65-F5344CB8AC3E}">
        <p14:creationId xmlns:p14="http://schemas.microsoft.com/office/powerpoint/2010/main" val="16963173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5AE38D-AC2A-A941-16D1-CF1914B4854C}"/>
              </a:ext>
            </a:extLst>
          </p:cNvPr>
          <p:cNvSpPr>
            <a:spLocks noGrp="1"/>
          </p:cNvSpPr>
          <p:nvPr>
            <p:ph type="title"/>
          </p:nvPr>
        </p:nvSpPr>
        <p:spPr/>
        <p:txBody>
          <a:bodyPr/>
          <a:lstStyle/>
          <a:p>
            <a:r>
              <a:rPr lang="en-GB"/>
              <a:t>NPC Verification of Payee</a:t>
            </a:r>
          </a:p>
        </p:txBody>
      </p:sp>
      <p:sp>
        <p:nvSpPr>
          <p:cNvPr id="3" name="Text Placeholder 2">
            <a:extLst>
              <a:ext uri="{FF2B5EF4-FFF2-40B4-BE49-F238E27FC236}">
                <a16:creationId xmlns:a16="http://schemas.microsoft.com/office/drawing/2014/main" id="{1422996F-0DB4-8D38-C2DC-36E8F101176F}"/>
              </a:ext>
            </a:extLst>
          </p:cNvPr>
          <p:cNvSpPr>
            <a:spLocks noGrp="1"/>
          </p:cNvSpPr>
          <p:nvPr>
            <p:ph type="body" sz="quarter" idx="17"/>
          </p:nvPr>
        </p:nvSpPr>
        <p:spPr>
          <a:xfrm>
            <a:off x="381000" y="1025058"/>
            <a:ext cx="8370888" cy="3470804"/>
          </a:xfrm>
        </p:spPr>
        <p:txBody>
          <a:bodyPr/>
          <a:lstStyle/>
          <a:p>
            <a:r>
              <a:rPr lang="en-GB" sz="1800"/>
              <a:t>Old NPC CoP 2024 v1.0 was archived due to changed market circumstances. NPC PSPs decided to take Nordic transformation support out of scope of the NPC rulebook and focus on compliance requirements only (PSR art. 50 &amp; 57) </a:t>
            </a:r>
            <a:r>
              <a:rPr lang="en-GB" sz="1800" b="1"/>
              <a:t>within a new scheme – the NPC Verification of Payee</a:t>
            </a:r>
            <a:r>
              <a:rPr lang="en-GB" sz="1800"/>
              <a:t>.</a:t>
            </a:r>
          </a:p>
          <a:p>
            <a:pPr marL="0" indent="0">
              <a:buNone/>
            </a:pPr>
            <a:endParaRPr lang="en-GB" sz="1800"/>
          </a:p>
          <a:p>
            <a:r>
              <a:rPr lang="en-GB" sz="1800"/>
              <a:t>Based on EPC VOP </a:t>
            </a:r>
            <a:r>
              <a:rPr lang="en-GB" sz="1800">
                <a:sym typeface="Wingdings" panose="05000000000000000000" pitchFamily="2" charset="2"/>
              </a:rPr>
              <a:t> a Nordic copy of an EPC scheme (NPC standard/payment schemes way of working).</a:t>
            </a:r>
          </a:p>
          <a:p>
            <a:pPr lvl="1"/>
            <a:r>
              <a:rPr lang="en-GB" sz="1600">
                <a:sym typeface="Wingdings" panose="05000000000000000000" pitchFamily="2" charset="2"/>
              </a:rPr>
              <a:t>Functionality: aim to facilitate legal requirements and alignment with the eurozone</a:t>
            </a:r>
          </a:p>
          <a:p>
            <a:pPr lvl="1"/>
            <a:r>
              <a:rPr lang="en-GB" sz="1600">
                <a:sym typeface="Wingdings" panose="05000000000000000000" pitchFamily="2" charset="2"/>
              </a:rPr>
              <a:t>Legal context: fit for the Nordics being non-euro EU countries, affected by the PSR  </a:t>
            </a:r>
            <a:endParaRPr lang="en-GB" sz="1600"/>
          </a:p>
          <a:p>
            <a:pPr marL="0" indent="0">
              <a:buNone/>
            </a:pPr>
            <a:endParaRPr lang="en-GB"/>
          </a:p>
        </p:txBody>
      </p:sp>
      <p:sp>
        <p:nvSpPr>
          <p:cNvPr id="4" name="Footer Placeholder 3">
            <a:extLst>
              <a:ext uri="{FF2B5EF4-FFF2-40B4-BE49-F238E27FC236}">
                <a16:creationId xmlns:a16="http://schemas.microsoft.com/office/drawing/2014/main" id="{DD87274F-94C3-4D2C-1FD4-BCA8509F7D12}"/>
              </a:ext>
            </a:extLst>
          </p:cNvPr>
          <p:cNvSpPr>
            <a:spLocks noGrp="1"/>
          </p:cNvSpPr>
          <p:nvPr>
            <p:ph type="ftr" sz="quarter" idx="11"/>
          </p:nvPr>
        </p:nvSpPr>
        <p:spPr/>
        <p:txBody>
          <a:bodyPr/>
          <a:lstStyle/>
          <a:p>
            <a:r>
              <a:rPr lang="en-US"/>
              <a:t>Stakeholder Forum Agenda - Classification: External</a:t>
            </a:r>
            <a:endParaRPr lang="sv-SE"/>
          </a:p>
        </p:txBody>
      </p:sp>
      <p:sp>
        <p:nvSpPr>
          <p:cNvPr id="5" name="Date Placeholder 4">
            <a:extLst>
              <a:ext uri="{FF2B5EF4-FFF2-40B4-BE49-F238E27FC236}">
                <a16:creationId xmlns:a16="http://schemas.microsoft.com/office/drawing/2014/main" id="{A4EF20B3-B69C-1720-58C4-BEBDD4D9762C}"/>
              </a:ext>
            </a:extLst>
          </p:cNvPr>
          <p:cNvSpPr>
            <a:spLocks noGrp="1"/>
          </p:cNvSpPr>
          <p:nvPr>
            <p:ph type="dt" sz="half" idx="10"/>
          </p:nvPr>
        </p:nvSpPr>
        <p:spPr/>
        <p:txBody>
          <a:bodyPr/>
          <a:lstStyle/>
          <a:p>
            <a:r>
              <a:rPr lang="sv-SE"/>
              <a:t>26/03/2026</a:t>
            </a:r>
          </a:p>
        </p:txBody>
      </p:sp>
      <p:sp>
        <p:nvSpPr>
          <p:cNvPr id="6" name="Slide Number Placeholder 5">
            <a:extLst>
              <a:ext uri="{FF2B5EF4-FFF2-40B4-BE49-F238E27FC236}">
                <a16:creationId xmlns:a16="http://schemas.microsoft.com/office/drawing/2014/main" id="{A8DF33F2-607A-A695-EA57-4AE091F42A7E}"/>
              </a:ext>
            </a:extLst>
          </p:cNvPr>
          <p:cNvSpPr>
            <a:spLocks noGrp="1"/>
          </p:cNvSpPr>
          <p:nvPr>
            <p:ph type="sldNum" sz="quarter" idx="12"/>
          </p:nvPr>
        </p:nvSpPr>
        <p:spPr/>
        <p:txBody>
          <a:bodyPr/>
          <a:lstStyle/>
          <a:p>
            <a:fld id="{394EE31B-4DFC-CF4D-9A18-3F5D4D7C7302}" type="slidenum">
              <a:rPr lang="sv-SE" smtClean="0"/>
              <a:pPr/>
              <a:t>25</a:t>
            </a:fld>
            <a:endParaRPr lang="sv-SE"/>
          </a:p>
        </p:txBody>
      </p:sp>
    </p:spTree>
    <p:extLst>
      <p:ext uri="{BB962C8B-B14F-4D97-AF65-F5344CB8AC3E}">
        <p14:creationId xmlns:p14="http://schemas.microsoft.com/office/powerpoint/2010/main" val="237210704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EED260-B4BB-8103-42F7-57DEEC56429D}"/>
              </a:ext>
            </a:extLst>
          </p:cNvPr>
          <p:cNvSpPr>
            <a:spLocks noGrp="1"/>
          </p:cNvSpPr>
          <p:nvPr>
            <p:ph type="title"/>
          </p:nvPr>
        </p:nvSpPr>
        <p:spPr/>
        <p:txBody>
          <a:bodyPr>
            <a:normAutofit/>
          </a:bodyPr>
          <a:lstStyle/>
          <a:p>
            <a:r>
              <a:rPr lang="en-GB"/>
              <a:t>The future NPC Verification of Payee</a:t>
            </a:r>
          </a:p>
        </p:txBody>
      </p:sp>
      <p:sp>
        <p:nvSpPr>
          <p:cNvPr id="3" name="Text Placeholder 2">
            <a:extLst>
              <a:ext uri="{FF2B5EF4-FFF2-40B4-BE49-F238E27FC236}">
                <a16:creationId xmlns:a16="http://schemas.microsoft.com/office/drawing/2014/main" id="{7109612F-19F9-B7CD-552D-E26223B4309B}"/>
              </a:ext>
            </a:extLst>
          </p:cNvPr>
          <p:cNvSpPr>
            <a:spLocks noGrp="1"/>
          </p:cNvSpPr>
          <p:nvPr>
            <p:ph type="body" sz="quarter" idx="17"/>
          </p:nvPr>
        </p:nvSpPr>
        <p:spPr>
          <a:xfrm>
            <a:off x="392112" y="1025058"/>
            <a:ext cx="4186238" cy="3753254"/>
          </a:xfrm>
        </p:spPr>
        <p:txBody>
          <a:bodyPr/>
          <a:lstStyle/>
          <a:p>
            <a:pPr marL="0" indent="0">
              <a:buNone/>
            </a:pPr>
            <a:r>
              <a:rPr lang="en-GB" sz="1600" b="1"/>
              <a:t>Facts:</a:t>
            </a:r>
          </a:p>
          <a:p>
            <a:r>
              <a:rPr lang="en-GB" sz="1500"/>
              <a:t>Based on the EPC Verification of Payee, aim to stay in sync (Standard NPC Way of Working)</a:t>
            </a:r>
          </a:p>
          <a:p>
            <a:pPr lvl="1"/>
            <a:r>
              <a:rPr lang="en-GB" sz="1400">
                <a:sym typeface="Wingdings" panose="05000000000000000000" pitchFamily="2" charset="2"/>
              </a:rPr>
              <a:t>Operational and business layer of the NVOP internal draft hasn’t so far made any deviations from the EPC VOP</a:t>
            </a:r>
          </a:p>
          <a:p>
            <a:pPr lvl="1"/>
            <a:r>
              <a:rPr lang="en-GB" sz="1400">
                <a:sym typeface="Wingdings" panose="05000000000000000000" pitchFamily="2" charset="2"/>
              </a:rPr>
              <a:t>NPC VOP v1.0 will likely be published already in sync with EPC VOP v1.1 (publ. March 2026) &amp; 2.0 (publ. Nov 2026)</a:t>
            </a:r>
          </a:p>
          <a:p>
            <a:r>
              <a:rPr lang="en-GB" sz="1500">
                <a:sym typeface="Wingdings" panose="05000000000000000000" pitchFamily="2" charset="2"/>
              </a:rPr>
              <a:t>Compliance focus (Payment Services Regulation, especially art. 50 &amp; 57)</a:t>
            </a:r>
          </a:p>
          <a:p>
            <a:r>
              <a:rPr lang="en-GB" sz="1500">
                <a:sym typeface="Wingdings" panose="05000000000000000000" pitchFamily="2" charset="2"/>
              </a:rPr>
              <a:t>API-based, no ISO Implementation Guidelines</a:t>
            </a:r>
          </a:p>
          <a:p>
            <a:r>
              <a:rPr lang="en-GB" sz="1500">
                <a:sym typeface="Wingdings" panose="05000000000000000000" pitchFamily="2" charset="2"/>
              </a:rPr>
              <a:t>Non-binding guidance on name matching</a:t>
            </a:r>
          </a:p>
          <a:p>
            <a:r>
              <a:rPr lang="en-GB" sz="1500">
                <a:sym typeface="Wingdings" panose="05000000000000000000" pitchFamily="2" charset="2"/>
              </a:rPr>
              <a:t>NPC negotiating the use of EPC Directory Service for reachability and interoperability (not finalised). </a:t>
            </a:r>
          </a:p>
          <a:p>
            <a:pPr lvl="1" indent="0">
              <a:buNone/>
            </a:pPr>
            <a:endParaRPr lang="en-GB" sz="1600">
              <a:sym typeface="Wingdings" panose="05000000000000000000" pitchFamily="2" charset="2"/>
            </a:endParaRPr>
          </a:p>
        </p:txBody>
      </p:sp>
      <p:sp>
        <p:nvSpPr>
          <p:cNvPr id="4" name="Footer Placeholder 3">
            <a:extLst>
              <a:ext uri="{FF2B5EF4-FFF2-40B4-BE49-F238E27FC236}">
                <a16:creationId xmlns:a16="http://schemas.microsoft.com/office/drawing/2014/main" id="{121380F1-C7A1-68FC-7281-BC1E7B28C021}"/>
              </a:ext>
            </a:extLst>
          </p:cNvPr>
          <p:cNvSpPr>
            <a:spLocks noGrp="1"/>
          </p:cNvSpPr>
          <p:nvPr>
            <p:ph type="ftr" sz="quarter" idx="11"/>
          </p:nvPr>
        </p:nvSpPr>
        <p:spPr/>
        <p:txBody>
          <a:bodyPr/>
          <a:lstStyle/>
          <a:p>
            <a:r>
              <a:rPr lang="en-US"/>
              <a:t>Stakeholder Forum Agenda - Classification: External</a:t>
            </a:r>
            <a:endParaRPr lang="sv-SE"/>
          </a:p>
        </p:txBody>
      </p:sp>
      <p:sp>
        <p:nvSpPr>
          <p:cNvPr id="5" name="Date Placeholder 4">
            <a:extLst>
              <a:ext uri="{FF2B5EF4-FFF2-40B4-BE49-F238E27FC236}">
                <a16:creationId xmlns:a16="http://schemas.microsoft.com/office/drawing/2014/main" id="{D8824550-EC4D-063A-316E-2442044547FC}"/>
              </a:ext>
            </a:extLst>
          </p:cNvPr>
          <p:cNvSpPr>
            <a:spLocks noGrp="1"/>
          </p:cNvSpPr>
          <p:nvPr>
            <p:ph type="dt" sz="half" idx="10"/>
          </p:nvPr>
        </p:nvSpPr>
        <p:spPr/>
        <p:txBody>
          <a:bodyPr/>
          <a:lstStyle/>
          <a:p>
            <a:r>
              <a:rPr lang="sv-SE"/>
              <a:t>26/03/2026</a:t>
            </a:r>
          </a:p>
        </p:txBody>
      </p:sp>
      <p:sp>
        <p:nvSpPr>
          <p:cNvPr id="6" name="Slide Number Placeholder 5">
            <a:extLst>
              <a:ext uri="{FF2B5EF4-FFF2-40B4-BE49-F238E27FC236}">
                <a16:creationId xmlns:a16="http://schemas.microsoft.com/office/drawing/2014/main" id="{CE1DB3BB-159D-6205-AA81-25084335144A}"/>
              </a:ext>
            </a:extLst>
          </p:cNvPr>
          <p:cNvSpPr>
            <a:spLocks noGrp="1"/>
          </p:cNvSpPr>
          <p:nvPr>
            <p:ph type="sldNum" sz="quarter" idx="12"/>
          </p:nvPr>
        </p:nvSpPr>
        <p:spPr/>
        <p:txBody>
          <a:bodyPr/>
          <a:lstStyle/>
          <a:p>
            <a:fld id="{394EE31B-4DFC-CF4D-9A18-3F5D4D7C7302}" type="slidenum">
              <a:rPr lang="sv-SE" smtClean="0"/>
              <a:pPr/>
              <a:t>26</a:t>
            </a:fld>
            <a:endParaRPr lang="sv-SE"/>
          </a:p>
        </p:txBody>
      </p:sp>
      <p:sp>
        <p:nvSpPr>
          <p:cNvPr id="7" name="Text Placeholder 6">
            <a:extLst>
              <a:ext uri="{FF2B5EF4-FFF2-40B4-BE49-F238E27FC236}">
                <a16:creationId xmlns:a16="http://schemas.microsoft.com/office/drawing/2014/main" id="{EBE984D6-3748-0E0D-5643-ADECACFC5538}"/>
              </a:ext>
            </a:extLst>
          </p:cNvPr>
          <p:cNvSpPr>
            <a:spLocks noGrp="1"/>
          </p:cNvSpPr>
          <p:nvPr>
            <p:ph type="body" sz="quarter" idx="18"/>
          </p:nvPr>
        </p:nvSpPr>
        <p:spPr>
          <a:xfrm>
            <a:off x="4706625" y="1025058"/>
            <a:ext cx="4056376" cy="2191448"/>
          </a:xfrm>
        </p:spPr>
        <p:txBody>
          <a:bodyPr/>
          <a:lstStyle/>
          <a:p>
            <a:pPr marL="0" indent="0">
              <a:buNone/>
            </a:pPr>
            <a:r>
              <a:rPr lang="en-GB" sz="1600" b="1"/>
              <a:t>Moving target – legal review &amp; publication:</a:t>
            </a:r>
          </a:p>
          <a:p>
            <a:r>
              <a:rPr lang="en-GB" sz="1500"/>
              <a:t>Publication &amp; In-effect dates – </a:t>
            </a:r>
            <a:r>
              <a:rPr lang="en-GB" sz="1500" u="sng"/>
              <a:t>dependent on the publication of the PSR </a:t>
            </a:r>
            <a:r>
              <a:rPr lang="en-GB" sz="1500"/>
              <a:t>. </a:t>
            </a:r>
          </a:p>
          <a:p>
            <a:pPr lvl="1"/>
            <a:r>
              <a:rPr lang="en-GB" sz="1400" i="1"/>
              <a:t>Public Consultation of the NVOP draft est. Q1 2027 (Stakeholder Forum position paper Q2 2027)</a:t>
            </a:r>
          </a:p>
          <a:p>
            <a:pPr lvl="1"/>
            <a:r>
              <a:rPr lang="en-GB" sz="1400" i="1"/>
              <a:t>Publication &amp; In-effect est. mid-2027 </a:t>
            </a:r>
          </a:p>
          <a:p>
            <a:pPr marL="0" indent="0">
              <a:buNone/>
            </a:pPr>
            <a:endParaRPr lang="en-GB" sz="1400" i="1">
              <a:sym typeface="Wingdings" panose="05000000000000000000" pitchFamily="2" charset="2"/>
            </a:endParaRPr>
          </a:p>
          <a:p>
            <a:pPr marL="0" indent="0">
              <a:buNone/>
            </a:pPr>
            <a:r>
              <a:rPr lang="en-GB" sz="1500">
                <a:sym typeface="Wingdings" panose="05000000000000000000" pitchFamily="2" charset="2"/>
              </a:rPr>
              <a:t> Aim to publish NPC VOP at least 6+ months ahead of regulatory deadlines to allow for timely adherence. </a:t>
            </a:r>
            <a:endParaRPr lang="en-GB" sz="1500"/>
          </a:p>
          <a:p>
            <a:pPr marL="0" indent="0">
              <a:buNone/>
            </a:pPr>
            <a:endParaRPr lang="en-GB" sz="1600"/>
          </a:p>
        </p:txBody>
      </p:sp>
    </p:spTree>
    <p:extLst>
      <p:ext uri="{BB962C8B-B14F-4D97-AF65-F5344CB8AC3E}">
        <p14:creationId xmlns:p14="http://schemas.microsoft.com/office/powerpoint/2010/main" val="28842139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36C80F-156C-1E42-ACD7-0776B0C85F8A}"/>
            </a:ext>
          </a:extLst>
        </p:cNvPr>
        <p:cNvGrpSpPr/>
        <p:nvPr/>
      </p:nvGrpSpPr>
      <p:grpSpPr>
        <a:xfrm>
          <a:off x="0" y="0"/>
          <a:ext cx="0" cy="0"/>
          <a:chOff x="0" y="0"/>
          <a:chExt cx="0" cy="0"/>
        </a:xfrm>
      </p:grpSpPr>
      <p:sp>
        <p:nvSpPr>
          <p:cNvPr id="2" name="Picture Placeholder 1">
            <a:extLst>
              <a:ext uri="{FF2B5EF4-FFF2-40B4-BE49-F238E27FC236}">
                <a16:creationId xmlns:a16="http://schemas.microsoft.com/office/drawing/2014/main" id="{9217EBF7-03B7-B2D8-4E9F-B5A67EEAE8BC}"/>
              </a:ext>
            </a:extLst>
          </p:cNvPr>
          <p:cNvSpPr>
            <a:spLocks noGrp="1"/>
          </p:cNvSpPr>
          <p:nvPr>
            <p:ph type="pic" sz="quarter" idx="15"/>
          </p:nvPr>
        </p:nvSpPr>
        <p:spPr/>
        <p:txBody>
          <a:bodyPr/>
          <a:lstStyle/>
          <a:p>
            <a:endParaRPr lang="sv-SE"/>
          </a:p>
        </p:txBody>
      </p:sp>
      <p:sp>
        <p:nvSpPr>
          <p:cNvPr id="8" name="Rubrik 7">
            <a:extLst>
              <a:ext uri="{FF2B5EF4-FFF2-40B4-BE49-F238E27FC236}">
                <a16:creationId xmlns:a16="http://schemas.microsoft.com/office/drawing/2014/main" id="{537E5849-5C28-42C1-4518-86C28E20E241}"/>
              </a:ext>
            </a:extLst>
          </p:cNvPr>
          <p:cNvSpPr>
            <a:spLocks noGrp="1"/>
          </p:cNvSpPr>
          <p:nvPr>
            <p:ph type="title"/>
          </p:nvPr>
        </p:nvSpPr>
        <p:spPr/>
        <p:txBody>
          <a:bodyPr/>
          <a:lstStyle/>
          <a:p>
            <a:r>
              <a:rPr lang="en-GB"/>
              <a:t>Suggested Agenda</a:t>
            </a:r>
          </a:p>
        </p:txBody>
      </p:sp>
      <p:sp>
        <p:nvSpPr>
          <p:cNvPr id="10" name="Platshållare för text 9">
            <a:extLst>
              <a:ext uri="{FF2B5EF4-FFF2-40B4-BE49-F238E27FC236}">
                <a16:creationId xmlns:a16="http://schemas.microsoft.com/office/drawing/2014/main" id="{DFE1F793-8CA9-BFA0-4475-E05AE45B1DBC}"/>
              </a:ext>
            </a:extLst>
          </p:cNvPr>
          <p:cNvSpPr>
            <a:spLocks noGrp="1"/>
          </p:cNvSpPr>
          <p:nvPr>
            <p:ph type="body" sz="quarter" idx="17"/>
          </p:nvPr>
        </p:nvSpPr>
        <p:spPr>
          <a:xfrm>
            <a:off x="381000" y="947738"/>
            <a:ext cx="4093842" cy="3487737"/>
          </a:xfrm>
        </p:spPr>
        <p:txBody>
          <a:bodyPr>
            <a:normAutofit fontScale="92500" lnSpcReduction="10000"/>
          </a:bodyPr>
          <a:lstStyle/>
          <a:p>
            <a:pPr marL="342900" indent="-342900">
              <a:buFont typeface="+mj-lt"/>
              <a:buAutoNum type="arabicPeriod"/>
            </a:pPr>
            <a:r>
              <a:rPr lang="en-GB" sz="1600"/>
              <a:t>Introduction </a:t>
            </a:r>
          </a:p>
          <a:p>
            <a:pPr marL="342900" indent="-342900">
              <a:buFont typeface="+mj-lt"/>
              <a:buAutoNum type="arabicPeriod"/>
            </a:pPr>
            <a:r>
              <a:rPr lang="en-GB" sz="1600"/>
              <a:t>Approval of Agenda</a:t>
            </a:r>
          </a:p>
          <a:p>
            <a:pPr marL="342900" indent="-342900">
              <a:buFont typeface="+mj-lt"/>
              <a:buAutoNum type="arabicPeriod"/>
            </a:pPr>
            <a:r>
              <a:rPr lang="en-GB" sz="1600"/>
              <a:t>Approval of last meeting’s minutes</a:t>
            </a:r>
          </a:p>
          <a:p>
            <a:pPr marL="342900" indent="-342900">
              <a:buFont typeface="+mj-lt"/>
              <a:buAutoNum type="arabicPeriod"/>
            </a:pPr>
            <a:r>
              <a:rPr lang="en-GB" sz="1600"/>
              <a:t>Appointment of minutes adjuster</a:t>
            </a:r>
          </a:p>
          <a:p>
            <a:pPr marL="342900" indent="-342900">
              <a:buFont typeface="+mj-lt"/>
              <a:buAutoNum type="arabicPeriod"/>
            </a:pPr>
            <a:r>
              <a:rPr lang="en-GB" sz="1600"/>
              <a:t>NPC General information</a:t>
            </a:r>
          </a:p>
          <a:p>
            <a:pPr marL="342900" indent="-342900">
              <a:buFont typeface="+mj-lt"/>
              <a:buAutoNum type="arabicPeriod"/>
            </a:pPr>
            <a:r>
              <a:rPr lang="en-GB" sz="1600"/>
              <a:t>Nordic community update - NO</a:t>
            </a:r>
          </a:p>
          <a:p>
            <a:pPr marL="342900" indent="-342900">
              <a:buFont typeface="+mj-lt"/>
              <a:buAutoNum type="arabicPeriod"/>
            </a:pPr>
            <a:r>
              <a:rPr lang="en-GB" sz="1600"/>
              <a:t>External speaker </a:t>
            </a:r>
          </a:p>
          <a:p>
            <a:pPr marL="342900" indent="-342900">
              <a:buFont typeface="+mj-lt"/>
              <a:buAutoNum type="arabicPeriod"/>
            </a:pPr>
            <a:r>
              <a:rPr lang="en-GB" sz="1600"/>
              <a:t>Nordic community update – SE and DK</a:t>
            </a:r>
          </a:p>
          <a:p>
            <a:pPr marL="0" indent="0">
              <a:buNone/>
            </a:pPr>
            <a:r>
              <a:rPr lang="en-GB" sz="1600" i="1"/>
              <a:t>Break</a:t>
            </a:r>
          </a:p>
          <a:p>
            <a:pPr marL="342900" indent="-342900">
              <a:buFont typeface="+mj-lt"/>
              <a:buAutoNum type="arabicPeriod" startAt="9"/>
            </a:pPr>
            <a:r>
              <a:rPr lang="en-GB" sz="1600"/>
              <a:t>NPC Verification of Payee</a:t>
            </a:r>
          </a:p>
          <a:p>
            <a:pPr marL="342900" indent="-342900">
              <a:buFont typeface="+mj-lt"/>
              <a:buAutoNum type="arabicPeriod" startAt="9"/>
            </a:pPr>
            <a:r>
              <a:rPr lang="en-GB" sz="1600" b="1"/>
              <a:t>NPC Payment Schemes</a:t>
            </a:r>
          </a:p>
          <a:p>
            <a:pPr marL="342900" indent="-342900">
              <a:buFont typeface="+mj-lt"/>
              <a:buAutoNum type="arabicPeriod" startAt="9"/>
            </a:pPr>
            <a:r>
              <a:rPr lang="en-GB" sz="1600"/>
              <a:t>Position papers </a:t>
            </a:r>
          </a:p>
          <a:p>
            <a:pPr marL="342900" indent="-342900">
              <a:buFont typeface="+mj-lt"/>
              <a:buAutoNum type="arabicPeriod" startAt="9"/>
            </a:pPr>
            <a:r>
              <a:rPr lang="en-GB" sz="1600"/>
              <a:t>NPC going forward </a:t>
            </a:r>
          </a:p>
          <a:p>
            <a:pPr marL="342900" indent="-342900">
              <a:buFont typeface="+mj-lt"/>
              <a:buAutoNum type="arabicPeriod" startAt="9"/>
            </a:pPr>
            <a:r>
              <a:rPr lang="en-GB" sz="1600"/>
              <a:t>Any other business </a:t>
            </a:r>
          </a:p>
          <a:p>
            <a:pPr marL="342900" indent="-342900">
              <a:buFont typeface="+mj-lt"/>
              <a:buAutoNum type="arabicPeriod" startAt="9"/>
            </a:pPr>
            <a:r>
              <a:rPr lang="en-GB" sz="1600"/>
              <a:t>Closing</a:t>
            </a:r>
          </a:p>
        </p:txBody>
      </p:sp>
      <p:sp>
        <p:nvSpPr>
          <p:cNvPr id="5" name="Platshållare för sidfot 4">
            <a:extLst>
              <a:ext uri="{FF2B5EF4-FFF2-40B4-BE49-F238E27FC236}">
                <a16:creationId xmlns:a16="http://schemas.microsoft.com/office/drawing/2014/main" id="{1260F6DC-6798-C915-E61B-D31AB1C54516}"/>
              </a:ext>
            </a:extLst>
          </p:cNvPr>
          <p:cNvSpPr>
            <a:spLocks noGrp="1"/>
          </p:cNvSpPr>
          <p:nvPr>
            <p:ph type="ftr" sz="quarter" idx="11"/>
          </p:nvPr>
        </p:nvSpPr>
        <p:spPr/>
        <p:txBody>
          <a:bodyPr/>
          <a:lstStyle/>
          <a:p>
            <a:r>
              <a:rPr lang="en-US"/>
              <a:t>Stakeholder Forum Agenda - Classification: External</a:t>
            </a:r>
            <a:endParaRPr lang="en-GB"/>
          </a:p>
        </p:txBody>
      </p:sp>
      <p:sp>
        <p:nvSpPr>
          <p:cNvPr id="6" name="Platshållare för datum 5">
            <a:extLst>
              <a:ext uri="{FF2B5EF4-FFF2-40B4-BE49-F238E27FC236}">
                <a16:creationId xmlns:a16="http://schemas.microsoft.com/office/drawing/2014/main" id="{BEB06B64-B84E-2682-EE25-2E3A78651BDD}"/>
              </a:ext>
            </a:extLst>
          </p:cNvPr>
          <p:cNvSpPr>
            <a:spLocks noGrp="1"/>
          </p:cNvSpPr>
          <p:nvPr>
            <p:ph type="dt" sz="half" idx="10"/>
          </p:nvPr>
        </p:nvSpPr>
        <p:spPr/>
        <p:txBody>
          <a:bodyPr/>
          <a:lstStyle/>
          <a:p>
            <a:r>
              <a:rPr lang="sv-SE"/>
              <a:t>26/03/2026</a:t>
            </a:r>
            <a:endParaRPr lang="en-GB"/>
          </a:p>
        </p:txBody>
      </p:sp>
      <p:sp>
        <p:nvSpPr>
          <p:cNvPr id="7" name="Platshållare för bildnummer 6">
            <a:extLst>
              <a:ext uri="{FF2B5EF4-FFF2-40B4-BE49-F238E27FC236}">
                <a16:creationId xmlns:a16="http://schemas.microsoft.com/office/drawing/2014/main" id="{719F91EC-8528-F9ED-BCAE-E8E8782DC5D5}"/>
              </a:ext>
            </a:extLst>
          </p:cNvPr>
          <p:cNvSpPr>
            <a:spLocks noGrp="1"/>
          </p:cNvSpPr>
          <p:nvPr>
            <p:ph type="sldNum" sz="quarter" idx="12"/>
          </p:nvPr>
        </p:nvSpPr>
        <p:spPr/>
        <p:txBody>
          <a:bodyPr/>
          <a:lstStyle/>
          <a:p>
            <a:fld id="{394EE31B-4DFC-CF4D-9A18-3F5D4D7C7302}" type="slidenum">
              <a:rPr lang="en-GB" smtClean="0"/>
              <a:pPr/>
              <a:t>27</a:t>
            </a:fld>
            <a:endParaRPr lang="en-GB"/>
          </a:p>
        </p:txBody>
      </p:sp>
      <p:pic>
        <p:nvPicPr>
          <p:cNvPr id="11" name="Platshållare för bild 7" descr="En bild som visar person, inomhus, man, stående&#10;&#10;Automatiskt genererad beskrivning">
            <a:extLst>
              <a:ext uri="{FF2B5EF4-FFF2-40B4-BE49-F238E27FC236}">
                <a16:creationId xmlns:a16="http://schemas.microsoft.com/office/drawing/2014/main" id="{66E0EF48-6352-AECA-D885-51675910CA4D}"/>
              </a:ext>
            </a:extLst>
          </p:cNvPr>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a:xfrm>
            <a:off x="4572000" y="952574"/>
            <a:ext cx="4156148" cy="3289235"/>
          </a:xfrm>
          <a:prstGeom prst="rect">
            <a:avLst/>
          </a:prstGeom>
        </p:spPr>
      </p:pic>
    </p:spTree>
    <p:extLst>
      <p:ext uri="{BB962C8B-B14F-4D97-AF65-F5344CB8AC3E}">
        <p14:creationId xmlns:p14="http://schemas.microsoft.com/office/powerpoint/2010/main" val="388091103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04D67D1B-EA5E-0DE1-80E7-CCAF61BABAEC}"/>
              </a:ext>
            </a:extLst>
          </p:cNvPr>
          <p:cNvSpPr>
            <a:spLocks noGrp="1"/>
          </p:cNvSpPr>
          <p:nvPr>
            <p:ph type="title"/>
          </p:nvPr>
        </p:nvSpPr>
        <p:spPr>
          <a:xfrm>
            <a:off x="290634" y="400944"/>
            <a:ext cx="4093842" cy="1009894"/>
          </a:xfrm>
        </p:spPr>
        <p:txBody>
          <a:bodyPr>
            <a:normAutofit fontScale="90000"/>
          </a:bodyPr>
          <a:lstStyle/>
          <a:p>
            <a:r>
              <a:rPr lang="en-US" noProof="0"/>
              <a:t>NCT &amp; NCT Inst schemes</a:t>
            </a:r>
          </a:p>
        </p:txBody>
      </p:sp>
      <p:sp>
        <p:nvSpPr>
          <p:cNvPr id="4" name="Platshållare för text 3">
            <a:extLst>
              <a:ext uri="{FF2B5EF4-FFF2-40B4-BE49-F238E27FC236}">
                <a16:creationId xmlns:a16="http://schemas.microsoft.com/office/drawing/2014/main" id="{D4EEE751-7907-2025-4E1E-88B7A2AEA6F7}"/>
              </a:ext>
            </a:extLst>
          </p:cNvPr>
          <p:cNvSpPr>
            <a:spLocks noGrp="1"/>
          </p:cNvSpPr>
          <p:nvPr>
            <p:ph type="body" sz="quarter" idx="17"/>
          </p:nvPr>
        </p:nvSpPr>
        <p:spPr>
          <a:xfrm>
            <a:off x="244914" y="1149792"/>
            <a:ext cx="4093842" cy="2843915"/>
          </a:xfrm>
        </p:spPr>
        <p:txBody>
          <a:bodyPr>
            <a:noAutofit/>
          </a:bodyPr>
          <a:lstStyle/>
          <a:p>
            <a:r>
              <a:rPr lang="en-US" sz="1300"/>
              <a:t>Change request public consultation for 2027 versions </a:t>
            </a:r>
            <a:r>
              <a:rPr lang="en-US" sz="1300" b="1"/>
              <a:t>start March 15</a:t>
            </a:r>
            <a:r>
              <a:rPr lang="en-US" sz="1300" b="1" baseline="30000"/>
              <a:t>th</a:t>
            </a:r>
            <a:r>
              <a:rPr lang="en-US" sz="1300" b="1"/>
              <a:t> end June 3</a:t>
            </a:r>
            <a:r>
              <a:rPr lang="en-US" sz="1300" b="1" baseline="30000"/>
              <a:t>rd</a:t>
            </a:r>
            <a:r>
              <a:rPr lang="en-US" sz="1300" b="1"/>
              <a:t> </a:t>
            </a:r>
          </a:p>
          <a:p>
            <a:pPr marL="0" indent="0">
              <a:buNone/>
            </a:pPr>
            <a:endParaRPr lang="en-US" sz="1300" b="1"/>
          </a:p>
          <a:p>
            <a:r>
              <a:rPr lang="en-US" sz="1300"/>
              <a:t>NPC021-02 NCT and NCT Inst Rulebook 2027 Public Con Change Requests</a:t>
            </a:r>
          </a:p>
          <a:p>
            <a:r>
              <a:rPr lang="en-US" sz="1300"/>
              <a:t>NPC021-04 NCT and NCT Inst Rulebook Response template 2027 CM</a:t>
            </a:r>
          </a:p>
          <a:p>
            <a:r>
              <a:rPr lang="en-US" sz="1300"/>
              <a:t>Zip file with NPC Internal and External change requests </a:t>
            </a:r>
          </a:p>
          <a:p>
            <a:r>
              <a:rPr lang="en-US" sz="1300"/>
              <a:t>EPC change requests is to be found on EPCs </a:t>
            </a:r>
            <a:r>
              <a:rPr lang="en-US" sz="1300">
                <a:hlinkClick r:id="rId2"/>
              </a:rPr>
              <a:t>website</a:t>
            </a:r>
            <a:r>
              <a:rPr lang="en-US" sz="1300"/>
              <a:t> after March 13</a:t>
            </a:r>
            <a:r>
              <a:rPr lang="en-US" sz="1300" baseline="30000"/>
              <a:t>th</a:t>
            </a:r>
            <a:r>
              <a:rPr lang="en-US" sz="1300"/>
              <a:t> </a:t>
            </a:r>
          </a:p>
          <a:p>
            <a:pPr marL="0" indent="0">
              <a:buNone/>
            </a:pPr>
            <a:endParaRPr lang="en-US" sz="1300"/>
          </a:p>
          <a:p>
            <a:r>
              <a:rPr lang="en-GB" sz="1300">
                <a:hlinkClick r:id="rId3"/>
              </a:rPr>
              <a:t>nordicpaymentscouncil.org/get-involved/public-consultations-2027-npc-payment-schemes/</a:t>
            </a:r>
            <a:endParaRPr lang="en-US" sz="1300"/>
          </a:p>
          <a:p>
            <a:endParaRPr lang="en-US" sz="1300"/>
          </a:p>
          <a:p>
            <a:r>
              <a:rPr lang="en-US" sz="1300"/>
              <a:t>NPC encourage all to take part in the public consultation! </a:t>
            </a:r>
          </a:p>
        </p:txBody>
      </p:sp>
      <p:sp>
        <p:nvSpPr>
          <p:cNvPr id="5" name="Platshållare för sidfot 4">
            <a:extLst>
              <a:ext uri="{FF2B5EF4-FFF2-40B4-BE49-F238E27FC236}">
                <a16:creationId xmlns:a16="http://schemas.microsoft.com/office/drawing/2014/main" id="{4500EDC3-CC00-D7EA-31AD-594D73CDD408}"/>
              </a:ext>
            </a:extLst>
          </p:cNvPr>
          <p:cNvSpPr>
            <a:spLocks noGrp="1"/>
          </p:cNvSpPr>
          <p:nvPr>
            <p:ph type="ftr" sz="quarter" idx="11"/>
          </p:nvPr>
        </p:nvSpPr>
        <p:spPr/>
        <p:txBody>
          <a:bodyPr/>
          <a:lstStyle/>
          <a:p>
            <a:r>
              <a:rPr lang="en-US"/>
              <a:t>Stakeholder Forum Agenda - Classification: External</a:t>
            </a:r>
            <a:endParaRPr lang="sv-SE"/>
          </a:p>
        </p:txBody>
      </p:sp>
      <p:sp>
        <p:nvSpPr>
          <p:cNvPr id="6" name="Platshållare för datum 5">
            <a:extLst>
              <a:ext uri="{FF2B5EF4-FFF2-40B4-BE49-F238E27FC236}">
                <a16:creationId xmlns:a16="http://schemas.microsoft.com/office/drawing/2014/main" id="{794A973B-9E5D-1C9B-FE7D-3D21641C21F9}"/>
              </a:ext>
            </a:extLst>
          </p:cNvPr>
          <p:cNvSpPr>
            <a:spLocks noGrp="1"/>
          </p:cNvSpPr>
          <p:nvPr>
            <p:ph type="dt" sz="half" idx="10"/>
          </p:nvPr>
        </p:nvSpPr>
        <p:spPr/>
        <p:txBody>
          <a:bodyPr/>
          <a:lstStyle/>
          <a:p>
            <a:r>
              <a:rPr lang="sv-SE"/>
              <a:t>26/03/2026</a:t>
            </a:r>
          </a:p>
        </p:txBody>
      </p:sp>
      <p:sp>
        <p:nvSpPr>
          <p:cNvPr id="7" name="Platshållare för bildnummer 6">
            <a:extLst>
              <a:ext uri="{FF2B5EF4-FFF2-40B4-BE49-F238E27FC236}">
                <a16:creationId xmlns:a16="http://schemas.microsoft.com/office/drawing/2014/main" id="{23F7A454-DC74-9D2E-154D-366D9CBF26FA}"/>
              </a:ext>
            </a:extLst>
          </p:cNvPr>
          <p:cNvSpPr>
            <a:spLocks noGrp="1"/>
          </p:cNvSpPr>
          <p:nvPr>
            <p:ph type="sldNum" sz="quarter" idx="12"/>
          </p:nvPr>
        </p:nvSpPr>
        <p:spPr/>
        <p:txBody>
          <a:bodyPr/>
          <a:lstStyle/>
          <a:p>
            <a:fld id="{394EE31B-4DFC-CF4D-9A18-3F5D4D7C7302}" type="slidenum">
              <a:rPr lang="sv-SE" smtClean="0"/>
              <a:pPr/>
              <a:t>28</a:t>
            </a:fld>
            <a:endParaRPr lang="sv-SE"/>
          </a:p>
        </p:txBody>
      </p:sp>
      <p:pic>
        <p:nvPicPr>
          <p:cNvPr id="9" name="Bildobjekt 8">
            <a:extLst>
              <a:ext uri="{FF2B5EF4-FFF2-40B4-BE49-F238E27FC236}">
                <a16:creationId xmlns:a16="http://schemas.microsoft.com/office/drawing/2014/main" id="{507E9794-BB8A-6ED3-E43E-6C483510960D}"/>
              </a:ext>
            </a:extLst>
          </p:cNvPr>
          <p:cNvPicPr>
            <a:picLocks noChangeAspect="1"/>
          </p:cNvPicPr>
          <p:nvPr/>
        </p:nvPicPr>
        <p:blipFill>
          <a:blip r:embed="rId4"/>
          <a:stretch>
            <a:fillRect/>
          </a:stretch>
        </p:blipFill>
        <p:spPr>
          <a:xfrm>
            <a:off x="5399597" y="956691"/>
            <a:ext cx="1894753" cy="2571750"/>
          </a:xfrm>
          <a:prstGeom prst="rect">
            <a:avLst/>
          </a:prstGeom>
        </p:spPr>
      </p:pic>
      <p:pic>
        <p:nvPicPr>
          <p:cNvPr id="11" name="Bildobjekt 10">
            <a:extLst>
              <a:ext uri="{FF2B5EF4-FFF2-40B4-BE49-F238E27FC236}">
                <a16:creationId xmlns:a16="http://schemas.microsoft.com/office/drawing/2014/main" id="{BB94ABEC-240A-5D4A-D887-D22F75FB13FB}"/>
              </a:ext>
            </a:extLst>
          </p:cNvPr>
          <p:cNvPicPr>
            <a:picLocks noChangeAspect="1"/>
          </p:cNvPicPr>
          <p:nvPr/>
        </p:nvPicPr>
        <p:blipFill>
          <a:blip r:embed="rId5"/>
          <a:stretch>
            <a:fillRect/>
          </a:stretch>
        </p:blipFill>
        <p:spPr>
          <a:xfrm>
            <a:off x="6346973" y="1846810"/>
            <a:ext cx="1788842" cy="2483079"/>
          </a:xfrm>
          <a:prstGeom prst="rect">
            <a:avLst/>
          </a:prstGeom>
        </p:spPr>
      </p:pic>
    </p:spTree>
    <p:extLst>
      <p:ext uri="{BB962C8B-B14F-4D97-AF65-F5344CB8AC3E}">
        <p14:creationId xmlns:p14="http://schemas.microsoft.com/office/powerpoint/2010/main" val="10509385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C0786D9-7D07-4868-B118-C9F49C7BBF30}"/>
              </a:ext>
            </a:extLst>
          </p:cNvPr>
          <p:cNvSpPr>
            <a:spLocks noGrp="1"/>
          </p:cNvSpPr>
          <p:nvPr>
            <p:ph type="title"/>
          </p:nvPr>
        </p:nvSpPr>
        <p:spPr>
          <a:xfrm>
            <a:off x="392113" y="127074"/>
            <a:ext cx="8370889" cy="793918"/>
          </a:xfrm>
        </p:spPr>
        <p:txBody>
          <a:bodyPr>
            <a:normAutofit/>
          </a:bodyPr>
          <a:lstStyle/>
          <a:p>
            <a:r>
              <a:rPr lang="en-US" sz="2000" noProof="0"/>
              <a:t>Change management cycle 2027 version of NCT &amp; NCT Inst   </a:t>
            </a:r>
          </a:p>
        </p:txBody>
      </p:sp>
      <p:sp>
        <p:nvSpPr>
          <p:cNvPr id="3" name="Platshållare för text 2">
            <a:extLst>
              <a:ext uri="{FF2B5EF4-FFF2-40B4-BE49-F238E27FC236}">
                <a16:creationId xmlns:a16="http://schemas.microsoft.com/office/drawing/2014/main" id="{79E9AB1B-F42B-4F45-81C9-F11D256221FB}"/>
              </a:ext>
            </a:extLst>
          </p:cNvPr>
          <p:cNvSpPr>
            <a:spLocks noGrp="1"/>
          </p:cNvSpPr>
          <p:nvPr>
            <p:ph type="body" sz="quarter" idx="17"/>
          </p:nvPr>
        </p:nvSpPr>
        <p:spPr>
          <a:xfrm>
            <a:off x="602269" y="1710705"/>
            <a:ext cx="8160733" cy="3257612"/>
          </a:xfrm>
        </p:spPr>
        <p:txBody>
          <a:bodyPr/>
          <a:lstStyle/>
          <a:p>
            <a:pPr marL="0" indent="0">
              <a:buNone/>
            </a:pPr>
            <a:endParaRPr lang="en-US" noProof="0"/>
          </a:p>
          <a:p>
            <a:pPr marL="0" indent="0">
              <a:buNone/>
            </a:pPr>
            <a:endParaRPr lang="en-US" noProof="0"/>
          </a:p>
        </p:txBody>
      </p:sp>
      <p:sp>
        <p:nvSpPr>
          <p:cNvPr id="4" name="Platshållare för sidfot 3">
            <a:extLst>
              <a:ext uri="{FF2B5EF4-FFF2-40B4-BE49-F238E27FC236}">
                <a16:creationId xmlns:a16="http://schemas.microsoft.com/office/drawing/2014/main" id="{0D2E9077-691F-40BD-90CD-DC9D1BC80350}"/>
              </a:ext>
            </a:extLst>
          </p:cNvPr>
          <p:cNvSpPr>
            <a:spLocks noGrp="1"/>
          </p:cNvSpPr>
          <p:nvPr>
            <p:ph type="ftr" sz="quarter" idx="11"/>
          </p:nvPr>
        </p:nvSpPr>
        <p:spPr/>
        <p:txBody>
          <a:bodyPr/>
          <a:lstStyle/>
          <a:p>
            <a:r>
              <a:rPr lang="en-US" noProof="0"/>
              <a:t>Stakeholder Forum Agenda - Classification: External</a:t>
            </a:r>
          </a:p>
        </p:txBody>
      </p:sp>
      <p:sp>
        <p:nvSpPr>
          <p:cNvPr id="5" name="Platshållare för datum 4">
            <a:extLst>
              <a:ext uri="{FF2B5EF4-FFF2-40B4-BE49-F238E27FC236}">
                <a16:creationId xmlns:a16="http://schemas.microsoft.com/office/drawing/2014/main" id="{6BEAC688-A8AE-459D-BE93-30B81F542345}"/>
              </a:ext>
            </a:extLst>
          </p:cNvPr>
          <p:cNvSpPr>
            <a:spLocks noGrp="1"/>
          </p:cNvSpPr>
          <p:nvPr>
            <p:ph type="dt" sz="half" idx="10"/>
          </p:nvPr>
        </p:nvSpPr>
        <p:spPr/>
        <p:txBody>
          <a:bodyPr/>
          <a:lstStyle/>
          <a:p>
            <a:r>
              <a:rPr lang="sv-SE" noProof="0"/>
              <a:t>26/03/2026</a:t>
            </a:r>
            <a:endParaRPr lang="en-US" noProof="0"/>
          </a:p>
        </p:txBody>
      </p:sp>
      <p:sp>
        <p:nvSpPr>
          <p:cNvPr id="6" name="Platshållare för bildnummer 5">
            <a:extLst>
              <a:ext uri="{FF2B5EF4-FFF2-40B4-BE49-F238E27FC236}">
                <a16:creationId xmlns:a16="http://schemas.microsoft.com/office/drawing/2014/main" id="{1F3F733E-5B3C-4E62-8ECE-C1C9F638430D}"/>
              </a:ext>
            </a:extLst>
          </p:cNvPr>
          <p:cNvSpPr>
            <a:spLocks noGrp="1"/>
          </p:cNvSpPr>
          <p:nvPr>
            <p:ph type="sldNum" sz="quarter" idx="12"/>
          </p:nvPr>
        </p:nvSpPr>
        <p:spPr/>
        <p:txBody>
          <a:bodyPr/>
          <a:lstStyle/>
          <a:p>
            <a:fld id="{394EE31B-4DFC-CF4D-9A18-3F5D4D7C7302}" type="slidenum">
              <a:rPr lang="en-US" noProof="0" smtClean="0"/>
              <a:pPr/>
              <a:t>29</a:t>
            </a:fld>
            <a:endParaRPr lang="en-US" noProof="0"/>
          </a:p>
        </p:txBody>
      </p:sp>
      <p:graphicFrame>
        <p:nvGraphicFramePr>
          <p:cNvPr id="8" name="Tabell 8">
            <a:extLst>
              <a:ext uri="{FF2B5EF4-FFF2-40B4-BE49-F238E27FC236}">
                <a16:creationId xmlns:a16="http://schemas.microsoft.com/office/drawing/2014/main" id="{9169288F-ED12-4511-9886-5F87EDB5E2AA}"/>
              </a:ext>
            </a:extLst>
          </p:cNvPr>
          <p:cNvGraphicFramePr>
            <a:graphicFrameLocks noGrp="1"/>
          </p:cNvGraphicFramePr>
          <p:nvPr>
            <p:extLst>
              <p:ext uri="{D42A27DB-BD31-4B8C-83A1-F6EECF244321}">
                <p14:modId xmlns:p14="http://schemas.microsoft.com/office/powerpoint/2010/main" val="3716748141"/>
              </p:ext>
            </p:extLst>
          </p:nvPr>
        </p:nvGraphicFramePr>
        <p:xfrm>
          <a:off x="334213" y="502590"/>
          <a:ext cx="8317073" cy="3981407"/>
        </p:xfrm>
        <a:graphic>
          <a:graphicData uri="http://schemas.openxmlformats.org/drawingml/2006/table">
            <a:tbl>
              <a:tblPr firstRow="1" bandRow="1">
                <a:tableStyleId>{073A0DAA-6AF3-43AB-8588-CEC1D06C72B9}</a:tableStyleId>
              </a:tblPr>
              <a:tblGrid>
                <a:gridCol w="397510">
                  <a:extLst>
                    <a:ext uri="{9D8B030D-6E8A-4147-A177-3AD203B41FA5}">
                      <a16:colId xmlns:a16="http://schemas.microsoft.com/office/drawing/2014/main" val="588761048"/>
                    </a:ext>
                  </a:extLst>
                </a:gridCol>
                <a:gridCol w="1778272">
                  <a:extLst>
                    <a:ext uri="{9D8B030D-6E8A-4147-A177-3AD203B41FA5}">
                      <a16:colId xmlns:a16="http://schemas.microsoft.com/office/drawing/2014/main" val="1504030615"/>
                    </a:ext>
                  </a:extLst>
                </a:gridCol>
                <a:gridCol w="6141291">
                  <a:extLst>
                    <a:ext uri="{9D8B030D-6E8A-4147-A177-3AD203B41FA5}">
                      <a16:colId xmlns:a16="http://schemas.microsoft.com/office/drawing/2014/main" val="2433275554"/>
                    </a:ext>
                  </a:extLst>
                </a:gridCol>
              </a:tblGrid>
              <a:tr h="253935">
                <a:tc gridSpan="3">
                  <a:txBody>
                    <a:bodyPr/>
                    <a:lstStyle/>
                    <a:p>
                      <a:pPr algn="ctr"/>
                      <a:r>
                        <a:rPr lang="en-US" sz="800" noProof="0">
                          <a:solidFill>
                            <a:schemeClr val="bg1"/>
                          </a:solidFill>
                        </a:rPr>
                        <a:t>Milestone overview </a:t>
                      </a:r>
                    </a:p>
                  </a:txBody>
                  <a:tcPr/>
                </a:tc>
                <a:tc hMerge="1">
                  <a:txBody>
                    <a:bodyPr/>
                    <a:lstStyle/>
                    <a:p>
                      <a:pPr algn="ctr"/>
                      <a:r>
                        <a:rPr lang="en-GB" sz="1050">
                          <a:solidFill>
                            <a:schemeClr val="bg1"/>
                          </a:solidFill>
                        </a:rPr>
                        <a:t>Milestone overview </a:t>
                      </a:r>
                    </a:p>
                  </a:txBody>
                  <a:tcPr/>
                </a:tc>
                <a:tc hMerge="1">
                  <a:txBody>
                    <a:bodyPr/>
                    <a:lstStyle/>
                    <a:p>
                      <a:endParaRPr lang="en-GB"/>
                    </a:p>
                  </a:txBody>
                  <a:tcPr/>
                </a:tc>
                <a:extLst>
                  <a:ext uri="{0D108BD9-81ED-4DB2-BD59-A6C34878D82A}">
                    <a16:rowId xmlns:a16="http://schemas.microsoft.com/office/drawing/2014/main" val="3724793438"/>
                  </a:ext>
                </a:extLst>
              </a:tr>
              <a:tr h="226390">
                <a:tc>
                  <a:txBody>
                    <a:bodyPr/>
                    <a:lstStyle/>
                    <a:p>
                      <a:pPr marL="0" indent="0">
                        <a:buFont typeface="Wingdings" panose="05000000000000000000" pitchFamily="2" charset="2"/>
                        <a:buNone/>
                      </a:pPr>
                      <a:r>
                        <a:rPr lang="en-US" sz="800" u="sng" noProof="0"/>
                        <a:t> </a:t>
                      </a:r>
                    </a:p>
                  </a:txBody>
                  <a:tcPr/>
                </a:tc>
                <a:tc>
                  <a:txBody>
                    <a:bodyPr/>
                    <a:lstStyle/>
                    <a:p>
                      <a:r>
                        <a:rPr lang="en-US" sz="800" u="sng" noProof="0"/>
                        <a:t>Date </a:t>
                      </a:r>
                    </a:p>
                  </a:txBody>
                  <a:tcPr/>
                </a:tc>
                <a:tc>
                  <a:txBody>
                    <a:bodyPr/>
                    <a:lstStyle/>
                    <a:p>
                      <a:r>
                        <a:rPr lang="en-US" sz="800" u="sng" noProof="0"/>
                        <a:t>Description </a:t>
                      </a:r>
                    </a:p>
                  </a:txBody>
                  <a:tcPr/>
                </a:tc>
                <a:extLst>
                  <a:ext uri="{0D108BD9-81ED-4DB2-BD59-A6C34878D82A}">
                    <a16:rowId xmlns:a16="http://schemas.microsoft.com/office/drawing/2014/main" val="3146024985"/>
                  </a:ext>
                </a:extLst>
              </a:tr>
              <a:tr h="205946">
                <a:tc>
                  <a:txBody>
                    <a:bodyPr/>
                    <a:lstStyle/>
                    <a:p>
                      <a:pPr marL="171450" indent="-171450" algn="l" defTabSz="914400" rtl="0" eaLnBrk="1" latinLnBrk="0" hangingPunct="1">
                        <a:buFont typeface="Wingdings" panose="05000000000000000000" pitchFamily="2" charset="2"/>
                        <a:buChar char="ü"/>
                      </a:pPr>
                      <a:r>
                        <a:rPr lang="en-US" sz="800" b="1" kern="1200" noProof="0">
                          <a:solidFill>
                            <a:schemeClr val="tx1"/>
                          </a:solidFill>
                          <a:latin typeface="+mn-lt"/>
                          <a:ea typeface="+mn-ea"/>
                          <a:cs typeface="+mn-cs"/>
                        </a:rPr>
                        <a:t> </a:t>
                      </a:r>
                    </a:p>
                  </a:txBody>
                  <a:tcPr marL="68580" marR="68580" marT="34290" marB="34290">
                    <a:solidFill>
                      <a:schemeClr val="accent3">
                        <a:lumMod val="20000"/>
                        <a:lumOff val="80000"/>
                      </a:schemeClr>
                    </a:solidFill>
                  </a:tcPr>
                </a:tc>
                <a:tc>
                  <a:txBody>
                    <a:bodyPr/>
                    <a:lstStyle/>
                    <a:p>
                      <a:pPr marL="0" algn="l" defTabSz="914400" rtl="0" eaLnBrk="1" latinLnBrk="0" hangingPunct="1"/>
                      <a:r>
                        <a:rPr lang="en-US" sz="800" b="1" kern="1200" noProof="0">
                          <a:solidFill>
                            <a:schemeClr val="tx1"/>
                          </a:solidFill>
                          <a:latin typeface="+mn-lt"/>
                          <a:ea typeface="+mn-ea"/>
                          <a:cs typeface="+mn-cs"/>
                        </a:rPr>
                        <a:t>Jun 10th, 2025</a:t>
                      </a:r>
                    </a:p>
                  </a:txBody>
                  <a:tcPr marL="68580" marR="68580" marT="34290" marB="34290">
                    <a:solidFill>
                      <a:schemeClr val="accent3">
                        <a:lumMod val="20000"/>
                        <a:lumOff val="80000"/>
                      </a:schemeClr>
                    </a:solidFill>
                  </a:tcPr>
                </a:tc>
                <a:tc>
                  <a:txBody>
                    <a:bodyPr/>
                    <a:lstStyle/>
                    <a:p>
                      <a:pPr marL="0" algn="l" defTabSz="914400" rtl="0" eaLnBrk="1" latinLnBrk="0" hangingPunct="1"/>
                      <a:r>
                        <a:rPr lang="en-US" sz="800" b="1" kern="1200" noProof="0">
                          <a:solidFill>
                            <a:schemeClr val="tx1"/>
                          </a:solidFill>
                          <a:latin typeface="+mn-lt"/>
                          <a:ea typeface="+mn-ea"/>
                          <a:cs typeface="+mn-cs"/>
                        </a:rPr>
                        <a:t>SMC decision to start Call for change request August 15</a:t>
                      </a:r>
                      <a:r>
                        <a:rPr lang="en-US" sz="800" b="1" kern="1200" baseline="30000" noProof="0">
                          <a:solidFill>
                            <a:schemeClr val="tx1"/>
                          </a:solidFill>
                          <a:latin typeface="+mn-lt"/>
                          <a:ea typeface="+mn-ea"/>
                          <a:cs typeface="+mn-cs"/>
                        </a:rPr>
                        <a:t>th</a:t>
                      </a:r>
                      <a:r>
                        <a:rPr lang="en-US" sz="800" b="1" kern="1200" noProof="0">
                          <a:solidFill>
                            <a:schemeClr val="tx1"/>
                          </a:solidFill>
                          <a:latin typeface="+mn-lt"/>
                          <a:ea typeface="+mn-ea"/>
                          <a:cs typeface="+mn-cs"/>
                        </a:rPr>
                        <a:t> </a:t>
                      </a:r>
                    </a:p>
                  </a:txBody>
                  <a:tcPr marL="68580" marR="68580" marT="34290" marB="34290">
                    <a:solidFill>
                      <a:schemeClr val="accent3">
                        <a:lumMod val="20000"/>
                        <a:lumOff val="80000"/>
                      </a:schemeClr>
                    </a:solidFill>
                  </a:tcPr>
                </a:tc>
                <a:extLst>
                  <a:ext uri="{0D108BD9-81ED-4DB2-BD59-A6C34878D82A}">
                    <a16:rowId xmlns:a16="http://schemas.microsoft.com/office/drawing/2014/main" val="3344501150"/>
                  </a:ext>
                </a:extLst>
              </a:tr>
              <a:tr h="205946">
                <a:tc>
                  <a:txBody>
                    <a:bodyPr/>
                    <a:lstStyle/>
                    <a:p>
                      <a:pPr marL="171450" indent="-171450" algn="l" defTabSz="914400" rtl="0" eaLnBrk="1" latinLnBrk="0" hangingPunct="1">
                        <a:buFont typeface="Wingdings" panose="05000000000000000000" pitchFamily="2" charset="2"/>
                        <a:buChar char="ü"/>
                      </a:pPr>
                      <a:r>
                        <a:rPr lang="en-US" sz="800" b="0" kern="1200" noProof="0">
                          <a:solidFill>
                            <a:schemeClr val="tx1"/>
                          </a:solidFill>
                          <a:latin typeface="+mn-lt"/>
                          <a:ea typeface="+mn-ea"/>
                          <a:cs typeface="+mn-cs"/>
                        </a:rPr>
                        <a:t>  </a:t>
                      </a:r>
                    </a:p>
                  </a:txBody>
                  <a:tcPr marL="68580" marR="68580" marT="34290" marB="34290">
                    <a:solidFill>
                      <a:schemeClr val="accent3">
                        <a:lumMod val="20000"/>
                        <a:lumOff val="80000"/>
                      </a:schemeClr>
                    </a:solidFill>
                  </a:tcPr>
                </a:tc>
                <a:tc>
                  <a:txBody>
                    <a:bodyPr/>
                    <a:lstStyle/>
                    <a:p>
                      <a:pPr marL="0" algn="l" defTabSz="914400" rtl="0" eaLnBrk="1" latinLnBrk="0" hangingPunct="1"/>
                      <a:r>
                        <a:rPr lang="en-US" sz="800" b="0" kern="1200" noProof="0">
                          <a:solidFill>
                            <a:schemeClr val="tx1"/>
                          </a:solidFill>
                          <a:latin typeface="+mn-lt"/>
                          <a:ea typeface="+mn-ea"/>
                          <a:cs typeface="+mn-cs"/>
                        </a:rPr>
                        <a:t>Aug 15</a:t>
                      </a:r>
                      <a:r>
                        <a:rPr lang="en-US" sz="800" b="0" kern="1200" baseline="30000" noProof="0">
                          <a:solidFill>
                            <a:schemeClr val="tx1"/>
                          </a:solidFill>
                          <a:latin typeface="+mn-lt"/>
                          <a:ea typeface="+mn-ea"/>
                          <a:cs typeface="+mn-cs"/>
                        </a:rPr>
                        <a:t>th</a:t>
                      </a:r>
                      <a:r>
                        <a:rPr lang="en-US" sz="800" b="0" kern="1200" noProof="0">
                          <a:solidFill>
                            <a:schemeClr val="tx1"/>
                          </a:solidFill>
                          <a:latin typeface="+mn-lt"/>
                          <a:ea typeface="+mn-ea"/>
                          <a:cs typeface="+mn-cs"/>
                        </a:rPr>
                        <a:t>, 2025</a:t>
                      </a:r>
                    </a:p>
                  </a:txBody>
                  <a:tcPr marL="68580" marR="68580" marT="34290" marB="34290">
                    <a:solidFill>
                      <a:schemeClr val="accent3">
                        <a:lumMod val="20000"/>
                        <a:lumOff val="80000"/>
                      </a:schemeClr>
                    </a:solidFill>
                  </a:tcPr>
                </a:tc>
                <a:tc>
                  <a:txBody>
                    <a:bodyPr/>
                    <a:lstStyle/>
                    <a:p>
                      <a:pPr marL="0" algn="l" defTabSz="914400" rtl="0" eaLnBrk="1" latinLnBrk="0" hangingPunct="1"/>
                      <a:r>
                        <a:rPr lang="en-US" sz="800" b="0" kern="1200" noProof="0">
                          <a:solidFill>
                            <a:schemeClr val="tx1"/>
                          </a:solidFill>
                          <a:latin typeface="+mn-lt"/>
                          <a:ea typeface="+mn-ea"/>
                          <a:cs typeface="+mn-cs"/>
                        </a:rPr>
                        <a:t>Start Call for change request, ongoing between August 15</a:t>
                      </a:r>
                      <a:r>
                        <a:rPr lang="en-US" sz="800" b="0" kern="1200" baseline="30000" noProof="0">
                          <a:solidFill>
                            <a:schemeClr val="tx1"/>
                          </a:solidFill>
                          <a:latin typeface="+mn-lt"/>
                          <a:ea typeface="+mn-ea"/>
                          <a:cs typeface="+mn-cs"/>
                        </a:rPr>
                        <a:t>th</a:t>
                      </a:r>
                      <a:r>
                        <a:rPr lang="en-US" sz="800" b="0" kern="1200" noProof="0">
                          <a:solidFill>
                            <a:schemeClr val="tx1"/>
                          </a:solidFill>
                          <a:latin typeface="+mn-lt"/>
                          <a:ea typeface="+mn-ea"/>
                          <a:cs typeface="+mn-cs"/>
                        </a:rPr>
                        <a:t> and December 15</a:t>
                      </a:r>
                      <a:r>
                        <a:rPr lang="en-US" sz="800" b="0" kern="1200" baseline="30000" noProof="0">
                          <a:solidFill>
                            <a:schemeClr val="tx1"/>
                          </a:solidFill>
                          <a:latin typeface="+mn-lt"/>
                          <a:ea typeface="+mn-ea"/>
                          <a:cs typeface="+mn-cs"/>
                        </a:rPr>
                        <a:t>th</a:t>
                      </a:r>
                      <a:r>
                        <a:rPr lang="en-US" sz="800" b="0" kern="1200" noProof="0">
                          <a:solidFill>
                            <a:schemeClr val="tx1"/>
                          </a:solidFill>
                          <a:latin typeface="+mn-lt"/>
                          <a:ea typeface="+mn-ea"/>
                          <a:cs typeface="+mn-cs"/>
                        </a:rPr>
                        <a:t> </a:t>
                      </a:r>
                    </a:p>
                  </a:txBody>
                  <a:tcPr marL="68580" marR="68580" marT="34290" marB="34290">
                    <a:solidFill>
                      <a:schemeClr val="accent3">
                        <a:lumMod val="20000"/>
                        <a:lumOff val="80000"/>
                      </a:schemeClr>
                    </a:solidFill>
                  </a:tcPr>
                </a:tc>
                <a:extLst>
                  <a:ext uri="{0D108BD9-81ED-4DB2-BD59-A6C34878D82A}">
                    <a16:rowId xmlns:a16="http://schemas.microsoft.com/office/drawing/2014/main" val="982273489"/>
                  </a:ext>
                </a:extLst>
              </a:tr>
              <a:tr h="205946">
                <a:tc>
                  <a:txBody>
                    <a:bodyPr/>
                    <a:lstStyle/>
                    <a:p>
                      <a:pPr marL="171450" indent="-171450" algn="l" defTabSz="914400" rtl="0" eaLnBrk="1" latinLnBrk="0" hangingPunct="1">
                        <a:buFont typeface="Wingdings" panose="05000000000000000000" pitchFamily="2" charset="2"/>
                        <a:buChar char="ü"/>
                      </a:pPr>
                      <a:r>
                        <a:rPr lang="en-US" sz="800" b="1" kern="1200" noProof="0">
                          <a:solidFill>
                            <a:schemeClr val="tx1"/>
                          </a:solidFill>
                          <a:latin typeface="+mn-lt"/>
                          <a:ea typeface="+mn-ea"/>
                          <a:cs typeface="+mn-cs"/>
                        </a:rPr>
                        <a:t> </a:t>
                      </a:r>
                    </a:p>
                  </a:txBody>
                  <a:tcPr marL="68580" marR="68580" marT="34290" marB="34290">
                    <a:solidFill>
                      <a:schemeClr val="accent3">
                        <a:lumMod val="20000"/>
                        <a:lumOff val="80000"/>
                      </a:schemeClr>
                    </a:solidFill>
                  </a:tcPr>
                </a:tc>
                <a:tc>
                  <a:txBody>
                    <a:bodyPr/>
                    <a:lstStyle/>
                    <a:p>
                      <a:pPr marL="0" algn="l" defTabSz="914400" rtl="0" eaLnBrk="1" latinLnBrk="0" hangingPunct="1"/>
                      <a:r>
                        <a:rPr lang="en-US" sz="800" b="0" kern="1200" noProof="0">
                          <a:solidFill>
                            <a:schemeClr val="tx1"/>
                          </a:solidFill>
                          <a:latin typeface="+mn-lt"/>
                          <a:ea typeface="+mn-ea"/>
                          <a:cs typeface="+mn-cs"/>
                        </a:rPr>
                        <a:t>Aug - Feb 2026</a:t>
                      </a:r>
                    </a:p>
                  </a:txBody>
                  <a:tcPr marL="68580" marR="68580" marT="34290" marB="34290">
                    <a:solidFill>
                      <a:schemeClr val="accent3">
                        <a:lumMod val="20000"/>
                        <a:lumOff val="80000"/>
                      </a:schemeClr>
                    </a:solidFill>
                  </a:tcPr>
                </a:tc>
                <a:tc>
                  <a:txBody>
                    <a:bodyPr/>
                    <a:lstStyle/>
                    <a:p>
                      <a:pPr marL="0" algn="l" defTabSz="914400" rtl="0" eaLnBrk="1" latinLnBrk="0" hangingPunct="1"/>
                      <a:r>
                        <a:rPr lang="en-US" sz="800" b="0" kern="1200" noProof="0">
                          <a:solidFill>
                            <a:schemeClr val="tx1"/>
                          </a:solidFill>
                          <a:latin typeface="+mn-lt"/>
                          <a:ea typeface="+mn-ea"/>
                          <a:cs typeface="+mn-cs"/>
                        </a:rPr>
                        <a:t>NCT &amp; NCT Inst WG prepare and agree on suggested CRs (Internal, External, EPC) </a:t>
                      </a:r>
                    </a:p>
                  </a:txBody>
                  <a:tcPr marL="68580" marR="68580" marT="34290" marB="34290">
                    <a:solidFill>
                      <a:schemeClr val="accent3">
                        <a:lumMod val="20000"/>
                        <a:lumOff val="80000"/>
                      </a:schemeClr>
                    </a:solidFill>
                  </a:tcPr>
                </a:tc>
                <a:extLst>
                  <a:ext uri="{0D108BD9-81ED-4DB2-BD59-A6C34878D82A}">
                    <a16:rowId xmlns:a16="http://schemas.microsoft.com/office/drawing/2014/main" val="1910001357"/>
                  </a:ext>
                </a:extLst>
              </a:tr>
              <a:tr h="205946">
                <a:tc>
                  <a:txBody>
                    <a:bodyPr/>
                    <a:lstStyle/>
                    <a:p>
                      <a:pPr marL="171450" indent="-171450" algn="l" defTabSz="914400" rtl="0" eaLnBrk="1" latinLnBrk="0" hangingPunct="1">
                        <a:buFont typeface="Wingdings" panose="05000000000000000000" pitchFamily="2" charset="2"/>
                        <a:buChar char="ü"/>
                      </a:pPr>
                      <a:r>
                        <a:rPr lang="en-US" sz="800" b="1" kern="1200" noProof="0">
                          <a:solidFill>
                            <a:schemeClr val="tx1"/>
                          </a:solidFill>
                          <a:latin typeface="+mn-lt"/>
                          <a:ea typeface="+mn-ea"/>
                          <a:cs typeface="+mn-cs"/>
                        </a:rPr>
                        <a:t> </a:t>
                      </a:r>
                    </a:p>
                  </a:txBody>
                  <a:tcPr marL="68580" marR="68580" marT="34290" marB="34290">
                    <a:solidFill>
                      <a:schemeClr val="accent3">
                        <a:lumMod val="20000"/>
                        <a:lumOff val="80000"/>
                      </a:schemeClr>
                    </a:solidFill>
                  </a:tcPr>
                </a:tc>
                <a:tc>
                  <a:txBody>
                    <a:bodyPr/>
                    <a:lstStyle/>
                    <a:p>
                      <a:pPr algn="l"/>
                      <a:r>
                        <a:rPr lang="en-US" sz="800" b="0" noProof="0">
                          <a:solidFill>
                            <a:schemeClr val="tx1"/>
                          </a:solidFill>
                        </a:rPr>
                        <a:t>Oct – Feb 2026</a:t>
                      </a:r>
                    </a:p>
                  </a:txBody>
                  <a:tcPr marL="68580" marR="68580" marT="34290" marB="34290">
                    <a:solidFill>
                      <a:schemeClr val="accent3">
                        <a:lumMod val="20000"/>
                        <a:lumOff val="80000"/>
                      </a:schemeClr>
                    </a:solidFill>
                  </a:tcPr>
                </a:tc>
                <a:tc>
                  <a:txBody>
                    <a:bodyPr/>
                    <a:lstStyle/>
                    <a:p>
                      <a:pPr algn="l"/>
                      <a:r>
                        <a:rPr lang="en-US" sz="800" b="0" noProof="0">
                          <a:solidFill>
                            <a:schemeClr val="tx1"/>
                          </a:solidFill>
                        </a:rPr>
                        <a:t>Legal Support Group first review of change request that need legal support (if needed) </a:t>
                      </a:r>
                    </a:p>
                  </a:txBody>
                  <a:tcPr marL="68580" marR="68580" marT="34290" marB="34290">
                    <a:solidFill>
                      <a:schemeClr val="accent3">
                        <a:lumMod val="20000"/>
                        <a:lumOff val="80000"/>
                      </a:schemeClr>
                    </a:solidFill>
                  </a:tcPr>
                </a:tc>
                <a:extLst>
                  <a:ext uri="{0D108BD9-81ED-4DB2-BD59-A6C34878D82A}">
                    <a16:rowId xmlns:a16="http://schemas.microsoft.com/office/drawing/2014/main" val="2925560453"/>
                  </a:ext>
                </a:extLst>
              </a:tr>
              <a:tr h="205946">
                <a:tc>
                  <a:txBody>
                    <a:bodyPr/>
                    <a:lstStyle/>
                    <a:p>
                      <a:pPr marL="171450" indent="-171450" algn="l" defTabSz="914400" rtl="0" eaLnBrk="1" latinLnBrk="0" hangingPunct="1">
                        <a:buFont typeface="Wingdings" panose="05000000000000000000" pitchFamily="2" charset="2"/>
                        <a:buChar char="ü"/>
                      </a:pPr>
                      <a:r>
                        <a:rPr lang="en-US" sz="800" b="0" u="sng" noProof="0">
                          <a:solidFill>
                            <a:schemeClr val="tx1"/>
                          </a:solidFill>
                        </a:rPr>
                        <a:t>   </a:t>
                      </a:r>
                      <a:endParaRPr lang="en-US" sz="800" b="0" kern="1200" noProof="0">
                        <a:solidFill>
                          <a:schemeClr val="tx1"/>
                        </a:solidFill>
                        <a:latin typeface="+mn-lt"/>
                        <a:ea typeface="+mn-ea"/>
                        <a:cs typeface="+mn-cs"/>
                      </a:endParaRPr>
                    </a:p>
                  </a:txBody>
                  <a:tcPr marL="68580" marR="68580" marT="34290" marB="34290">
                    <a:solidFill>
                      <a:schemeClr val="accent3">
                        <a:lumMod val="20000"/>
                        <a:lumOff val="80000"/>
                      </a:schemeClr>
                    </a:solidFill>
                  </a:tcPr>
                </a:tc>
                <a:tc>
                  <a:txBody>
                    <a:bodyPr/>
                    <a:lstStyle/>
                    <a:p>
                      <a:pPr marL="0" algn="l" defTabSz="914400" rtl="0" eaLnBrk="1" latinLnBrk="0" hangingPunct="1"/>
                      <a:r>
                        <a:rPr lang="en-US" sz="800" b="0" kern="1200" noProof="0">
                          <a:solidFill>
                            <a:schemeClr val="tx1"/>
                          </a:solidFill>
                        </a:rPr>
                        <a:t>Dec 15</a:t>
                      </a:r>
                      <a:r>
                        <a:rPr lang="en-US" sz="800" b="0" kern="1200" baseline="30000" noProof="0">
                          <a:solidFill>
                            <a:schemeClr val="tx1"/>
                          </a:solidFill>
                        </a:rPr>
                        <a:t>th</a:t>
                      </a:r>
                      <a:r>
                        <a:rPr lang="en-US" sz="800" b="0" kern="1200" noProof="0">
                          <a:solidFill>
                            <a:schemeClr val="tx1"/>
                          </a:solidFill>
                        </a:rPr>
                        <a:t>, 2025</a:t>
                      </a:r>
                      <a:endParaRPr lang="en-US" sz="800" b="0" kern="1200" noProof="0">
                        <a:solidFill>
                          <a:schemeClr val="tx1"/>
                        </a:solidFill>
                        <a:latin typeface="+mn-lt"/>
                        <a:ea typeface="+mn-ea"/>
                        <a:cs typeface="+mn-cs"/>
                      </a:endParaRPr>
                    </a:p>
                  </a:txBody>
                  <a:tcPr marL="68580" marR="68580" marT="34290" marB="34290">
                    <a:solidFill>
                      <a:schemeClr val="accent3">
                        <a:lumMod val="20000"/>
                        <a:lumOff val="80000"/>
                      </a:schemeClr>
                    </a:solidFill>
                  </a:tcPr>
                </a:tc>
                <a:tc>
                  <a:txBody>
                    <a:bodyPr/>
                    <a:lstStyle/>
                    <a:p>
                      <a:pPr marL="0" algn="l" defTabSz="914400" rtl="0" eaLnBrk="1" latinLnBrk="0" hangingPunct="1"/>
                      <a:r>
                        <a:rPr lang="en-US" sz="800" b="0" kern="1200" noProof="0">
                          <a:solidFill>
                            <a:schemeClr val="tx1"/>
                          </a:solidFill>
                        </a:rPr>
                        <a:t>Submission deadline for 2027 CRs</a:t>
                      </a:r>
                      <a:endParaRPr lang="en-US" sz="800" b="0" kern="1200" noProof="0">
                        <a:solidFill>
                          <a:schemeClr val="tx1"/>
                        </a:solidFill>
                        <a:latin typeface="+mn-lt"/>
                        <a:ea typeface="+mn-ea"/>
                        <a:cs typeface="+mn-cs"/>
                      </a:endParaRPr>
                    </a:p>
                  </a:txBody>
                  <a:tcPr marL="68580" marR="68580" marT="34290" marB="34290">
                    <a:solidFill>
                      <a:schemeClr val="accent3">
                        <a:lumMod val="20000"/>
                        <a:lumOff val="80000"/>
                      </a:schemeClr>
                    </a:solidFill>
                  </a:tcPr>
                </a:tc>
                <a:extLst>
                  <a:ext uri="{0D108BD9-81ED-4DB2-BD59-A6C34878D82A}">
                    <a16:rowId xmlns:a16="http://schemas.microsoft.com/office/drawing/2014/main" val="1563621787"/>
                  </a:ext>
                </a:extLst>
              </a:tr>
              <a:tr h="205946">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800" b="0" kern="1200" noProof="0">
                          <a:solidFill>
                            <a:schemeClr val="tx1"/>
                          </a:solidFill>
                          <a:latin typeface="+mn-lt"/>
                          <a:ea typeface="+mn-ea"/>
                          <a:cs typeface="+mn-cs"/>
                        </a:rPr>
                        <a:t> </a:t>
                      </a:r>
                    </a:p>
                  </a:txBody>
                  <a:tcPr marL="68580" marR="68580" marT="34290" marB="34290">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kern="1200" noProof="0">
                          <a:solidFill>
                            <a:schemeClr val="tx1"/>
                          </a:solidFill>
                          <a:latin typeface="+mn-lt"/>
                          <a:ea typeface="+mn-ea"/>
                          <a:cs typeface="+mn-cs"/>
                        </a:rPr>
                        <a:t>Jan – Feb 2026</a:t>
                      </a:r>
                    </a:p>
                  </a:txBody>
                  <a:tcPr marL="68580" marR="68580" marT="34290" marB="34290">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kern="1200" noProof="0">
                          <a:solidFill>
                            <a:schemeClr val="tx1"/>
                          </a:solidFill>
                          <a:latin typeface="+mn-lt"/>
                          <a:ea typeface="+mn-ea"/>
                          <a:cs typeface="+mn-cs"/>
                        </a:rPr>
                        <a:t>NCT &amp; NCT Inst WG formulation of recommendations for each CR</a:t>
                      </a:r>
                    </a:p>
                  </a:txBody>
                  <a:tcPr marL="68580" marR="68580" marT="34290" marB="34290">
                    <a:solidFill>
                      <a:schemeClr val="accent3">
                        <a:lumMod val="20000"/>
                        <a:lumOff val="80000"/>
                      </a:schemeClr>
                    </a:solidFill>
                  </a:tcPr>
                </a:tc>
                <a:extLst>
                  <a:ext uri="{0D108BD9-81ED-4DB2-BD59-A6C34878D82A}">
                    <a16:rowId xmlns:a16="http://schemas.microsoft.com/office/drawing/2014/main" val="1693483214"/>
                  </a:ext>
                </a:extLst>
              </a:tr>
              <a:tr h="205946">
                <a:tc>
                  <a:txBody>
                    <a:bodyPr/>
                    <a:lstStyle/>
                    <a:p>
                      <a:pPr marL="171450" indent="-171450" algn="l">
                        <a:buFont typeface="Wingdings" panose="05000000000000000000" pitchFamily="2" charset="2"/>
                        <a:buChar char="ü"/>
                      </a:pPr>
                      <a:r>
                        <a:rPr lang="en-US" sz="800" b="1" noProof="0">
                          <a:solidFill>
                            <a:schemeClr val="tx1"/>
                          </a:solidFill>
                        </a:rPr>
                        <a:t> </a:t>
                      </a:r>
                    </a:p>
                  </a:txBody>
                  <a:tcPr marL="68580" marR="68580" marT="34290" marB="34290">
                    <a:solidFill>
                      <a:schemeClr val="accent3">
                        <a:lumMod val="20000"/>
                        <a:lumOff val="80000"/>
                      </a:schemeClr>
                    </a:solidFill>
                  </a:tcPr>
                </a:tc>
                <a:tc>
                  <a:txBody>
                    <a:bodyPr/>
                    <a:lstStyle/>
                    <a:p>
                      <a:pPr algn="l"/>
                      <a:r>
                        <a:rPr lang="en-US" sz="800" b="1" noProof="0">
                          <a:solidFill>
                            <a:schemeClr val="tx1"/>
                          </a:solidFill>
                        </a:rPr>
                        <a:t>February 2026 </a:t>
                      </a:r>
                    </a:p>
                  </a:txBody>
                  <a:tcPr marL="68580" marR="68580" marT="34290" marB="34290">
                    <a:solidFill>
                      <a:schemeClr val="accent3">
                        <a:lumMod val="20000"/>
                        <a:lumOff val="80000"/>
                      </a:schemeClr>
                    </a:solidFill>
                  </a:tcPr>
                </a:tc>
                <a:tc>
                  <a:txBody>
                    <a:bodyPr/>
                    <a:lstStyle/>
                    <a:p>
                      <a:pPr algn="l"/>
                      <a:r>
                        <a:rPr lang="en-US" sz="800" b="1" noProof="0">
                          <a:solidFill>
                            <a:schemeClr val="tx1"/>
                          </a:solidFill>
                        </a:rPr>
                        <a:t>SMC decision to start Public Consultation (March 15</a:t>
                      </a:r>
                      <a:r>
                        <a:rPr lang="en-US" sz="800" b="1" baseline="30000" noProof="0">
                          <a:solidFill>
                            <a:schemeClr val="tx1"/>
                          </a:solidFill>
                        </a:rPr>
                        <a:t>th</a:t>
                      </a:r>
                      <a:r>
                        <a:rPr lang="en-US" sz="800" b="1" noProof="0">
                          <a:solidFill>
                            <a:schemeClr val="tx1"/>
                          </a:solidFill>
                        </a:rPr>
                        <a:t>, 2026, until June 3</a:t>
                      </a:r>
                      <a:r>
                        <a:rPr lang="en-US" sz="800" b="1" baseline="30000" noProof="0">
                          <a:solidFill>
                            <a:schemeClr val="tx1"/>
                          </a:solidFill>
                        </a:rPr>
                        <a:t>rd,</a:t>
                      </a:r>
                      <a:r>
                        <a:rPr lang="en-US" sz="800" b="1" kern="1200" noProof="0">
                          <a:solidFill>
                            <a:schemeClr val="tx1"/>
                          </a:solidFill>
                          <a:latin typeface="+mn-lt"/>
                          <a:ea typeface="+mn-ea"/>
                          <a:cs typeface="+mn-cs"/>
                        </a:rPr>
                        <a:t> 2026</a:t>
                      </a:r>
                      <a:r>
                        <a:rPr lang="en-US" sz="800" b="1" noProof="0">
                          <a:solidFill>
                            <a:schemeClr val="tx1"/>
                          </a:solidFill>
                        </a:rPr>
                        <a:t>) on all suggested CRs</a:t>
                      </a:r>
                    </a:p>
                  </a:txBody>
                  <a:tcPr marL="68580" marR="68580" marT="34290" marB="34290">
                    <a:solidFill>
                      <a:schemeClr val="accent3">
                        <a:lumMod val="20000"/>
                        <a:lumOff val="80000"/>
                      </a:schemeClr>
                    </a:solidFill>
                  </a:tcPr>
                </a:tc>
                <a:extLst>
                  <a:ext uri="{0D108BD9-81ED-4DB2-BD59-A6C34878D82A}">
                    <a16:rowId xmlns:a16="http://schemas.microsoft.com/office/drawing/2014/main" val="3522744716"/>
                  </a:ext>
                </a:extLst>
              </a:tr>
              <a:tr h="205946">
                <a:tc>
                  <a:txBody>
                    <a:bodyPr/>
                    <a:lstStyle/>
                    <a:p>
                      <a:pPr marL="171450" indent="-171450" algn="l">
                        <a:buFont typeface="Wingdings" panose="05000000000000000000" pitchFamily="2" charset="2"/>
                        <a:buChar char="ü"/>
                      </a:pPr>
                      <a:r>
                        <a:rPr lang="en-US" sz="800" b="0" noProof="0">
                          <a:solidFill>
                            <a:schemeClr val="tx1"/>
                          </a:solidFill>
                        </a:rPr>
                        <a:t> </a:t>
                      </a:r>
                    </a:p>
                  </a:txBody>
                  <a:tcPr marL="68580" marR="68580" marT="34290" marB="34290">
                    <a:solidFill>
                      <a:schemeClr val="accent3">
                        <a:lumMod val="20000"/>
                        <a:lumOff val="80000"/>
                      </a:schemeClr>
                    </a:solidFill>
                  </a:tcPr>
                </a:tc>
                <a:tc>
                  <a:txBody>
                    <a:bodyPr/>
                    <a:lstStyle/>
                    <a:p>
                      <a:pPr algn="l"/>
                      <a:r>
                        <a:rPr lang="en-US" sz="800" b="0" noProof="0">
                          <a:solidFill>
                            <a:schemeClr val="tx1"/>
                          </a:solidFill>
                        </a:rPr>
                        <a:t>Mar 15</a:t>
                      </a:r>
                      <a:r>
                        <a:rPr lang="en-US" sz="800" b="0" baseline="30000" noProof="0">
                          <a:solidFill>
                            <a:schemeClr val="tx1"/>
                          </a:solidFill>
                        </a:rPr>
                        <a:t>th</a:t>
                      </a:r>
                      <a:r>
                        <a:rPr lang="en-US" sz="800" b="0" noProof="0">
                          <a:solidFill>
                            <a:schemeClr val="tx1"/>
                          </a:solidFill>
                        </a:rPr>
                        <a:t>, 2026 </a:t>
                      </a:r>
                    </a:p>
                  </a:txBody>
                  <a:tcPr marL="68580" marR="68580" marT="34290" marB="34290">
                    <a:solidFill>
                      <a:schemeClr val="accent3">
                        <a:lumMod val="20000"/>
                        <a:lumOff val="80000"/>
                      </a:schemeClr>
                    </a:solidFill>
                  </a:tcPr>
                </a:tc>
                <a:tc>
                  <a:txBody>
                    <a:bodyPr/>
                    <a:lstStyle/>
                    <a:p>
                      <a:pPr algn="l"/>
                      <a:r>
                        <a:rPr lang="en-US" sz="800" b="0" noProof="0">
                          <a:solidFill>
                            <a:schemeClr val="tx1"/>
                          </a:solidFill>
                        </a:rPr>
                        <a:t>Start of 90 days Public Consultation on 2026 CRs until 3</a:t>
                      </a:r>
                      <a:r>
                        <a:rPr lang="en-US" sz="800" b="0" baseline="30000" noProof="0">
                          <a:solidFill>
                            <a:schemeClr val="tx1"/>
                          </a:solidFill>
                        </a:rPr>
                        <a:t>rd</a:t>
                      </a:r>
                      <a:r>
                        <a:rPr lang="en-US" sz="800" b="0" noProof="0">
                          <a:solidFill>
                            <a:schemeClr val="tx1"/>
                          </a:solidFill>
                        </a:rPr>
                        <a:t> June 2026</a:t>
                      </a:r>
                    </a:p>
                  </a:txBody>
                  <a:tcPr marL="68580" marR="68580" marT="34290" marB="34290">
                    <a:solidFill>
                      <a:schemeClr val="accent3">
                        <a:lumMod val="20000"/>
                        <a:lumOff val="80000"/>
                      </a:schemeClr>
                    </a:solidFill>
                  </a:tcPr>
                </a:tc>
                <a:extLst>
                  <a:ext uri="{0D108BD9-81ED-4DB2-BD59-A6C34878D82A}">
                    <a16:rowId xmlns:a16="http://schemas.microsoft.com/office/drawing/2014/main" val="4232067007"/>
                  </a:ext>
                </a:extLst>
              </a:tr>
              <a:tr h="205946">
                <a:tc>
                  <a:txBody>
                    <a:bodyPr/>
                    <a:lstStyle/>
                    <a:p>
                      <a:pPr marL="0" indent="0" algn="l">
                        <a:buFont typeface="Wingdings" panose="05000000000000000000" pitchFamily="2" charset="2"/>
                        <a:buNone/>
                      </a:pPr>
                      <a:endParaRPr lang="en-US" sz="800" b="1" noProof="0">
                        <a:solidFill>
                          <a:schemeClr val="tx1"/>
                        </a:solidFill>
                      </a:endParaRPr>
                    </a:p>
                  </a:txBody>
                  <a:tcPr marL="68580" marR="68580" marT="34290" marB="34290">
                    <a:solidFill>
                      <a:srgbClr val="E7E9EE"/>
                    </a:solidFill>
                  </a:tcPr>
                </a:tc>
                <a:tc>
                  <a:txBody>
                    <a:bodyPr/>
                    <a:lstStyle/>
                    <a:p>
                      <a:pPr marL="0" algn="l" defTabSz="914400" rtl="0" eaLnBrk="1" latinLnBrk="0" hangingPunct="1"/>
                      <a:r>
                        <a:rPr lang="en-US" sz="800" b="0" i="0" kern="1200" noProof="0">
                          <a:solidFill>
                            <a:schemeClr val="tx1"/>
                          </a:solidFill>
                          <a:highlight>
                            <a:srgbClr val="FFFF00"/>
                          </a:highlight>
                        </a:rPr>
                        <a:t>Mar - Sep 2026</a:t>
                      </a:r>
                      <a:endParaRPr lang="en-US" sz="800" b="0" i="0" kern="1200" noProof="0">
                        <a:solidFill>
                          <a:schemeClr val="tx1"/>
                        </a:solidFill>
                        <a:highlight>
                          <a:srgbClr val="FFFF00"/>
                        </a:highlight>
                        <a:latin typeface="+mn-lt"/>
                        <a:ea typeface="+mn-ea"/>
                        <a:cs typeface="+mn-cs"/>
                      </a:endParaRPr>
                    </a:p>
                  </a:txBody>
                  <a:tcPr marL="68580" marR="68580" marT="34290" marB="34290">
                    <a:solidFill>
                      <a:srgbClr val="E7E9EE"/>
                    </a:solidFill>
                  </a:tcPr>
                </a:tc>
                <a:tc>
                  <a:txBody>
                    <a:bodyPr/>
                    <a:lstStyle/>
                    <a:p>
                      <a:pPr marL="0" algn="l" defTabSz="914400" rtl="0" eaLnBrk="1" latinLnBrk="0" hangingPunct="1"/>
                      <a:r>
                        <a:rPr lang="en-US" sz="800" b="0" i="0" kern="1200" noProof="0">
                          <a:solidFill>
                            <a:schemeClr val="tx1"/>
                          </a:solidFill>
                          <a:highlight>
                            <a:srgbClr val="FFFF00"/>
                          </a:highlight>
                        </a:rPr>
                        <a:t>NPC Stakeholder Forum: presentation and discussion for 2027 CRs to prepare for position paper </a:t>
                      </a:r>
                      <a:endParaRPr lang="en-US" sz="800" b="0" i="0" kern="1200" noProof="0">
                        <a:solidFill>
                          <a:schemeClr val="tx1"/>
                        </a:solidFill>
                        <a:highlight>
                          <a:srgbClr val="FFFF00"/>
                        </a:highlight>
                        <a:latin typeface="+mn-lt"/>
                        <a:ea typeface="+mn-ea"/>
                        <a:cs typeface="+mn-cs"/>
                      </a:endParaRPr>
                    </a:p>
                  </a:txBody>
                  <a:tcPr marL="68580" marR="68580" marT="34290" marB="34290">
                    <a:solidFill>
                      <a:srgbClr val="E7E9EE"/>
                    </a:solidFill>
                  </a:tcPr>
                </a:tc>
                <a:extLst>
                  <a:ext uri="{0D108BD9-81ED-4DB2-BD59-A6C34878D82A}">
                    <a16:rowId xmlns:a16="http://schemas.microsoft.com/office/drawing/2014/main" val="2906547711"/>
                  </a:ext>
                </a:extLst>
              </a:tr>
              <a:tr h="205946">
                <a:tc>
                  <a:txBody>
                    <a:bodyPr/>
                    <a:lstStyle/>
                    <a:p>
                      <a:pPr marL="0" indent="0" algn="l">
                        <a:buFont typeface="Wingdings" panose="05000000000000000000" pitchFamily="2" charset="2"/>
                        <a:buNone/>
                      </a:pPr>
                      <a:r>
                        <a:rPr lang="en-US" sz="800" b="0" noProof="0">
                          <a:solidFill>
                            <a:schemeClr val="tx1"/>
                          </a:solidFill>
                        </a:rPr>
                        <a:t> </a:t>
                      </a:r>
                    </a:p>
                  </a:txBody>
                  <a:tcPr marL="68580" marR="68580" marT="34290" marB="34290">
                    <a:solidFill>
                      <a:srgbClr val="E7E9EE"/>
                    </a:solidFill>
                  </a:tcPr>
                </a:tc>
                <a:tc>
                  <a:txBody>
                    <a:bodyPr/>
                    <a:lstStyle/>
                    <a:p>
                      <a:pPr algn="l"/>
                      <a:r>
                        <a:rPr lang="en-US" sz="800" b="0" noProof="0">
                          <a:solidFill>
                            <a:schemeClr val="tx1"/>
                          </a:solidFill>
                        </a:rPr>
                        <a:t>Jun – Oct 2026</a:t>
                      </a:r>
                    </a:p>
                  </a:txBody>
                  <a:tcPr marL="68580" marR="68580" marT="34290" marB="34290">
                    <a:solidFill>
                      <a:srgbClr val="E7E9EE"/>
                    </a:solidFill>
                  </a:tcPr>
                </a:tc>
                <a:tc>
                  <a:txBody>
                    <a:bodyPr/>
                    <a:lstStyle/>
                    <a:p>
                      <a:pPr algn="l"/>
                      <a:r>
                        <a:rPr lang="en-US" sz="800" noProof="0">
                          <a:solidFill>
                            <a:schemeClr val="tx1"/>
                          </a:solidFill>
                        </a:rPr>
                        <a:t>NCT &amp; NCT Inst WG review of Public consultation comments and preparing final CRs and Rulebook 2027 version </a:t>
                      </a:r>
                      <a:endParaRPr lang="en-US" sz="800" b="1" noProof="0">
                        <a:solidFill>
                          <a:schemeClr val="tx1"/>
                        </a:solidFill>
                      </a:endParaRPr>
                    </a:p>
                  </a:txBody>
                  <a:tcPr marL="68580" marR="68580" marT="34290" marB="34290">
                    <a:solidFill>
                      <a:srgbClr val="E7E9EE"/>
                    </a:solidFill>
                  </a:tcPr>
                </a:tc>
                <a:extLst>
                  <a:ext uri="{0D108BD9-81ED-4DB2-BD59-A6C34878D82A}">
                    <a16:rowId xmlns:a16="http://schemas.microsoft.com/office/drawing/2014/main" val="142864643"/>
                  </a:ext>
                </a:extLst>
              </a:tr>
              <a:tr h="205946">
                <a:tc>
                  <a:txBody>
                    <a:bodyPr/>
                    <a:lstStyle/>
                    <a:p>
                      <a:pPr algn="l"/>
                      <a:endParaRPr lang="en-US" sz="800" b="0" noProof="0">
                        <a:solidFill>
                          <a:schemeClr val="tx2"/>
                        </a:solidFill>
                      </a:endParaRPr>
                    </a:p>
                  </a:txBody>
                  <a:tcPr marL="68580" marR="68580" marT="34290" marB="34290">
                    <a:solidFill>
                      <a:srgbClr val="E7E9EE"/>
                    </a:solidFill>
                  </a:tcPr>
                </a:tc>
                <a:tc>
                  <a:txBody>
                    <a:bodyPr/>
                    <a:lstStyle/>
                    <a:p>
                      <a:pPr algn="l"/>
                      <a:r>
                        <a:rPr lang="en-US" sz="800" b="0" noProof="0">
                          <a:solidFill>
                            <a:schemeClr val="tx2"/>
                          </a:solidFill>
                        </a:rPr>
                        <a:t>Sep – Oct 2026</a:t>
                      </a:r>
                    </a:p>
                  </a:txBody>
                  <a:tcPr marL="68580" marR="68580" marT="34290" marB="34290">
                    <a:solidFill>
                      <a:srgbClr val="E7E9E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noProof="0">
                          <a:solidFill>
                            <a:schemeClr val="tx2"/>
                          </a:solidFill>
                        </a:rPr>
                        <a:t>NCT &amp; NCT Inst WG finalization of Change Proposal Submission Documents</a:t>
                      </a:r>
                      <a:endParaRPr lang="en-US" sz="800" b="1" noProof="0">
                        <a:solidFill>
                          <a:schemeClr val="tx2"/>
                        </a:solidFill>
                      </a:endParaRPr>
                    </a:p>
                  </a:txBody>
                  <a:tcPr marL="68580" marR="68580" marT="34290" marB="34290">
                    <a:solidFill>
                      <a:srgbClr val="E7E9EE"/>
                    </a:solidFill>
                  </a:tcPr>
                </a:tc>
                <a:extLst>
                  <a:ext uri="{0D108BD9-81ED-4DB2-BD59-A6C34878D82A}">
                    <a16:rowId xmlns:a16="http://schemas.microsoft.com/office/drawing/2014/main" val="520469608"/>
                  </a:ext>
                </a:extLst>
              </a:tr>
              <a:tr h="205946">
                <a:tc>
                  <a:txBody>
                    <a:bodyPr/>
                    <a:lstStyle/>
                    <a:p>
                      <a:pPr algn="l"/>
                      <a:endParaRPr lang="en-US" sz="800" b="0" noProof="0">
                        <a:solidFill>
                          <a:schemeClr val="tx2"/>
                        </a:solidFill>
                      </a:endParaRPr>
                    </a:p>
                  </a:txBody>
                  <a:tcPr marL="68580" marR="68580" marT="34290" marB="34290">
                    <a:solidFill>
                      <a:srgbClr val="E7E9EE"/>
                    </a:solidFill>
                  </a:tcPr>
                </a:tc>
                <a:tc>
                  <a:txBody>
                    <a:bodyPr/>
                    <a:lstStyle/>
                    <a:p>
                      <a:pPr algn="l"/>
                      <a:r>
                        <a:rPr lang="en-US" sz="800" b="0" noProof="0">
                          <a:solidFill>
                            <a:schemeClr val="tx1"/>
                          </a:solidFill>
                          <a:highlight>
                            <a:srgbClr val="FFFF00"/>
                          </a:highlight>
                        </a:rPr>
                        <a:t>Sep 2026</a:t>
                      </a:r>
                    </a:p>
                  </a:txBody>
                  <a:tcPr marL="68580" marR="68580" marT="34290" marB="34290">
                    <a:solidFill>
                      <a:srgbClr val="E7E9EE"/>
                    </a:solidFill>
                  </a:tcPr>
                </a:tc>
                <a:tc>
                  <a:txBody>
                    <a:bodyPr/>
                    <a:lstStyle/>
                    <a:p>
                      <a:pPr algn="l"/>
                      <a:r>
                        <a:rPr lang="en-US" sz="800" b="0" noProof="0">
                          <a:solidFill>
                            <a:schemeClr val="tx1"/>
                          </a:solidFill>
                          <a:highlight>
                            <a:srgbClr val="FFFF00"/>
                          </a:highlight>
                        </a:rPr>
                        <a:t>NPC Stakeholder Forum: formal position on 2027 Change requests for NCT &amp; NCT Inst scheme Rulebooks </a:t>
                      </a:r>
                    </a:p>
                  </a:txBody>
                  <a:tcPr marL="68580" marR="68580" marT="34290" marB="34290">
                    <a:solidFill>
                      <a:srgbClr val="E7E9EE"/>
                    </a:solidFill>
                  </a:tcPr>
                </a:tc>
                <a:extLst>
                  <a:ext uri="{0D108BD9-81ED-4DB2-BD59-A6C34878D82A}">
                    <a16:rowId xmlns:a16="http://schemas.microsoft.com/office/drawing/2014/main" val="1700262112"/>
                  </a:ext>
                </a:extLst>
              </a:tr>
              <a:tr h="205946">
                <a:tc>
                  <a:txBody>
                    <a:bodyPr/>
                    <a:lstStyle/>
                    <a:p>
                      <a:pPr algn="l"/>
                      <a:endParaRPr lang="en-US" sz="800" b="0" noProof="0">
                        <a:solidFill>
                          <a:schemeClr val="tx2"/>
                        </a:solidFill>
                      </a:endParaRPr>
                    </a:p>
                  </a:txBody>
                  <a:tcPr marL="68580" marR="68580" marT="34290" marB="34290">
                    <a:solidFill>
                      <a:srgbClr val="E7E9EE"/>
                    </a:solidFill>
                  </a:tcPr>
                </a:tc>
                <a:tc>
                  <a:txBody>
                    <a:bodyPr/>
                    <a:lstStyle/>
                    <a:p>
                      <a:pPr algn="l"/>
                      <a:r>
                        <a:rPr lang="en-US" sz="800" b="0" noProof="0">
                          <a:solidFill>
                            <a:schemeClr val="tx2"/>
                          </a:solidFill>
                        </a:rPr>
                        <a:t>Oct 2026 </a:t>
                      </a:r>
                    </a:p>
                  </a:txBody>
                  <a:tcPr marL="68580" marR="68580" marT="34290" marB="34290">
                    <a:solidFill>
                      <a:srgbClr val="E7E9EE"/>
                    </a:solidFill>
                  </a:tcPr>
                </a:tc>
                <a:tc>
                  <a:txBody>
                    <a:bodyPr/>
                    <a:lstStyle/>
                    <a:p>
                      <a:pPr algn="l"/>
                      <a:r>
                        <a:rPr lang="en-US" sz="800" b="0" noProof="0">
                          <a:solidFill>
                            <a:schemeClr val="tx2"/>
                          </a:solidFill>
                        </a:rPr>
                        <a:t>NCT &amp; NCT Inst WG finalization of proposed 2027 Rulebooks</a:t>
                      </a:r>
                    </a:p>
                  </a:txBody>
                  <a:tcPr marL="68580" marR="68580" marT="34290" marB="34290">
                    <a:solidFill>
                      <a:srgbClr val="E7E9EE"/>
                    </a:solidFill>
                  </a:tcPr>
                </a:tc>
                <a:extLst>
                  <a:ext uri="{0D108BD9-81ED-4DB2-BD59-A6C34878D82A}">
                    <a16:rowId xmlns:a16="http://schemas.microsoft.com/office/drawing/2014/main" val="1921034666"/>
                  </a:ext>
                </a:extLst>
              </a:tr>
              <a:tr h="205946">
                <a:tc>
                  <a:txBody>
                    <a:bodyPr/>
                    <a:lstStyle/>
                    <a:p>
                      <a:pPr algn="l"/>
                      <a:endParaRPr lang="en-US" sz="800" b="0" noProof="0">
                        <a:solidFill>
                          <a:schemeClr val="tx2"/>
                        </a:solidFill>
                      </a:endParaRPr>
                    </a:p>
                  </a:txBody>
                  <a:tcPr marL="68580" marR="68580" marT="34290" marB="34290">
                    <a:solidFill>
                      <a:srgbClr val="E7E9EE"/>
                    </a:solidFill>
                  </a:tcPr>
                </a:tc>
                <a:tc>
                  <a:txBody>
                    <a:bodyPr/>
                    <a:lstStyle/>
                    <a:p>
                      <a:pPr algn="l"/>
                      <a:r>
                        <a:rPr lang="en-US" sz="800" b="0" i="0" noProof="0">
                          <a:solidFill>
                            <a:schemeClr val="tx2"/>
                          </a:solidFill>
                        </a:rPr>
                        <a:t>Aug – Oct 2026 </a:t>
                      </a:r>
                    </a:p>
                  </a:txBody>
                  <a:tcPr marL="68580" marR="68580" marT="34290" marB="34290">
                    <a:solidFill>
                      <a:srgbClr val="E7E9EE"/>
                    </a:solidFill>
                  </a:tcPr>
                </a:tc>
                <a:tc>
                  <a:txBody>
                    <a:bodyPr/>
                    <a:lstStyle/>
                    <a:p>
                      <a:pPr algn="l"/>
                      <a:r>
                        <a:rPr lang="en-US" sz="800" b="0" i="0" noProof="0">
                          <a:solidFill>
                            <a:schemeClr val="tx2"/>
                          </a:solidFill>
                        </a:rPr>
                        <a:t>Legal Support Group review final updated 2027 Rulebooks</a:t>
                      </a:r>
                    </a:p>
                  </a:txBody>
                  <a:tcPr marL="68580" marR="68580" marT="34290" marB="34290">
                    <a:solidFill>
                      <a:srgbClr val="E7E9EE"/>
                    </a:solidFill>
                  </a:tcPr>
                </a:tc>
                <a:extLst>
                  <a:ext uri="{0D108BD9-81ED-4DB2-BD59-A6C34878D82A}">
                    <a16:rowId xmlns:a16="http://schemas.microsoft.com/office/drawing/2014/main" val="478522736"/>
                  </a:ext>
                </a:extLst>
              </a:tr>
              <a:tr h="205946">
                <a:tc>
                  <a:txBody>
                    <a:bodyPr/>
                    <a:lstStyle/>
                    <a:p>
                      <a:pPr algn="l"/>
                      <a:endParaRPr lang="en-US" sz="800" b="1" i="0" noProof="0">
                        <a:solidFill>
                          <a:schemeClr val="tx1"/>
                        </a:solidFill>
                      </a:endParaRPr>
                    </a:p>
                  </a:txBody>
                  <a:tcPr marL="68580" marR="68580" marT="34290" marB="34290">
                    <a:solidFill>
                      <a:srgbClr val="E7E9EE"/>
                    </a:solidFill>
                  </a:tcPr>
                </a:tc>
                <a:tc>
                  <a:txBody>
                    <a:bodyPr/>
                    <a:lstStyle/>
                    <a:p>
                      <a:pPr algn="l"/>
                      <a:r>
                        <a:rPr lang="en-US" sz="800" b="1" i="0" noProof="0">
                          <a:solidFill>
                            <a:schemeClr val="tx1"/>
                          </a:solidFill>
                        </a:rPr>
                        <a:t>Nov 2026</a:t>
                      </a:r>
                    </a:p>
                  </a:txBody>
                  <a:tcPr marL="68580" marR="68580" marT="34290" marB="34290">
                    <a:solidFill>
                      <a:srgbClr val="E7E9EE"/>
                    </a:solidFill>
                  </a:tcPr>
                </a:tc>
                <a:tc>
                  <a:txBody>
                    <a:bodyPr/>
                    <a:lstStyle/>
                    <a:p>
                      <a:pPr algn="l"/>
                      <a:r>
                        <a:rPr lang="en-US" sz="800" b="1" i="0" noProof="0">
                          <a:solidFill>
                            <a:schemeClr val="tx1"/>
                          </a:solidFill>
                        </a:rPr>
                        <a:t>SMC meeting: final decision on each CR, Change proposal Submission documents and approval of 2027 Rulebook publications</a:t>
                      </a:r>
                    </a:p>
                  </a:txBody>
                  <a:tcPr marL="68580" marR="68580" marT="34290" marB="34290">
                    <a:solidFill>
                      <a:srgbClr val="E7E9EE"/>
                    </a:solidFill>
                  </a:tcPr>
                </a:tc>
                <a:extLst>
                  <a:ext uri="{0D108BD9-81ED-4DB2-BD59-A6C34878D82A}">
                    <a16:rowId xmlns:a16="http://schemas.microsoft.com/office/drawing/2014/main" val="1933341885"/>
                  </a:ext>
                </a:extLst>
              </a:tr>
              <a:tr h="205946">
                <a:tc>
                  <a:txBody>
                    <a:bodyPr/>
                    <a:lstStyle/>
                    <a:p>
                      <a:pPr algn="l"/>
                      <a:endParaRPr lang="en-US" sz="800" b="0" noProof="0">
                        <a:solidFill>
                          <a:schemeClr val="tx2"/>
                        </a:solidFill>
                      </a:endParaRPr>
                    </a:p>
                  </a:txBody>
                  <a:tcPr marL="68580" marR="68580" marT="34290" marB="34290">
                    <a:solidFill>
                      <a:srgbClr val="E7E9EE"/>
                    </a:solidFill>
                  </a:tcPr>
                </a:tc>
                <a:tc>
                  <a:txBody>
                    <a:bodyPr/>
                    <a:lstStyle/>
                    <a:p>
                      <a:pPr algn="l"/>
                      <a:r>
                        <a:rPr lang="en-US" sz="800" b="0" noProof="0">
                          <a:solidFill>
                            <a:schemeClr val="tx2"/>
                          </a:solidFill>
                        </a:rPr>
                        <a:t>Nov 2026</a:t>
                      </a:r>
                    </a:p>
                  </a:txBody>
                  <a:tcPr marL="68580" marR="68580" marT="34290" marB="34290">
                    <a:solidFill>
                      <a:srgbClr val="E7E9EE"/>
                    </a:solidFill>
                  </a:tcPr>
                </a:tc>
                <a:tc>
                  <a:txBody>
                    <a:bodyPr/>
                    <a:lstStyle/>
                    <a:p>
                      <a:pPr algn="l"/>
                      <a:r>
                        <a:rPr lang="en-US" sz="800" b="0" noProof="0">
                          <a:solidFill>
                            <a:schemeClr val="tx2"/>
                          </a:solidFill>
                        </a:rPr>
                        <a:t>Publication of 2027 NCT &amp; NCT Inst Scheme Rulebooks</a:t>
                      </a:r>
                      <a:endParaRPr lang="en-US" sz="800" b="0" i="1" noProof="0">
                        <a:solidFill>
                          <a:schemeClr val="tx2"/>
                        </a:solidFill>
                      </a:endParaRPr>
                    </a:p>
                  </a:txBody>
                  <a:tcPr marL="68580" marR="68580" marT="34290" marB="34290">
                    <a:solidFill>
                      <a:srgbClr val="E7E9EE"/>
                    </a:solidFill>
                  </a:tcPr>
                </a:tc>
                <a:extLst>
                  <a:ext uri="{0D108BD9-81ED-4DB2-BD59-A6C34878D82A}">
                    <a16:rowId xmlns:a16="http://schemas.microsoft.com/office/drawing/2014/main" val="2655667416"/>
                  </a:ext>
                </a:extLst>
              </a:tr>
              <a:tr h="205946">
                <a:tc>
                  <a:txBody>
                    <a:bodyPr/>
                    <a:lstStyle/>
                    <a:p>
                      <a:pPr algn="l"/>
                      <a:endParaRPr lang="en-US" sz="800" b="0" noProof="0">
                        <a:solidFill>
                          <a:schemeClr val="tx2"/>
                        </a:solidFill>
                      </a:endParaRPr>
                    </a:p>
                  </a:txBody>
                  <a:tcPr marL="68580" marR="68580" marT="34290" marB="34290">
                    <a:solidFill>
                      <a:srgbClr val="E7E9EE"/>
                    </a:solidFill>
                  </a:tcPr>
                </a:tc>
                <a:tc>
                  <a:txBody>
                    <a:bodyPr/>
                    <a:lstStyle/>
                    <a:p>
                      <a:pPr algn="l"/>
                      <a:r>
                        <a:rPr lang="en-US" sz="800" b="0" noProof="0">
                          <a:solidFill>
                            <a:schemeClr val="tx2"/>
                          </a:solidFill>
                        </a:rPr>
                        <a:t>Nov 2027 (14</a:t>
                      </a:r>
                      <a:r>
                        <a:rPr lang="en-US" sz="800" b="0" baseline="30000" noProof="0">
                          <a:solidFill>
                            <a:schemeClr val="tx2"/>
                          </a:solidFill>
                        </a:rPr>
                        <a:t>th</a:t>
                      </a:r>
                      <a:r>
                        <a:rPr lang="en-US" sz="800" b="0" noProof="0">
                          <a:solidFill>
                            <a:schemeClr val="tx2"/>
                          </a:solidFill>
                        </a:rPr>
                        <a:t> or 21</a:t>
                      </a:r>
                      <a:r>
                        <a:rPr lang="en-US" sz="800" b="0" baseline="30000" noProof="0">
                          <a:solidFill>
                            <a:schemeClr val="tx2"/>
                          </a:solidFill>
                        </a:rPr>
                        <a:t>st</a:t>
                      </a:r>
                      <a:r>
                        <a:rPr lang="en-US" sz="800" b="0" noProof="0">
                          <a:solidFill>
                            <a:schemeClr val="tx2"/>
                          </a:solidFill>
                        </a:rPr>
                        <a:t>)</a:t>
                      </a:r>
                    </a:p>
                  </a:txBody>
                  <a:tcPr marL="68580" marR="68580" marT="34290" marB="34290">
                    <a:solidFill>
                      <a:srgbClr val="E7E9EE"/>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800" b="0" noProof="0">
                          <a:solidFill>
                            <a:schemeClr val="tx2"/>
                          </a:solidFill>
                        </a:rPr>
                        <a:t>Entry into force of 2027 NCT &amp; NCT Inst Scheme Rulebooks</a:t>
                      </a:r>
                    </a:p>
                  </a:txBody>
                  <a:tcPr marL="68580" marR="68580" marT="34290" marB="34290">
                    <a:solidFill>
                      <a:srgbClr val="E7E9EE"/>
                    </a:solidFill>
                  </a:tcPr>
                </a:tc>
                <a:extLst>
                  <a:ext uri="{0D108BD9-81ED-4DB2-BD59-A6C34878D82A}">
                    <a16:rowId xmlns:a16="http://schemas.microsoft.com/office/drawing/2014/main" val="3305959590"/>
                  </a:ext>
                </a:extLst>
              </a:tr>
            </a:tbl>
          </a:graphicData>
        </a:graphic>
      </p:graphicFrame>
      <p:sp>
        <p:nvSpPr>
          <p:cNvPr id="7" name="TextBox 6">
            <a:extLst>
              <a:ext uri="{FF2B5EF4-FFF2-40B4-BE49-F238E27FC236}">
                <a16:creationId xmlns:a16="http://schemas.microsoft.com/office/drawing/2014/main" id="{0E66EFC4-CD1A-CBF8-99AE-9142FCFAA6FC}"/>
              </a:ext>
            </a:extLst>
          </p:cNvPr>
          <p:cNvSpPr txBox="1"/>
          <p:nvPr/>
        </p:nvSpPr>
        <p:spPr>
          <a:xfrm>
            <a:off x="1223956" y="4640564"/>
            <a:ext cx="6185869" cy="200055"/>
          </a:xfrm>
          <a:prstGeom prst="rect">
            <a:avLst/>
          </a:prstGeom>
          <a:noFill/>
        </p:spPr>
        <p:txBody>
          <a:bodyPr wrap="square" rtlCol="0">
            <a:spAutoFit/>
          </a:bodyPr>
          <a:lstStyle/>
          <a:p>
            <a:r>
              <a:rPr lang="fr-BE" sz="700"/>
              <a:t>* </a:t>
            </a:r>
            <a:r>
              <a:rPr lang="en-GB" sz="700" i="1"/>
              <a:t>final 2027 date will be aligned with the final Swift Standards MX Release 2027 date</a:t>
            </a:r>
            <a:endParaRPr lang="en-GB" sz="700"/>
          </a:p>
        </p:txBody>
      </p:sp>
    </p:spTree>
    <p:extLst>
      <p:ext uri="{BB962C8B-B14F-4D97-AF65-F5344CB8AC3E}">
        <p14:creationId xmlns:p14="http://schemas.microsoft.com/office/powerpoint/2010/main" val="42310027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A61BBE14-84FF-DDFA-F741-5E5FFF54489E}"/>
              </a:ext>
            </a:extLst>
          </p:cNvPr>
          <p:cNvSpPr>
            <a:spLocks noGrp="1"/>
          </p:cNvSpPr>
          <p:nvPr>
            <p:ph type="pic" sz="quarter" idx="15"/>
          </p:nvPr>
        </p:nvSpPr>
        <p:spPr/>
        <p:txBody>
          <a:bodyPr/>
          <a:lstStyle/>
          <a:p>
            <a:endParaRPr lang="sv-SE"/>
          </a:p>
        </p:txBody>
      </p:sp>
      <p:sp>
        <p:nvSpPr>
          <p:cNvPr id="8" name="Rubrik 7">
            <a:extLst>
              <a:ext uri="{FF2B5EF4-FFF2-40B4-BE49-F238E27FC236}">
                <a16:creationId xmlns:a16="http://schemas.microsoft.com/office/drawing/2014/main" id="{DA153A75-9BAB-48A8-83A2-9FCD95B7873A}"/>
              </a:ext>
            </a:extLst>
          </p:cNvPr>
          <p:cNvSpPr>
            <a:spLocks noGrp="1"/>
          </p:cNvSpPr>
          <p:nvPr>
            <p:ph type="title"/>
          </p:nvPr>
        </p:nvSpPr>
        <p:spPr/>
        <p:txBody>
          <a:bodyPr/>
          <a:lstStyle/>
          <a:p>
            <a:r>
              <a:rPr lang="en-GB"/>
              <a:t>Suggested Agenda</a:t>
            </a:r>
          </a:p>
        </p:txBody>
      </p:sp>
      <p:sp>
        <p:nvSpPr>
          <p:cNvPr id="10" name="Platshållare för text 9">
            <a:extLst>
              <a:ext uri="{FF2B5EF4-FFF2-40B4-BE49-F238E27FC236}">
                <a16:creationId xmlns:a16="http://schemas.microsoft.com/office/drawing/2014/main" id="{E2C13F72-79EE-419D-B7DC-F46FEB90AF67}"/>
              </a:ext>
            </a:extLst>
          </p:cNvPr>
          <p:cNvSpPr>
            <a:spLocks noGrp="1"/>
          </p:cNvSpPr>
          <p:nvPr>
            <p:ph type="body" sz="quarter" idx="17"/>
          </p:nvPr>
        </p:nvSpPr>
        <p:spPr>
          <a:xfrm>
            <a:off x="381000" y="947738"/>
            <a:ext cx="4093842" cy="3487737"/>
          </a:xfrm>
        </p:spPr>
        <p:txBody>
          <a:bodyPr>
            <a:normAutofit fontScale="92500" lnSpcReduction="10000"/>
          </a:bodyPr>
          <a:lstStyle/>
          <a:p>
            <a:pPr marL="342900" indent="-342900">
              <a:buFont typeface="+mj-lt"/>
              <a:buAutoNum type="arabicPeriod"/>
            </a:pPr>
            <a:r>
              <a:rPr lang="en-GB" sz="1600" b="1"/>
              <a:t>Introduction </a:t>
            </a:r>
          </a:p>
          <a:p>
            <a:pPr marL="342900" indent="-342900">
              <a:buFont typeface="+mj-lt"/>
              <a:buAutoNum type="arabicPeriod"/>
            </a:pPr>
            <a:r>
              <a:rPr lang="en-GB" sz="1600" b="1"/>
              <a:t>Approval of Agenda</a:t>
            </a:r>
          </a:p>
          <a:p>
            <a:pPr marL="342900" indent="-342900">
              <a:buFont typeface="+mj-lt"/>
              <a:buAutoNum type="arabicPeriod"/>
            </a:pPr>
            <a:r>
              <a:rPr lang="en-GB" sz="1600" b="1"/>
              <a:t>Approval of last meeting’s minutes</a:t>
            </a:r>
          </a:p>
          <a:p>
            <a:pPr marL="342900" indent="-342900">
              <a:buFont typeface="+mj-lt"/>
              <a:buAutoNum type="arabicPeriod"/>
            </a:pPr>
            <a:r>
              <a:rPr lang="en-GB" sz="1600" b="1"/>
              <a:t>Appointment of minutes adjuster</a:t>
            </a:r>
          </a:p>
          <a:p>
            <a:pPr marL="342900" indent="-342900">
              <a:buFont typeface="+mj-lt"/>
              <a:buAutoNum type="arabicPeriod"/>
            </a:pPr>
            <a:r>
              <a:rPr lang="en-GB" sz="1600"/>
              <a:t>NPC General information</a:t>
            </a:r>
          </a:p>
          <a:p>
            <a:pPr marL="342900" indent="-342900">
              <a:buFont typeface="+mj-lt"/>
              <a:buAutoNum type="arabicPeriod"/>
            </a:pPr>
            <a:r>
              <a:rPr lang="en-GB" sz="1600"/>
              <a:t>Nordic community update - NO</a:t>
            </a:r>
          </a:p>
          <a:p>
            <a:pPr marL="342900" indent="-342900">
              <a:buFont typeface="+mj-lt"/>
              <a:buAutoNum type="arabicPeriod"/>
            </a:pPr>
            <a:r>
              <a:rPr lang="en-GB" sz="1600"/>
              <a:t>External speaker </a:t>
            </a:r>
          </a:p>
          <a:p>
            <a:pPr marL="342900" indent="-342900">
              <a:buFont typeface="+mj-lt"/>
              <a:buAutoNum type="arabicPeriod"/>
            </a:pPr>
            <a:r>
              <a:rPr lang="en-GB" sz="1600"/>
              <a:t>Nordic community update – SE and DK</a:t>
            </a:r>
          </a:p>
          <a:p>
            <a:pPr marL="0" indent="0">
              <a:buNone/>
            </a:pPr>
            <a:r>
              <a:rPr lang="en-GB" sz="1600" i="1"/>
              <a:t>Break</a:t>
            </a:r>
          </a:p>
          <a:p>
            <a:pPr marL="342900" indent="-342900">
              <a:buFont typeface="+mj-lt"/>
              <a:buAutoNum type="arabicPeriod" startAt="9"/>
            </a:pPr>
            <a:r>
              <a:rPr lang="en-GB" sz="1600"/>
              <a:t>NPC Verification of Payee</a:t>
            </a:r>
          </a:p>
          <a:p>
            <a:pPr marL="342900" indent="-342900">
              <a:buFont typeface="+mj-lt"/>
              <a:buAutoNum type="arabicPeriod" startAt="9"/>
            </a:pPr>
            <a:r>
              <a:rPr lang="en-GB" sz="1600"/>
              <a:t>NPC Payment Schemes</a:t>
            </a:r>
          </a:p>
          <a:p>
            <a:pPr marL="342900" indent="-342900">
              <a:buFont typeface="+mj-lt"/>
              <a:buAutoNum type="arabicPeriod" startAt="9"/>
            </a:pPr>
            <a:r>
              <a:rPr lang="en-GB" sz="1600"/>
              <a:t>Position papers </a:t>
            </a:r>
          </a:p>
          <a:p>
            <a:pPr marL="342900" indent="-342900">
              <a:buFont typeface="+mj-lt"/>
              <a:buAutoNum type="arabicPeriod" startAt="9"/>
            </a:pPr>
            <a:r>
              <a:rPr lang="en-GB" sz="1600"/>
              <a:t>NPC going forward </a:t>
            </a:r>
          </a:p>
          <a:p>
            <a:pPr marL="342900" indent="-342900">
              <a:buFont typeface="+mj-lt"/>
              <a:buAutoNum type="arabicPeriod" startAt="9"/>
            </a:pPr>
            <a:r>
              <a:rPr lang="en-GB" sz="1600"/>
              <a:t>Any other business </a:t>
            </a:r>
          </a:p>
          <a:p>
            <a:pPr marL="342900" indent="-342900">
              <a:buFont typeface="+mj-lt"/>
              <a:buAutoNum type="arabicPeriod" startAt="9"/>
            </a:pPr>
            <a:r>
              <a:rPr lang="en-GB" sz="1600"/>
              <a:t>Closing</a:t>
            </a:r>
          </a:p>
        </p:txBody>
      </p:sp>
      <p:sp>
        <p:nvSpPr>
          <p:cNvPr id="5" name="Platshållare för sidfot 4">
            <a:extLst>
              <a:ext uri="{FF2B5EF4-FFF2-40B4-BE49-F238E27FC236}">
                <a16:creationId xmlns:a16="http://schemas.microsoft.com/office/drawing/2014/main" id="{FF342933-3EEF-46AB-9542-8C81F182AE30}"/>
              </a:ext>
            </a:extLst>
          </p:cNvPr>
          <p:cNvSpPr>
            <a:spLocks noGrp="1"/>
          </p:cNvSpPr>
          <p:nvPr>
            <p:ph type="ftr" sz="quarter" idx="11"/>
          </p:nvPr>
        </p:nvSpPr>
        <p:spPr/>
        <p:txBody>
          <a:bodyPr/>
          <a:lstStyle/>
          <a:p>
            <a:r>
              <a:rPr lang="en-US"/>
              <a:t>Stakeholder Forum Agenda - Classification: External</a:t>
            </a:r>
            <a:endParaRPr lang="en-GB"/>
          </a:p>
        </p:txBody>
      </p:sp>
      <p:sp>
        <p:nvSpPr>
          <p:cNvPr id="6" name="Platshållare för datum 5">
            <a:extLst>
              <a:ext uri="{FF2B5EF4-FFF2-40B4-BE49-F238E27FC236}">
                <a16:creationId xmlns:a16="http://schemas.microsoft.com/office/drawing/2014/main" id="{FD7C64DF-A27C-431F-BC2B-319C3680FC3F}"/>
              </a:ext>
            </a:extLst>
          </p:cNvPr>
          <p:cNvSpPr>
            <a:spLocks noGrp="1"/>
          </p:cNvSpPr>
          <p:nvPr>
            <p:ph type="dt" sz="half" idx="10"/>
          </p:nvPr>
        </p:nvSpPr>
        <p:spPr/>
        <p:txBody>
          <a:bodyPr/>
          <a:lstStyle/>
          <a:p>
            <a:r>
              <a:rPr lang="sv-SE"/>
              <a:t>26/03/2026</a:t>
            </a:r>
            <a:endParaRPr lang="en-GB"/>
          </a:p>
        </p:txBody>
      </p:sp>
      <p:sp>
        <p:nvSpPr>
          <p:cNvPr id="7" name="Platshållare för bildnummer 6">
            <a:extLst>
              <a:ext uri="{FF2B5EF4-FFF2-40B4-BE49-F238E27FC236}">
                <a16:creationId xmlns:a16="http://schemas.microsoft.com/office/drawing/2014/main" id="{FC9AFF2E-92A3-4455-A6AA-291F79E9803A}"/>
              </a:ext>
            </a:extLst>
          </p:cNvPr>
          <p:cNvSpPr>
            <a:spLocks noGrp="1"/>
          </p:cNvSpPr>
          <p:nvPr>
            <p:ph type="sldNum" sz="quarter" idx="12"/>
          </p:nvPr>
        </p:nvSpPr>
        <p:spPr/>
        <p:txBody>
          <a:bodyPr/>
          <a:lstStyle/>
          <a:p>
            <a:fld id="{394EE31B-4DFC-CF4D-9A18-3F5D4D7C7302}" type="slidenum">
              <a:rPr lang="en-GB" smtClean="0"/>
              <a:pPr/>
              <a:t>3</a:t>
            </a:fld>
            <a:endParaRPr lang="en-GB"/>
          </a:p>
        </p:txBody>
      </p:sp>
      <p:pic>
        <p:nvPicPr>
          <p:cNvPr id="11" name="Platshållare för bild 7" descr="En bild som visar person, inomhus, man, stående&#10;&#10;Automatiskt genererad beskrivning">
            <a:extLst>
              <a:ext uri="{FF2B5EF4-FFF2-40B4-BE49-F238E27FC236}">
                <a16:creationId xmlns:a16="http://schemas.microsoft.com/office/drawing/2014/main" id="{E8E6DC83-C4C8-41AE-A8C7-EAC185613A90}"/>
              </a:ext>
            </a:extLst>
          </p:cNvPr>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a:xfrm>
            <a:off x="4572000" y="952574"/>
            <a:ext cx="4156148" cy="3289235"/>
          </a:xfrm>
          <a:prstGeom prst="rect">
            <a:avLst/>
          </a:prstGeom>
        </p:spPr>
      </p:pic>
    </p:spTree>
    <p:extLst>
      <p:ext uri="{BB962C8B-B14F-4D97-AF65-F5344CB8AC3E}">
        <p14:creationId xmlns:p14="http://schemas.microsoft.com/office/powerpoint/2010/main" val="383115381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9DAC18B-794B-E4F3-B74A-309E05B80169}"/>
              </a:ext>
            </a:extLst>
          </p:cNvPr>
          <p:cNvSpPr>
            <a:spLocks noGrp="1"/>
          </p:cNvSpPr>
          <p:nvPr>
            <p:ph type="title"/>
          </p:nvPr>
        </p:nvSpPr>
        <p:spPr/>
        <p:txBody>
          <a:bodyPr/>
          <a:lstStyle/>
          <a:p>
            <a:r>
              <a:rPr lang="en-US" noProof="0"/>
              <a:t>Summary of change requests  </a:t>
            </a:r>
          </a:p>
        </p:txBody>
      </p:sp>
      <p:sp>
        <p:nvSpPr>
          <p:cNvPr id="3" name="Platshållare för text 2">
            <a:extLst>
              <a:ext uri="{FF2B5EF4-FFF2-40B4-BE49-F238E27FC236}">
                <a16:creationId xmlns:a16="http://schemas.microsoft.com/office/drawing/2014/main" id="{C7D85CC8-1F05-D983-1D75-FB58A1D1636E}"/>
              </a:ext>
            </a:extLst>
          </p:cNvPr>
          <p:cNvSpPr>
            <a:spLocks noGrp="1"/>
          </p:cNvSpPr>
          <p:nvPr>
            <p:ph type="body" sz="quarter" idx="17"/>
          </p:nvPr>
        </p:nvSpPr>
        <p:spPr>
          <a:xfrm>
            <a:off x="289559" y="1025058"/>
            <a:ext cx="8370888" cy="3257612"/>
          </a:xfrm>
        </p:spPr>
        <p:txBody>
          <a:bodyPr/>
          <a:lstStyle/>
          <a:p>
            <a:r>
              <a:rPr lang="en-US" sz="1800"/>
              <a:t>4</a:t>
            </a:r>
            <a:r>
              <a:rPr lang="en-US" sz="1800" noProof="0"/>
              <a:t> Internal CRs – brought forward by NCT &amp; NCT Inst WG </a:t>
            </a:r>
          </a:p>
          <a:p>
            <a:r>
              <a:rPr lang="en-US" sz="1800"/>
              <a:t>2 Internal CRs – will be part of the “PSR package” (CRs related to PSR requirements) </a:t>
            </a:r>
          </a:p>
          <a:p>
            <a:r>
              <a:rPr lang="en-US" sz="1800"/>
              <a:t>1 Internal CR - brought forward from NPC Secretariat</a:t>
            </a:r>
          </a:p>
          <a:p>
            <a:pPr marL="190500" lvl="1" indent="-190500">
              <a:buFont typeface="Arial"/>
              <a:buChar char="•"/>
            </a:pPr>
            <a:r>
              <a:rPr lang="en-US"/>
              <a:t>3 External CRs – sent in from the Nordic payment market </a:t>
            </a:r>
          </a:p>
          <a:p>
            <a:pPr marL="0" lvl="1" indent="0">
              <a:buNone/>
            </a:pPr>
            <a:endParaRPr lang="en-US"/>
          </a:p>
          <a:p>
            <a:pPr marL="190500" lvl="1" indent="-190500">
              <a:buFont typeface="Arial"/>
              <a:buChar char="•"/>
            </a:pPr>
            <a:r>
              <a:rPr lang="en-US"/>
              <a:t>Approx 14 EPC CRs relevant for NPC schemes (both Internal and External) </a:t>
            </a:r>
          </a:p>
          <a:p>
            <a:pPr marL="0" lvl="1" indent="0">
              <a:buNone/>
            </a:pPr>
            <a:endParaRPr lang="en-US"/>
          </a:p>
          <a:p>
            <a:pPr marL="190500" lvl="1" indent="-190500">
              <a:buFont typeface="Arial"/>
              <a:buChar char="•"/>
            </a:pPr>
            <a:r>
              <a:rPr lang="en-US" b="1"/>
              <a:t>Uncertainty</a:t>
            </a:r>
            <a:r>
              <a:rPr lang="en-US"/>
              <a:t> about EPC “PSR CRs” – NPC’s “PSR package” </a:t>
            </a:r>
          </a:p>
          <a:p>
            <a:pPr marL="190500" lvl="1" indent="-190500">
              <a:buFont typeface="Arial"/>
              <a:buChar char="•"/>
            </a:pPr>
            <a:r>
              <a:rPr lang="en-US"/>
              <a:t>EPC is currently assessing how to handle “PSR CRs” – most probably there will be a separate publication for these </a:t>
            </a:r>
            <a:endParaRPr lang="en-US" b="1"/>
          </a:p>
          <a:p>
            <a:pPr marL="180975" lvl="1" indent="0">
              <a:buNone/>
            </a:pPr>
            <a:endParaRPr lang="en-US" sz="1600" noProof="0"/>
          </a:p>
        </p:txBody>
      </p:sp>
      <p:sp>
        <p:nvSpPr>
          <p:cNvPr id="4" name="Platshållare för sidfot 3">
            <a:extLst>
              <a:ext uri="{FF2B5EF4-FFF2-40B4-BE49-F238E27FC236}">
                <a16:creationId xmlns:a16="http://schemas.microsoft.com/office/drawing/2014/main" id="{972210C6-A03F-326C-E6EC-B76C4E11A548}"/>
              </a:ext>
            </a:extLst>
          </p:cNvPr>
          <p:cNvSpPr>
            <a:spLocks noGrp="1"/>
          </p:cNvSpPr>
          <p:nvPr>
            <p:ph type="ftr" sz="quarter" idx="11"/>
          </p:nvPr>
        </p:nvSpPr>
        <p:spPr/>
        <p:txBody>
          <a:bodyPr/>
          <a:lstStyle/>
          <a:p>
            <a:r>
              <a:rPr lang="en-US"/>
              <a:t>Stakeholder Forum Agenda - Classification: External</a:t>
            </a:r>
            <a:endParaRPr lang="sv-SE"/>
          </a:p>
        </p:txBody>
      </p:sp>
      <p:sp>
        <p:nvSpPr>
          <p:cNvPr id="5" name="Platshållare för datum 4">
            <a:extLst>
              <a:ext uri="{FF2B5EF4-FFF2-40B4-BE49-F238E27FC236}">
                <a16:creationId xmlns:a16="http://schemas.microsoft.com/office/drawing/2014/main" id="{9B6F0542-4774-53E6-B009-5CA531AD43B5}"/>
              </a:ext>
            </a:extLst>
          </p:cNvPr>
          <p:cNvSpPr>
            <a:spLocks noGrp="1"/>
          </p:cNvSpPr>
          <p:nvPr>
            <p:ph type="dt" sz="half" idx="10"/>
          </p:nvPr>
        </p:nvSpPr>
        <p:spPr/>
        <p:txBody>
          <a:bodyPr/>
          <a:lstStyle/>
          <a:p>
            <a:r>
              <a:rPr lang="sv-SE"/>
              <a:t>26/03/2026</a:t>
            </a:r>
          </a:p>
        </p:txBody>
      </p:sp>
      <p:sp>
        <p:nvSpPr>
          <p:cNvPr id="6" name="Platshållare för bildnummer 5">
            <a:extLst>
              <a:ext uri="{FF2B5EF4-FFF2-40B4-BE49-F238E27FC236}">
                <a16:creationId xmlns:a16="http://schemas.microsoft.com/office/drawing/2014/main" id="{A49CFEC9-6E16-6E4D-FED8-97B79E4B6D1C}"/>
              </a:ext>
            </a:extLst>
          </p:cNvPr>
          <p:cNvSpPr>
            <a:spLocks noGrp="1"/>
          </p:cNvSpPr>
          <p:nvPr>
            <p:ph type="sldNum" sz="quarter" idx="12"/>
          </p:nvPr>
        </p:nvSpPr>
        <p:spPr/>
        <p:txBody>
          <a:bodyPr/>
          <a:lstStyle/>
          <a:p>
            <a:fld id="{394EE31B-4DFC-CF4D-9A18-3F5D4D7C7302}" type="slidenum">
              <a:rPr lang="sv-SE" smtClean="0"/>
              <a:pPr/>
              <a:t>30</a:t>
            </a:fld>
            <a:endParaRPr lang="sv-SE"/>
          </a:p>
        </p:txBody>
      </p:sp>
    </p:spTree>
    <p:extLst>
      <p:ext uri="{BB962C8B-B14F-4D97-AF65-F5344CB8AC3E}">
        <p14:creationId xmlns:p14="http://schemas.microsoft.com/office/powerpoint/2010/main" val="13396474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630640-4D9A-4AF1-B30D-04440708546F}"/>
            </a:ext>
          </a:extLst>
        </p:cNvPr>
        <p:cNvGrpSpPr/>
        <p:nvPr/>
      </p:nvGrpSpPr>
      <p:grpSpPr>
        <a:xfrm>
          <a:off x="0" y="0"/>
          <a:ext cx="0" cy="0"/>
          <a:chOff x="0" y="0"/>
          <a:chExt cx="0" cy="0"/>
        </a:xfrm>
      </p:grpSpPr>
      <p:sp>
        <p:nvSpPr>
          <p:cNvPr id="2" name="Rubrik 1">
            <a:extLst>
              <a:ext uri="{FF2B5EF4-FFF2-40B4-BE49-F238E27FC236}">
                <a16:creationId xmlns:a16="http://schemas.microsoft.com/office/drawing/2014/main" id="{335A2484-3147-0A23-46A4-4321C3AF80B7}"/>
              </a:ext>
            </a:extLst>
          </p:cNvPr>
          <p:cNvSpPr>
            <a:spLocks noGrp="1"/>
          </p:cNvSpPr>
          <p:nvPr>
            <p:ph type="title"/>
          </p:nvPr>
        </p:nvSpPr>
        <p:spPr>
          <a:xfrm>
            <a:off x="120870" y="294982"/>
            <a:ext cx="8370889" cy="340125"/>
          </a:xfrm>
        </p:spPr>
        <p:txBody>
          <a:bodyPr>
            <a:normAutofit/>
          </a:bodyPr>
          <a:lstStyle/>
          <a:p>
            <a:r>
              <a:rPr lang="en-US" sz="2000" noProof="0"/>
              <a:t>NPC Internal and External change requests (NCT &amp; NCT Inst)  </a:t>
            </a:r>
          </a:p>
        </p:txBody>
      </p:sp>
      <p:sp>
        <p:nvSpPr>
          <p:cNvPr id="4" name="Platshållare för sidfot 3">
            <a:extLst>
              <a:ext uri="{FF2B5EF4-FFF2-40B4-BE49-F238E27FC236}">
                <a16:creationId xmlns:a16="http://schemas.microsoft.com/office/drawing/2014/main" id="{178F1993-648C-FEF1-EE4A-EE51AEBA3C8F}"/>
              </a:ext>
            </a:extLst>
          </p:cNvPr>
          <p:cNvSpPr>
            <a:spLocks noGrp="1"/>
          </p:cNvSpPr>
          <p:nvPr>
            <p:ph type="ftr" sz="quarter" idx="11"/>
          </p:nvPr>
        </p:nvSpPr>
        <p:spPr/>
        <p:txBody>
          <a:bodyPr/>
          <a:lstStyle/>
          <a:p>
            <a:r>
              <a:rPr lang="en-US" noProof="0"/>
              <a:t>Stakeholder Forum Agenda - Classification: External</a:t>
            </a:r>
          </a:p>
        </p:txBody>
      </p:sp>
      <p:sp>
        <p:nvSpPr>
          <p:cNvPr id="5" name="Platshållare för datum 4">
            <a:extLst>
              <a:ext uri="{FF2B5EF4-FFF2-40B4-BE49-F238E27FC236}">
                <a16:creationId xmlns:a16="http://schemas.microsoft.com/office/drawing/2014/main" id="{D9A611E9-F2B5-4AAC-0435-E1D5BAC7345E}"/>
              </a:ext>
            </a:extLst>
          </p:cNvPr>
          <p:cNvSpPr>
            <a:spLocks noGrp="1"/>
          </p:cNvSpPr>
          <p:nvPr>
            <p:ph type="dt" sz="half" idx="10"/>
          </p:nvPr>
        </p:nvSpPr>
        <p:spPr/>
        <p:txBody>
          <a:bodyPr/>
          <a:lstStyle/>
          <a:p>
            <a:r>
              <a:rPr lang="sv-SE" noProof="0"/>
              <a:t>26/03/2026</a:t>
            </a:r>
            <a:endParaRPr lang="en-US" noProof="0"/>
          </a:p>
        </p:txBody>
      </p:sp>
      <p:sp>
        <p:nvSpPr>
          <p:cNvPr id="6" name="Platshållare för bildnummer 5">
            <a:extLst>
              <a:ext uri="{FF2B5EF4-FFF2-40B4-BE49-F238E27FC236}">
                <a16:creationId xmlns:a16="http://schemas.microsoft.com/office/drawing/2014/main" id="{88A6E41E-5FDB-1A3C-0511-048E7364D6BD}"/>
              </a:ext>
            </a:extLst>
          </p:cNvPr>
          <p:cNvSpPr>
            <a:spLocks noGrp="1"/>
          </p:cNvSpPr>
          <p:nvPr>
            <p:ph type="sldNum" sz="quarter" idx="12"/>
          </p:nvPr>
        </p:nvSpPr>
        <p:spPr/>
        <p:txBody>
          <a:bodyPr/>
          <a:lstStyle/>
          <a:p>
            <a:fld id="{394EE31B-4DFC-CF4D-9A18-3F5D4D7C7302}" type="slidenum">
              <a:rPr lang="en-US" noProof="0" smtClean="0"/>
              <a:pPr/>
              <a:t>31</a:t>
            </a:fld>
            <a:endParaRPr lang="en-US" noProof="0"/>
          </a:p>
        </p:txBody>
      </p:sp>
      <p:graphicFrame>
        <p:nvGraphicFramePr>
          <p:cNvPr id="7" name="Tabell 7">
            <a:extLst>
              <a:ext uri="{FF2B5EF4-FFF2-40B4-BE49-F238E27FC236}">
                <a16:creationId xmlns:a16="http://schemas.microsoft.com/office/drawing/2014/main" id="{A1AFD967-002C-C6E5-294F-68AA819A81EB}"/>
              </a:ext>
            </a:extLst>
          </p:cNvPr>
          <p:cNvGraphicFramePr>
            <a:graphicFrameLocks noGrp="1"/>
          </p:cNvGraphicFramePr>
          <p:nvPr>
            <p:extLst>
              <p:ext uri="{D42A27DB-BD31-4B8C-83A1-F6EECF244321}">
                <p14:modId xmlns:p14="http://schemas.microsoft.com/office/powerpoint/2010/main" val="2078283849"/>
              </p:ext>
            </p:extLst>
          </p:nvPr>
        </p:nvGraphicFramePr>
        <p:xfrm>
          <a:off x="120870" y="829321"/>
          <a:ext cx="8965980" cy="3061763"/>
        </p:xfrm>
        <a:graphic>
          <a:graphicData uri="http://schemas.openxmlformats.org/drawingml/2006/table">
            <a:tbl>
              <a:tblPr firstRow="1" bandRow="1">
                <a:tableStyleId>{073A0DAA-6AF3-43AB-8588-CEC1D06C72B9}</a:tableStyleId>
              </a:tblPr>
              <a:tblGrid>
                <a:gridCol w="389666">
                  <a:extLst>
                    <a:ext uri="{9D8B030D-6E8A-4147-A177-3AD203B41FA5}">
                      <a16:colId xmlns:a16="http://schemas.microsoft.com/office/drawing/2014/main" val="190798340"/>
                    </a:ext>
                  </a:extLst>
                </a:gridCol>
                <a:gridCol w="426349">
                  <a:extLst>
                    <a:ext uri="{9D8B030D-6E8A-4147-A177-3AD203B41FA5}">
                      <a16:colId xmlns:a16="http://schemas.microsoft.com/office/drawing/2014/main" val="2123922840"/>
                    </a:ext>
                  </a:extLst>
                </a:gridCol>
                <a:gridCol w="4037011">
                  <a:extLst>
                    <a:ext uri="{9D8B030D-6E8A-4147-A177-3AD203B41FA5}">
                      <a16:colId xmlns:a16="http://schemas.microsoft.com/office/drawing/2014/main" val="2141160959"/>
                    </a:ext>
                  </a:extLst>
                </a:gridCol>
                <a:gridCol w="542944">
                  <a:extLst>
                    <a:ext uri="{9D8B030D-6E8A-4147-A177-3AD203B41FA5}">
                      <a16:colId xmlns:a16="http://schemas.microsoft.com/office/drawing/2014/main" val="949145915"/>
                    </a:ext>
                  </a:extLst>
                </a:gridCol>
                <a:gridCol w="530878">
                  <a:extLst>
                    <a:ext uri="{9D8B030D-6E8A-4147-A177-3AD203B41FA5}">
                      <a16:colId xmlns:a16="http://schemas.microsoft.com/office/drawing/2014/main" val="305344991"/>
                    </a:ext>
                  </a:extLst>
                </a:gridCol>
                <a:gridCol w="1520243">
                  <a:extLst>
                    <a:ext uri="{9D8B030D-6E8A-4147-A177-3AD203B41FA5}">
                      <a16:colId xmlns:a16="http://schemas.microsoft.com/office/drawing/2014/main" val="933496745"/>
                    </a:ext>
                  </a:extLst>
                </a:gridCol>
                <a:gridCol w="1518889">
                  <a:extLst>
                    <a:ext uri="{9D8B030D-6E8A-4147-A177-3AD203B41FA5}">
                      <a16:colId xmlns:a16="http://schemas.microsoft.com/office/drawing/2014/main" val="509218815"/>
                    </a:ext>
                  </a:extLst>
                </a:gridCol>
              </a:tblGrid>
              <a:tr h="194054">
                <a:tc>
                  <a:txBody>
                    <a:bodyPr/>
                    <a:lstStyle/>
                    <a:p>
                      <a:pPr algn="ctr"/>
                      <a:r>
                        <a:rPr lang="en-US" sz="700" noProof="0"/>
                        <a:t>EPC Id</a:t>
                      </a:r>
                    </a:p>
                  </a:txBody>
                  <a:tcPr/>
                </a:tc>
                <a:tc>
                  <a:txBody>
                    <a:bodyPr/>
                    <a:lstStyle/>
                    <a:p>
                      <a:pPr algn="ctr"/>
                      <a:r>
                        <a:rPr lang="en-US" sz="700" noProof="0"/>
                        <a:t>NPC </a:t>
                      </a:r>
                    </a:p>
                    <a:p>
                      <a:pPr algn="ctr"/>
                      <a:r>
                        <a:rPr lang="en-US" sz="700" noProof="0"/>
                        <a:t>Id</a:t>
                      </a:r>
                    </a:p>
                  </a:txBody>
                  <a:tcPr/>
                </a:tc>
                <a:tc>
                  <a:txBody>
                    <a:bodyPr/>
                    <a:lstStyle/>
                    <a:p>
                      <a:r>
                        <a:rPr lang="en-US" sz="700" noProof="0"/>
                        <a:t>Name</a:t>
                      </a:r>
                    </a:p>
                  </a:txBody>
                  <a:tcPr/>
                </a:tc>
                <a:tc>
                  <a:txBody>
                    <a:bodyPr/>
                    <a:lstStyle/>
                    <a:p>
                      <a:r>
                        <a:rPr lang="en-US" sz="700" noProof="0"/>
                        <a:t>NCT </a:t>
                      </a:r>
                    </a:p>
                  </a:txBody>
                  <a:tcPr/>
                </a:tc>
                <a:tc>
                  <a:txBody>
                    <a:bodyPr/>
                    <a:lstStyle/>
                    <a:p>
                      <a:r>
                        <a:rPr lang="en-US" sz="700" noProof="0"/>
                        <a:t>NCT Inst </a:t>
                      </a:r>
                    </a:p>
                  </a:txBody>
                  <a:tcPr/>
                </a:tc>
                <a:tc>
                  <a:txBody>
                    <a:bodyPr/>
                    <a:lstStyle/>
                    <a:p>
                      <a:r>
                        <a:rPr lang="en-US" sz="700" noProof="0"/>
                        <a:t>NPC Status</a:t>
                      </a:r>
                    </a:p>
                  </a:txBody>
                  <a:tcPr/>
                </a:tc>
                <a:tc>
                  <a:txBody>
                    <a:bodyPr/>
                    <a:lstStyle/>
                    <a:p>
                      <a:r>
                        <a:rPr lang="en-US" sz="700" noProof="0"/>
                        <a:t>EPC status </a:t>
                      </a:r>
                    </a:p>
                  </a:txBody>
                  <a:tcPr/>
                </a:tc>
                <a:extLst>
                  <a:ext uri="{0D108BD9-81ED-4DB2-BD59-A6C34878D82A}">
                    <a16:rowId xmlns:a16="http://schemas.microsoft.com/office/drawing/2014/main" val="2832658389"/>
                  </a:ext>
                </a:extLst>
              </a:tr>
              <a:tr h="226626">
                <a:tc>
                  <a:txBody>
                    <a:bodyPr/>
                    <a:lstStyle/>
                    <a:p>
                      <a:pPr algn="ctr"/>
                      <a:r>
                        <a:rPr lang="en-US" sz="700" b="1" noProof="0"/>
                        <a:t>N/A</a:t>
                      </a:r>
                    </a:p>
                  </a:txBody>
                  <a:tcPr/>
                </a:tc>
                <a:tc>
                  <a:txBody>
                    <a:bodyPr/>
                    <a:lstStyle/>
                    <a:p>
                      <a:pPr algn="ctr"/>
                      <a:r>
                        <a:rPr lang="en-US" sz="700" noProof="0"/>
                        <a:t>#01</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noProof="0"/>
                        <a:t>NCT_NCT Inst-NPC UETR new attribute number </a:t>
                      </a:r>
                      <a:endParaRPr lang="en-US" sz="700" b="0" noProof="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b="0" noProof="0"/>
                        <a:t>X</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b="0" noProof="0"/>
                        <a:t>X</a:t>
                      </a:r>
                    </a:p>
                  </a:txBody>
                  <a:tcPr/>
                </a:tc>
                <a:tc>
                  <a:txBody>
                    <a:bodyPr/>
                    <a:lstStyle/>
                    <a:p>
                      <a:r>
                        <a:rPr lang="en-US" sz="700" b="1" noProof="0">
                          <a:solidFill>
                            <a:schemeClr val="tx1"/>
                          </a:solidFill>
                        </a:rPr>
                        <a:t>NPC Internal </a:t>
                      </a:r>
                      <a:r>
                        <a:rPr lang="en-US" sz="700" noProof="0">
                          <a:solidFill>
                            <a:schemeClr val="tx1"/>
                          </a:solidFill>
                        </a:rPr>
                        <a:t>– Supported for 2027</a:t>
                      </a:r>
                    </a:p>
                  </a:txBody>
                  <a:tcPr>
                    <a:solidFill>
                      <a:schemeClr val="accent3">
                        <a:lumMod val="20000"/>
                        <a:lumOff val="80000"/>
                      </a:schemeClr>
                    </a:solidFill>
                  </a:tcPr>
                </a:tc>
                <a:tc>
                  <a:txBody>
                    <a:bodyPr/>
                    <a:lstStyle/>
                    <a:p>
                      <a:r>
                        <a:rPr lang="en-US" sz="700" noProof="0">
                          <a:solidFill>
                            <a:schemeClr val="tx1"/>
                          </a:solidFill>
                        </a:rPr>
                        <a:t>EPC CR #03 2027 – Neutral </a:t>
                      </a:r>
                    </a:p>
                    <a:p>
                      <a:r>
                        <a:rPr lang="en-US" sz="700" noProof="0">
                          <a:solidFill>
                            <a:schemeClr val="tx1"/>
                          </a:solidFill>
                        </a:rPr>
                        <a:t>(</a:t>
                      </a:r>
                      <a:r>
                        <a:rPr lang="en-US" sz="700" b="1" noProof="0">
                          <a:solidFill>
                            <a:schemeClr val="tx1"/>
                          </a:solidFill>
                        </a:rPr>
                        <a:t>no recommendation</a:t>
                      </a:r>
                      <a:r>
                        <a:rPr lang="en-US" sz="700" noProof="0">
                          <a:solidFill>
                            <a:schemeClr val="tx1"/>
                          </a:solidFill>
                        </a:rPr>
                        <a:t>)</a:t>
                      </a:r>
                    </a:p>
                  </a:txBody>
                  <a:tcPr>
                    <a:solidFill>
                      <a:schemeClr val="accent3">
                        <a:lumMod val="20000"/>
                        <a:lumOff val="80000"/>
                      </a:schemeClr>
                    </a:solidFill>
                  </a:tcPr>
                </a:tc>
                <a:extLst>
                  <a:ext uri="{0D108BD9-81ED-4DB2-BD59-A6C34878D82A}">
                    <a16:rowId xmlns:a16="http://schemas.microsoft.com/office/drawing/2014/main" val="759966750"/>
                  </a:ext>
                </a:extLst>
              </a:tr>
              <a:tr h="245308">
                <a:tc>
                  <a:txBody>
                    <a:bodyPr/>
                    <a:lstStyle/>
                    <a:p>
                      <a:pPr algn="ctr"/>
                      <a:r>
                        <a:rPr lang="en-US" sz="700" b="1" noProof="0">
                          <a:solidFill>
                            <a:schemeClr val="tx1"/>
                          </a:solidFill>
                        </a:rPr>
                        <a:t>N/A</a:t>
                      </a:r>
                    </a:p>
                  </a:txBody>
                  <a:tcPr/>
                </a:tc>
                <a:tc>
                  <a:txBody>
                    <a:bodyPr/>
                    <a:lstStyle/>
                    <a:p>
                      <a:pPr algn="ctr"/>
                      <a:r>
                        <a:rPr lang="en-US" sz="700" noProof="0">
                          <a:solidFill>
                            <a:schemeClr val="tx1"/>
                          </a:solidFill>
                        </a:rPr>
                        <a:t>#02</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noProof="0"/>
                        <a:t>NCT Inst-NPC-NPC </a:t>
                      </a:r>
                      <a:r>
                        <a:rPr lang="en-GB" sz="700" noProof="0"/>
                        <a:t>Planned period of non-availability in NCT Inst </a:t>
                      </a:r>
                      <a:endParaRPr lang="en-US" sz="700" i="0" noProof="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700" i="0" noProof="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i="0" noProof="0"/>
                        <a:t>X</a:t>
                      </a:r>
                    </a:p>
                  </a:txBody>
                  <a:tcPr/>
                </a:tc>
                <a:tc>
                  <a:txBody>
                    <a:bodyPr/>
                    <a:lstStyle/>
                    <a:p>
                      <a:r>
                        <a:rPr lang="en-US" sz="700" b="1" noProof="0">
                          <a:solidFill>
                            <a:schemeClr val="tx1"/>
                          </a:solidFill>
                        </a:rPr>
                        <a:t>NPC Internal </a:t>
                      </a:r>
                      <a:r>
                        <a:rPr lang="en-US" sz="700" noProof="0">
                          <a:solidFill>
                            <a:schemeClr val="tx1"/>
                          </a:solidFill>
                        </a:rPr>
                        <a:t>– Supported for 2027</a:t>
                      </a:r>
                    </a:p>
                  </a:txBody>
                  <a:tcPr>
                    <a:solidFill>
                      <a:schemeClr val="accent3">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kern="1200" noProof="0">
                          <a:solidFill>
                            <a:schemeClr val="tx1"/>
                          </a:solidFill>
                          <a:latin typeface="+mn-lt"/>
                          <a:ea typeface="+mn-ea"/>
                          <a:cs typeface="+mn-cs"/>
                        </a:rPr>
                        <a:t>Implemented 2025 in SCT Inst </a:t>
                      </a:r>
                    </a:p>
                  </a:txBody>
                  <a:tcPr>
                    <a:solidFill>
                      <a:schemeClr val="accent6">
                        <a:lumMod val="20000"/>
                        <a:lumOff val="80000"/>
                      </a:schemeClr>
                    </a:solidFill>
                  </a:tcPr>
                </a:tc>
                <a:extLst>
                  <a:ext uri="{0D108BD9-81ED-4DB2-BD59-A6C34878D82A}">
                    <a16:rowId xmlns:a16="http://schemas.microsoft.com/office/drawing/2014/main" val="3645649277"/>
                  </a:ext>
                </a:extLst>
              </a:tr>
              <a:tr h="257555">
                <a:tc>
                  <a:txBody>
                    <a:bodyPr/>
                    <a:lstStyle/>
                    <a:p>
                      <a:pPr algn="ctr"/>
                      <a:r>
                        <a:rPr lang="en-US" sz="700" b="1" i="1" noProof="0">
                          <a:solidFill>
                            <a:schemeClr val="tx1"/>
                          </a:solidFill>
                        </a:rPr>
                        <a:t>TBD</a:t>
                      </a:r>
                    </a:p>
                  </a:txBody>
                  <a:tcPr/>
                </a:tc>
                <a:tc>
                  <a:txBody>
                    <a:bodyPr/>
                    <a:lstStyle/>
                    <a:p>
                      <a:pPr algn="ctr"/>
                      <a:r>
                        <a:rPr lang="en-US" sz="700" i="1" noProof="0">
                          <a:solidFill>
                            <a:schemeClr val="tx1"/>
                          </a:solidFill>
                        </a:rPr>
                        <a:t>#03</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i="1" strike="noStrike" noProof="0"/>
                        <a:t>NCT_NCT Inst-NPC-Freeze and Reserve Funds Recall due to Fraud </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700" i="1" kern="1200" noProof="0">
                          <a:solidFill>
                            <a:schemeClr val="tx1"/>
                          </a:solidFill>
                          <a:latin typeface="+mn-lt"/>
                          <a:ea typeface="+mn-ea"/>
                          <a:cs typeface="+mn-cs"/>
                        </a:rPr>
                        <a:t>Suspicious transactions </a:t>
                      </a:r>
                      <a:r>
                        <a:rPr lang="en-US" sz="700" i="1" strike="noStrike" noProof="0"/>
                        <a:t>(PSR article 65 and 69) </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i="1" strike="noStrike" noProof="0"/>
                        <a:t>X</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i="1" strike="noStrike" noProof="0"/>
                        <a:t>X</a:t>
                      </a:r>
                    </a:p>
                  </a:txBody>
                  <a:tcPr/>
                </a:tc>
                <a:tc>
                  <a:txBody>
                    <a:bodyPr/>
                    <a:lstStyle/>
                    <a:p>
                      <a:r>
                        <a:rPr lang="en-US" sz="700" b="1" i="1" noProof="0">
                          <a:solidFill>
                            <a:schemeClr val="tx1"/>
                          </a:solidFill>
                        </a:rPr>
                        <a:t>NPC Internal </a:t>
                      </a:r>
                      <a:r>
                        <a:rPr lang="en-US" sz="700" i="1" noProof="0">
                          <a:solidFill>
                            <a:schemeClr val="tx1"/>
                          </a:solidFill>
                        </a:rPr>
                        <a:t>– Withdrawn for 2027</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700" i="1" kern="1200" noProof="0">
                          <a:solidFill>
                            <a:schemeClr val="tx1"/>
                          </a:solidFill>
                          <a:latin typeface="+mn-lt"/>
                          <a:ea typeface="+mn-ea"/>
                          <a:cs typeface="+mn-cs"/>
                        </a:rPr>
                        <a:t>PSR implementation TBD </a:t>
                      </a:r>
                    </a:p>
                  </a:txBody>
                  <a:tcPr>
                    <a:solidFill>
                      <a:schemeClr val="accent6">
                        <a:lumMod val="40000"/>
                        <a:lumOff val="6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i="1" kern="1200" noProof="0">
                          <a:solidFill>
                            <a:schemeClr val="tx1"/>
                          </a:solidFill>
                          <a:latin typeface="+mn-lt"/>
                          <a:ea typeface="+mn-ea"/>
                          <a:cs typeface="+mn-cs"/>
                        </a:rPr>
                        <a:t>EPC Internal - Withdrawn for 2027</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700" i="1" kern="1200" noProof="0">
                          <a:solidFill>
                            <a:schemeClr val="tx1"/>
                          </a:solidFill>
                          <a:latin typeface="+mn-lt"/>
                          <a:ea typeface="+mn-ea"/>
                          <a:cs typeface="+mn-cs"/>
                        </a:rPr>
                        <a:t>PSR implementation TBD </a:t>
                      </a:r>
                    </a:p>
                  </a:txBody>
                  <a:tcPr>
                    <a:solidFill>
                      <a:schemeClr val="accent6">
                        <a:lumMod val="40000"/>
                        <a:lumOff val="60000"/>
                      </a:schemeClr>
                    </a:solidFill>
                  </a:tcPr>
                </a:tc>
                <a:extLst>
                  <a:ext uri="{0D108BD9-81ED-4DB2-BD59-A6C34878D82A}">
                    <a16:rowId xmlns:a16="http://schemas.microsoft.com/office/drawing/2014/main" val="1211402064"/>
                  </a:ext>
                </a:extLst>
              </a:tr>
              <a:tr h="316849">
                <a:tc>
                  <a:txBody>
                    <a:bodyPr/>
                    <a:lstStyle/>
                    <a:p>
                      <a:pPr algn="ctr"/>
                      <a:r>
                        <a:rPr lang="en-US" sz="700" b="1" i="1" noProof="0">
                          <a:solidFill>
                            <a:schemeClr val="tx1"/>
                          </a:solidFill>
                        </a:rPr>
                        <a:t>TBD</a:t>
                      </a:r>
                    </a:p>
                  </a:txBody>
                  <a:tcPr/>
                </a:tc>
                <a:tc>
                  <a:txBody>
                    <a:bodyPr/>
                    <a:lstStyle/>
                    <a:p>
                      <a:pPr algn="ctr"/>
                      <a:r>
                        <a:rPr lang="en-US" sz="700" i="1" noProof="0">
                          <a:solidFill>
                            <a:schemeClr val="tx1"/>
                          </a:solidFill>
                        </a:rPr>
                        <a:t>#04</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i="1" kern="1200" noProof="0">
                          <a:solidFill>
                            <a:schemeClr val="tx1"/>
                          </a:solidFill>
                          <a:latin typeface="+mn-lt"/>
                          <a:ea typeface="+mn-ea"/>
                          <a:cs typeface="+mn-cs"/>
                        </a:rPr>
                        <a:t>NCT_NCT Inst-NPC-Provision of commercial trade name</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700" i="1" kern="1200" noProof="0">
                          <a:solidFill>
                            <a:schemeClr val="tx1"/>
                          </a:solidFill>
                          <a:latin typeface="+mn-lt"/>
                          <a:ea typeface="+mn-ea"/>
                          <a:cs typeface="+mn-cs"/>
                        </a:rPr>
                        <a:t>Suspicious transactions </a:t>
                      </a:r>
                      <a:r>
                        <a:rPr lang="en-US" sz="700" i="1" strike="noStrike" noProof="0"/>
                        <a:t>(PSR article 16 and 25) </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i="1" strike="noStrike" noProof="0"/>
                        <a:t>X</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i="1" strike="noStrike" noProof="0"/>
                        <a:t>X</a:t>
                      </a:r>
                    </a:p>
                  </a:txBody>
                  <a:tcPr/>
                </a:tc>
                <a:tc>
                  <a:txBody>
                    <a:bodyPr/>
                    <a:lstStyle/>
                    <a:p>
                      <a:r>
                        <a:rPr lang="en-US" sz="700" b="1" i="1" noProof="0">
                          <a:solidFill>
                            <a:schemeClr val="tx1"/>
                          </a:solidFill>
                        </a:rPr>
                        <a:t>NPC Internal </a:t>
                      </a:r>
                      <a:r>
                        <a:rPr lang="en-US" sz="700" i="1" noProof="0">
                          <a:solidFill>
                            <a:schemeClr val="tx1"/>
                          </a:solidFill>
                        </a:rPr>
                        <a:t>- Withdrawn for 2027</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700" i="1" kern="1200" noProof="0">
                          <a:solidFill>
                            <a:schemeClr val="tx1"/>
                          </a:solidFill>
                          <a:latin typeface="+mn-lt"/>
                          <a:ea typeface="+mn-ea"/>
                          <a:cs typeface="+mn-cs"/>
                        </a:rPr>
                        <a:t>PSR implementation TBD </a:t>
                      </a:r>
                    </a:p>
                  </a:txBody>
                  <a:tcPr>
                    <a:solidFill>
                      <a:schemeClr val="accent6">
                        <a:lumMod val="40000"/>
                        <a:lumOff val="6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i="1" kern="1200" noProof="0">
                          <a:solidFill>
                            <a:schemeClr val="tx1"/>
                          </a:solidFill>
                          <a:latin typeface="+mn-lt"/>
                          <a:ea typeface="+mn-ea"/>
                          <a:cs typeface="+mn-cs"/>
                        </a:rPr>
                        <a:t>EPC Internal - Withdrawn for 2027</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700" i="1" kern="1200" noProof="0">
                          <a:solidFill>
                            <a:schemeClr val="tx1"/>
                          </a:solidFill>
                          <a:latin typeface="+mn-lt"/>
                          <a:ea typeface="+mn-ea"/>
                          <a:cs typeface="+mn-cs"/>
                        </a:rPr>
                        <a:t>PSR implementation TBD </a:t>
                      </a:r>
                    </a:p>
                  </a:txBody>
                  <a:tcPr>
                    <a:solidFill>
                      <a:schemeClr val="accent6">
                        <a:lumMod val="40000"/>
                        <a:lumOff val="60000"/>
                      </a:schemeClr>
                    </a:solidFill>
                  </a:tcPr>
                </a:tc>
                <a:extLst>
                  <a:ext uri="{0D108BD9-81ED-4DB2-BD59-A6C34878D82A}">
                    <a16:rowId xmlns:a16="http://schemas.microsoft.com/office/drawing/2014/main" val="4098402160"/>
                  </a:ext>
                </a:extLst>
              </a:tr>
              <a:tr h="268819">
                <a:tc>
                  <a:txBody>
                    <a:bodyPr/>
                    <a:lstStyle/>
                    <a:p>
                      <a:pPr algn="ctr"/>
                      <a:r>
                        <a:rPr lang="en-US" sz="700" b="1" noProof="0">
                          <a:solidFill>
                            <a:schemeClr val="tx1"/>
                          </a:solidFill>
                        </a:rPr>
                        <a:t>#25</a:t>
                      </a:r>
                    </a:p>
                  </a:txBody>
                  <a:tcPr/>
                </a:tc>
                <a:tc>
                  <a:txBody>
                    <a:bodyPr/>
                    <a:lstStyle/>
                    <a:p>
                      <a:pPr algn="ctr"/>
                      <a:r>
                        <a:rPr lang="en-US" sz="700" noProof="0">
                          <a:solidFill>
                            <a:schemeClr val="tx1"/>
                          </a:solidFill>
                        </a:rPr>
                        <a:t>#05</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i="0" strike="noStrike" noProof="0"/>
                        <a:t>NCT_NCT Inst-NPC-Partial refund – Recall due to Fraud</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i="0" strike="noStrike" noProof="0"/>
                        <a:t>X</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i="0" strike="noStrike" noProof="0"/>
                        <a:t>X</a:t>
                      </a:r>
                    </a:p>
                  </a:txBody>
                  <a:tcPr/>
                </a:tc>
                <a:tc>
                  <a:txBody>
                    <a:bodyPr/>
                    <a:lstStyle/>
                    <a:p>
                      <a:r>
                        <a:rPr lang="en-US" sz="700" b="1" noProof="0">
                          <a:solidFill>
                            <a:schemeClr val="tx1"/>
                          </a:solidFill>
                        </a:rPr>
                        <a:t>NPC Internal </a:t>
                      </a:r>
                      <a:r>
                        <a:rPr lang="en-US" sz="700" noProof="0">
                          <a:solidFill>
                            <a:schemeClr val="tx1"/>
                          </a:solidFill>
                        </a:rPr>
                        <a:t>- Supported for 2027 </a:t>
                      </a:r>
                    </a:p>
                  </a:txBody>
                  <a:tcPr>
                    <a:solidFill>
                      <a:schemeClr val="accent3">
                        <a:lumMod val="20000"/>
                        <a:lumOff val="80000"/>
                      </a:schemeClr>
                    </a:solidFill>
                  </a:tcPr>
                </a:tc>
                <a:tc>
                  <a:txBody>
                    <a:bodyPr/>
                    <a:lstStyle/>
                    <a:p>
                      <a:r>
                        <a:rPr lang="en-US" sz="700" noProof="0">
                          <a:solidFill>
                            <a:schemeClr val="tx1"/>
                          </a:solidFill>
                        </a:rPr>
                        <a:t>EPC CR #25 2027 – Neutral  PSR related (</a:t>
                      </a:r>
                      <a:r>
                        <a:rPr lang="en-US" sz="700" b="1" noProof="0">
                          <a:solidFill>
                            <a:schemeClr val="tx1"/>
                          </a:solidFill>
                        </a:rPr>
                        <a:t>no recommendation</a:t>
                      </a:r>
                      <a:r>
                        <a:rPr lang="en-US" sz="700" noProof="0">
                          <a:solidFill>
                            <a:schemeClr val="tx1"/>
                          </a:solidFill>
                        </a:rPr>
                        <a:t>) </a:t>
                      </a:r>
                    </a:p>
                  </a:txBody>
                  <a:tcPr>
                    <a:solidFill>
                      <a:schemeClr val="accent3">
                        <a:lumMod val="20000"/>
                        <a:lumOff val="80000"/>
                      </a:schemeClr>
                    </a:solidFill>
                  </a:tcPr>
                </a:tc>
                <a:extLst>
                  <a:ext uri="{0D108BD9-81ED-4DB2-BD59-A6C34878D82A}">
                    <a16:rowId xmlns:a16="http://schemas.microsoft.com/office/drawing/2014/main" val="1682779777"/>
                  </a:ext>
                </a:extLst>
              </a:tr>
              <a:tr h="0">
                <a:tc>
                  <a:txBody>
                    <a:bodyPr/>
                    <a:lstStyle/>
                    <a:p>
                      <a:pPr algn="ctr"/>
                      <a:r>
                        <a:rPr lang="en-US" sz="700" b="1" noProof="0">
                          <a:solidFill>
                            <a:schemeClr val="tx1"/>
                          </a:solidFill>
                        </a:rPr>
                        <a:t>N/A</a:t>
                      </a:r>
                    </a:p>
                  </a:txBody>
                  <a:tcPr/>
                </a:tc>
                <a:tc>
                  <a:txBody>
                    <a:bodyPr/>
                    <a:lstStyle/>
                    <a:p>
                      <a:pPr algn="ctr"/>
                      <a:r>
                        <a:rPr lang="en-US" sz="700" noProof="0">
                          <a:solidFill>
                            <a:schemeClr val="tx1"/>
                          </a:solidFill>
                        </a:rPr>
                        <a:t>#06</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i="0" noProof="0">
                          <a:solidFill>
                            <a:schemeClr val="tx1"/>
                          </a:solidFill>
                        </a:rPr>
                        <a:t>NCT_NCT Inst-NPC-Changes to Structured Remittance Information, underlying elements </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i="0" noProof="0">
                          <a:solidFill>
                            <a:schemeClr val="tx1"/>
                          </a:solidFill>
                        </a:rPr>
                        <a:t>X</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i="0" noProof="0">
                          <a:solidFill>
                            <a:schemeClr val="tx1"/>
                          </a:solidFill>
                        </a:rPr>
                        <a:t>X</a:t>
                      </a:r>
                    </a:p>
                  </a:txBody>
                  <a:tcPr/>
                </a:tc>
                <a:tc>
                  <a:txBody>
                    <a:bodyPr/>
                    <a:lstStyle/>
                    <a:p>
                      <a:r>
                        <a:rPr lang="en-US" sz="700" b="1" noProof="0">
                          <a:solidFill>
                            <a:schemeClr val="tx1"/>
                          </a:solidFill>
                        </a:rPr>
                        <a:t>NPC Internal </a:t>
                      </a:r>
                      <a:r>
                        <a:rPr lang="en-US" sz="700" noProof="0">
                          <a:solidFill>
                            <a:schemeClr val="tx1"/>
                          </a:solidFill>
                        </a:rPr>
                        <a:t>– Supported for 2027</a:t>
                      </a:r>
                    </a:p>
                  </a:txBody>
                  <a:tcPr>
                    <a:solidFill>
                      <a:schemeClr val="accent3">
                        <a:lumMod val="20000"/>
                        <a:lumOff val="80000"/>
                      </a:schemeClr>
                    </a:solidFill>
                  </a:tcPr>
                </a:tc>
                <a:tc>
                  <a:txBody>
                    <a:bodyPr/>
                    <a:lstStyle/>
                    <a:p>
                      <a:r>
                        <a:rPr lang="en-US" sz="700" noProof="0">
                          <a:solidFill>
                            <a:schemeClr val="tx1"/>
                          </a:solidFill>
                        </a:rPr>
                        <a:t>N/A</a:t>
                      </a:r>
                    </a:p>
                  </a:txBody>
                  <a:tcPr>
                    <a:solidFill>
                      <a:srgbClr val="CBD0DB"/>
                    </a:solidFill>
                  </a:tcPr>
                </a:tc>
                <a:extLst>
                  <a:ext uri="{0D108BD9-81ED-4DB2-BD59-A6C34878D82A}">
                    <a16:rowId xmlns:a16="http://schemas.microsoft.com/office/drawing/2014/main" val="984000927"/>
                  </a:ext>
                </a:extLst>
              </a:tr>
              <a:tr h="241031">
                <a:tc>
                  <a:txBody>
                    <a:bodyPr/>
                    <a:lstStyle/>
                    <a:p>
                      <a:pPr algn="ctr"/>
                      <a:r>
                        <a:rPr lang="en-US" sz="700" b="1" noProof="0">
                          <a:solidFill>
                            <a:schemeClr val="tx1"/>
                          </a:solidFill>
                        </a:rPr>
                        <a:t>N/A</a:t>
                      </a:r>
                    </a:p>
                  </a:txBody>
                  <a:tcPr/>
                </a:tc>
                <a:tc>
                  <a:txBody>
                    <a:bodyPr/>
                    <a:lstStyle/>
                    <a:p>
                      <a:pPr algn="ctr"/>
                      <a:r>
                        <a:rPr lang="en-US" sz="700" noProof="0">
                          <a:solidFill>
                            <a:schemeClr val="tx1"/>
                          </a:solidFill>
                        </a:rPr>
                        <a:t>#07</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700" b="0" i="0" strike="noStrike" noProof="0"/>
                        <a:t>NCT_NCT Inst-NPC- Chief compliance officer to sign Legal opinion </a:t>
                      </a:r>
                      <a:endParaRPr lang="en-US" sz="700" b="0" i="0" strike="noStrike" noProof="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700" i="0" strike="noStrike" noProof="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700" i="0" strike="noStrike" noProof="0"/>
                    </a:p>
                  </a:txBody>
                  <a:tcPr/>
                </a:tc>
                <a:tc>
                  <a:txBody>
                    <a:bodyPr/>
                    <a:lstStyle/>
                    <a:p>
                      <a:r>
                        <a:rPr lang="en-US" sz="700" b="1" noProof="0">
                          <a:solidFill>
                            <a:schemeClr val="tx1"/>
                          </a:solidFill>
                        </a:rPr>
                        <a:t>NPC Internal </a:t>
                      </a:r>
                      <a:r>
                        <a:rPr lang="en-US" sz="700" noProof="0">
                          <a:solidFill>
                            <a:schemeClr val="tx1"/>
                          </a:solidFill>
                        </a:rPr>
                        <a:t>– Supported for 2027</a:t>
                      </a:r>
                    </a:p>
                  </a:txBody>
                  <a:tcPr>
                    <a:solidFill>
                      <a:schemeClr val="accent3">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noProof="0">
                          <a:solidFill>
                            <a:schemeClr val="tx1"/>
                          </a:solidFill>
                        </a:rPr>
                        <a:t>N/A</a:t>
                      </a:r>
                    </a:p>
                  </a:txBody>
                  <a:tcPr>
                    <a:solidFill>
                      <a:srgbClr val="CBD0DB"/>
                    </a:solidFill>
                  </a:tcPr>
                </a:tc>
                <a:extLst>
                  <a:ext uri="{0D108BD9-81ED-4DB2-BD59-A6C34878D82A}">
                    <a16:rowId xmlns:a16="http://schemas.microsoft.com/office/drawing/2014/main" val="4063507125"/>
                  </a:ext>
                </a:extLst>
              </a:tr>
              <a:tr h="231655">
                <a:tc>
                  <a:txBody>
                    <a:bodyPr/>
                    <a:lstStyle/>
                    <a:p>
                      <a:pPr algn="ctr"/>
                      <a:r>
                        <a:rPr lang="en-US" sz="700" b="1" noProof="0">
                          <a:solidFill>
                            <a:schemeClr val="tx1"/>
                          </a:solidFill>
                        </a:rPr>
                        <a:t>#17</a:t>
                      </a:r>
                    </a:p>
                  </a:txBody>
                  <a:tcPr/>
                </a:tc>
                <a:tc>
                  <a:txBody>
                    <a:bodyPr/>
                    <a:lstStyle/>
                    <a:p>
                      <a:pPr algn="ctr"/>
                      <a:r>
                        <a:rPr lang="en-US" sz="700" b="0" noProof="0">
                          <a:solidFill>
                            <a:schemeClr val="tx1"/>
                          </a:solidFill>
                        </a:rPr>
                        <a:t>#08</a:t>
                      </a:r>
                    </a:p>
                    <a:p>
                      <a:pPr algn="ctr"/>
                      <a:r>
                        <a:rPr lang="en-US" sz="700" b="0" noProof="0">
                          <a:solidFill>
                            <a:schemeClr val="tx1"/>
                          </a:solidFill>
                        </a:rPr>
                        <a:t>(#15)</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noProof="0">
                          <a:solidFill>
                            <a:schemeClr val="tx2"/>
                          </a:solidFill>
                        </a:rPr>
                        <a:t>NCT_NCT Inst-FIDA-Funds Transfer Regulation Org Id</a:t>
                      </a:r>
                      <a:endParaRPr lang="en-US" sz="700" b="0" noProof="0">
                        <a:solidFill>
                          <a:schemeClr val="tx2"/>
                        </a:solidFill>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b="0" noProof="0">
                          <a:solidFill>
                            <a:schemeClr val="tx2"/>
                          </a:solidFill>
                        </a:rPr>
                        <a:t>X</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b="0" noProof="0">
                          <a:solidFill>
                            <a:schemeClr val="tx2"/>
                          </a:solidFill>
                        </a:rPr>
                        <a:t>X</a:t>
                      </a:r>
                    </a:p>
                  </a:txBody>
                  <a:tcPr/>
                </a:tc>
                <a:tc>
                  <a:txBody>
                    <a:bodyPr/>
                    <a:lstStyle/>
                    <a:p>
                      <a:r>
                        <a:rPr lang="en-US" sz="700" b="1" noProof="0">
                          <a:solidFill>
                            <a:schemeClr val="tx1"/>
                          </a:solidFill>
                        </a:rPr>
                        <a:t>NPC External </a:t>
                      </a:r>
                      <a:r>
                        <a:rPr lang="en-US" sz="700" noProof="0">
                          <a:solidFill>
                            <a:schemeClr val="tx1"/>
                          </a:solidFill>
                        </a:rPr>
                        <a:t>– Supported for 2027</a:t>
                      </a:r>
                    </a:p>
                  </a:txBody>
                  <a:tcPr>
                    <a:solidFill>
                      <a:schemeClr val="accent3">
                        <a:lumMod val="20000"/>
                        <a:lumOff val="80000"/>
                      </a:schemeClr>
                    </a:solidFill>
                  </a:tcPr>
                </a:tc>
                <a:tc>
                  <a:txBody>
                    <a:bodyPr/>
                    <a:lstStyle/>
                    <a:p>
                      <a:r>
                        <a:rPr lang="en-US" sz="700" noProof="0">
                          <a:solidFill>
                            <a:schemeClr val="tx1"/>
                          </a:solidFill>
                        </a:rPr>
                        <a:t>EPC CR #17 supported for 2027</a:t>
                      </a:r>
                    </a:p>
                  </a:txBody>
                  <a:tcPr>
                    <a:solidFill>
                      <a:schemeClr val="accent3">
                        <a:lumMod val="20000"/>
                        <a:lumOff val="80000"/>
                      </a:schemeClr>
                    </a:solidFill>
                  </a:tcPr>
                </a:tc>
                <a:extLst>
                  <a:ext uri="{0D108BD9-81ED-4DB2-BD59-A6C34878D82A}">
                    <a16:rowId xmlns:a16="http://schemas.microsoft.com/office/drawing/2014/main" val="3828177998"/>
                  </a:ext>
                </a:extLst>
              </a:tr>
              <a:tr h="231655">
                <a:tc>
                  <a:txBody>
                    <a:bodyPr/>
                    <a:lstStyle/>
                    <a:p>
                      <a:pPr algn="ctr"/>
                      <a:r>
                        <a:rPr lang="en-US" sz="700" b="1" noProof="0">
                          <a:solidFill>
                            <a:schemeClr val="tx1"/>
                          </a:solidFill>
                        </a:rPr>
                        <a:t>N/A</a:t>
                      </a:r>
                    </a:p>
                  </a:txBody>
                  <a:tcPr/>
                </a:tc>
                <a:tc>
                  <a:txBody>
                    <a:bodyPr/>
                    <a:lstStyle/>
                    <a:p>
                      <a:pPr algn="ctr"/>
                      <a:r>
                        <a:rPr lang="en-US" sz="700" b="0" noProof="0">
                          <a:solidFill>
                            <a:schemeClr val="tx1"/>
                          </a:solidFill>
                        </a:rPr>
                        <a:t>#09</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i="0" noProof="0">
                          <a:solidFill>
                            <a:schemeClr val="tx1"/>
                          </a:solidFill>
                        </a:rPr>
                        <a:t>NCT_NCT Inst –Riksgälden-Customer to PSP Implementation Guidelines mandatory </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i="0" noProof="0">
                          <a:solidFill>
                            <a:schemeClr val="tx1"/>
                          </a:solidFill>
                        </a:rPr>
                        <a:t>X</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i="0" noProof="0">
                          <a:solidFill>
                            <a:schemeClr val="tx1"/>
                          </a:solidFill>
                        </a:rPr>
                        <a:t>X</a:t>
                      </a:r>
                    </a:p>
                  </a:txBody>
                  <a:tcPr/>
                </a:tc>
                <a:tc>
                  <a:txBody>
                    <a:bodyPr/>
                    <a:lstStyle/>
                    <a:p>
                      <a:r>
                        <a:rPr lang="en-US" sz="700" b="1" noProof="0">
                          <a:solidFill>
                            <a:schemeClr val="tx1"/>
                          </a:solidFill>
                        </a:rPr>
                        <a:t>NPC External </a:t>
                      </a:r>
                      <a:r>
                        <a:rPr lang="en-US" sz="700" noProof="0">
                          <a:solidFill>
                            <a:schemeClr val="tx1"/>
                          </a:solidFill>
                        </a:rPr>
                        <a:t>– </a:t>
                      </a:r>
                      <a:r>
                        <a:rPr lang="en-US" sz="700" b="0" noProof="0">
                          <a:solidFill>
                            <a:schemeClr val="tx1"/>
                          </a:solidFill>
                        </a:rPr>
                        <a:t>Not supported </a:t>
                      </a:r>
                      <a:r>
                        <a:rPr lang="en-US" sz="700" noProof="0">
                          <a:solidFill>
                            <a:schemeClr val="tx1"/>
                          </a:solidFill>
                        </a:rPr>
                        <a:t>for 2027</a:t>
                      </a:r>
                    </a:p>
                  </a:txBody>
                  <a:tcPr>
                    <a:solidFill>
                      <a:schemeClr val="accent1">
                        <a:lumMod val="20000"/>
                        <a:lumOff val="80000"/>
                      </a:schemeClr>
                    </a:solidFill>
                  </a:tcPr>
                </a:tc>
                <a:tc>
                  <a:txBody>
                    <a:bodyPr/>
                    <a:lstStyle/>
                    <a:p>
                      <a:r>
                        <a:rPr lang="en-US" sz="700" noProof="0">
                          <a:solidFill>
                            <a:schemeClr val="tx1"/>
                          </a:solidFill>
                        </a:rPr>
                        <a:t>N/A</a:t>
                      </a:r>
                    </a:p>
                  </a:txBody>
                  <a:tcPr>
                    <a:solidFill>
                      <a:srgbClr val="CBD0DB"/>
                    </a:solidFill>
                  </a:tcPr>
                </a:tc>
                <a:extLst>
                  <a:ext uri="{0D108BD9-81ED-4DB2-BD59-A6C34878D82A}">
                    <a16:rowId xmlns:a16="http://schemas.microsoft.com/office/drawing/2014/main" val="2020544798"/>
                  </a:ext>
                </a:extLst>
              </a:tr>
              <a:tr h="231655">
                <a:tc>
                  <a:txBody>
                    <a:bodyPr/>
                    <a:lstStyle/>
                    <a:p>
                      <a:pPr algn="ctr"/>
                      <a:r>
                        <a:rPr lang="en-US" sz="700" b="1" noProof="0">
                          <a:solidFill>
                            <a:schemeClr val="tx1"/>
                          </a:solidFill>
                        </a:rPr>
                        <a:t>N/A</a:t>
                      </a:r>
                    </a:p>
                  </a:txBody>
                  <a:tcPr/>
                </a:tc>
                <a:tc>
                  <a:txBody>
                    <a:bodyPr/>
                    <a:lstStyle/>
                    <a:p>
                      <a:pPr algn="ctr"/>
                      <a:r>
                        <a:rPr lang="en-US" sz="700" b="0" noProof="0">
                          <a:solidFill>
                            <a:schemeClr val="tx1"/>
                          </a:solidFill>
                        </a:rPr>
                        <a:t>#10</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i="0" noProof="0">
                          <a:solidFill>
                            <a:schemeClr val="tx1"/>
                          </a:solidFill>
                        </a:rPr>
                        <a:t>NCT_NCT Inst-FIDA-Message type </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i="0" noProof="0">
                          <a:solidFill>
                            <a:schemeClr val="tx1"/>
                          </a:solidFill>
                        </a:rPr>
                        <a:t>X</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i="0" noProof="0">
                          <a:solidFill>
                            <a:schemeClr val="tx1"/>
                          </a:solidFill>
                        </a:rPr>
                        <a:t>X</a:t>
                      </a:r>
                    </a:p>
                  </a:txBody>
                  <a:tcPr/>
                </a:tc>
                <a:tc>
                  <a:txBody>
                    <a:bodyPr/>
                    <a:lstStyle/>
                    <a:p>
                      <a:r>
                        <a:rPr lang="en-US" sz="700" b="1" noProof="0">
                          <a:solidFill>
                            <a:schemeClr val="tx1"/>
                          </a:solidFill>
                        </a:rPr>
                        <a:t>NPC External </a:t>
                      </a:r>
                      <a:r>
                        <a:rPr lang="en-US" sz="700" noProof="0">
                          <a:solidFill>
                            <a:schemeClr val="tx1"/>
                          </a:solidFill>
                        </a:rPr>
                        <a:t>- Supported for 2027</a:t>
                      </a:r>
                    </a:p>
                  </a:txBody>
                  <a:tcPr>
                    <a:solidFill>
                      <a:schemeClr val="accent3">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kern="1200" noProof="0">
                          <a:solidFill>
                            <a:schemeClr val="tx1"/>
                          </a:solidFill>
                          <a:latin typeface="+mn-lt"/>
                          <a:ea typeface="+mn-ea"/>
                          <a:cs typeface="+mn-cs"/>
                        </a:rPr>
                        <a:t>Implemented 2025 SCT and SCT Inst </a:t>
                      </a:r>
                    </a:p>
                  </a:txBody>
                  <a:tcPr>
                    <a:solidFill>
                      <a:schemeClr val="accent6">
                        <a:lumMod val="20000"/>
                        <a:lumOff val="80000"/>
                      </a:schemeClr>
                    </a:solidFill>
                  </a:tcPr>
                </a:tc>
                <a:extLst>
                  <a:ext uri="{0D108BD9-81ED-4DB2-BD59-A6C34878D82A}">
                    <a16:rowId xmlns:a16="http://schemas.microsoft.com/office/drawing/2014/main" val="2833585627"/>
                  </a:ext>
                </a:extLst>
              </a:tr>
            </a:tbl>
          </a:graphicData>
        </a:graphic>
      </p:graphicFrame>
    </p:spTree>
    <p:extLst>
      <p:ext uri="{BB962C8B-B14F-4D97-AF65-F5344CB8AC3E}">
        <p14:creationId xmlns:p14="http://schemas.microsoft.com/office/powerpoint/2010/main" val="3317242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10E9F4-72CB-BF76-3B32-CEE22F5A8040}"/>
            </a:ext>
          </a:extLst>
        </p:cNvPr>
        <p:cNvGrpSpPr/>
        <p:nvPr/>
      </p:nvGrpSpPr>
      <p:grpSpPr>
        <a:xfrm>
          <a:off x="0" y="0"/>
          <a:ext cx="0" cy="0"/>
          <a:chOff x="0" y="0"/>
          <a:chExt cx="0" cy="0"/>
        </a:xfrm>
      </p:grpSpPr>
      <p:sp>
        <p:nvSpPr>
          <p:cNvPr id="2" name="Rubrik 1">
            <a:extLst>
              <a:ext uri="{FF2B5EF4-FFF2-40B4-BE49-F238E27FC236}">
                <a16:creationId xmlns:a16="http://schemas.microsoft.com/office/drawing/2014/main" id="{CA6A3CC4-27DE-B3E1-B41B-6A069C2BAE1D}"/>
              </a:ext>
            </a:extLst>
          </p:cNvPr>
          <p:cNvSpPr>
            <a:spLocks noGrp="1"/>
          </p:cNvSpPr>
          <p:nvPr>
            <p:ph type="title"/>
          </p:nvPr>
        </p:nvSpPr>
        <p:spPr>
          <a:xfrm>
            <a:off x="212804" y="425773"/>
            <a:ext cx="8370889" cy="360175"/>
          </a:xfrm>
        </p:spPr>
        <p:txBody>
          <a:bodyPr>
            <a:normAutofit/>
          </a:bodyPr>
          <a:lstStyle/>
          <a:p>
            <a:r>
              <a:rPr lang="en-US" sz="2000" noProof="0"/>
              <a:t>EPC Internal and External change requests (SCT &amp; SCT Inst)  </a:t>
            </a:r>
          </a:p>
        </p:txBody>
      </p:sp>
      <p:sp>
        <p:nvSpPr>
          <p:cNvPr id="4" name="Platshållare för sidfot 3">
            <a:extLst>
              <a:ext uri="{FF2B5EF4-FFF2-40B4-BE49-F238E27FC236}">
                <a16:creationId xmlns:a16="http://schemas.microsoft.com/office/drawing/2014/main" id="{3DE745CD-DF89-2BB5-7E0A-D3F29D06C0BD}"/>
              </a:ext>
            </a:extLst>
          </p:cNvPr>
          <p:cNvSpPr>
            <a:spLocks noGrp="1"/>
          </p:cNvSpPr>
          <p:nvPr>
            <p:ph type="ftr" sz="quarter" idx="11"/>
          </p:nvPr>
        </p:nvSpPr>
        <p:spPr/>
        <p:txBody>
          <a:bodyPr/>
          <a:lstStyle/>
          <a:p>
            <a:r>
              <a:rPr lang="en-US" noProof="0"/>
              <a:t>Stakeholder Forum Agenda - Classification: External</a:t>
            </a:r>
          </a:p>
        </p:txBody>
      </p:sp>
      <p:sp>
        <p:nvSpPr>
          <p:cNvPr id="5" name="Platshållare för datum 4">
            <a:extLst>
              <a:ext uri="{FF2B5EF4-FFF2-40B4-BE49-F238E27FC236}">
                <a16:creationId xmlns:a16="http://schemas.microsoft.com/office/drawing/2014/main" id="{ADB2AFEC-C2B5-35F9-D6EB-F2A673034BF3}"/>
              </a:ext>
            </a:extLst>
          </p:cNvPr>
          <p:cNvSpPr>
            <a:spLocks noGrp="1"/>
          </p:cNvSpPr>
          <p:nvPr>
            <p:ph type="dt" sz="half" idx="10"/>
          </p:nvPr>
        </p:nvSpPr>
        <p:spPr/>
        <p:txBody>
          <a:bodyPr/>
          <a:lstStyle/>
          <a:p>
            <a:r>
              <a:rPr lang="sv-SE" noProof="0"/>
              <a:t>26/03/2026</a:t>
            </a:r>
            <a:endParaRPr lang="en-US" noProof="0"/>
          </a:p>
        </p:txBody>
      </p:sp>
      <p:sp>
        <p:nvSpPr>
          <p:cNvPr id="6" name="Platshållare för bildnummer 5">
            <a:extLst>
              <a:ext uri="{FF2B5EF4-FFF2-40B4-BE49-F238E27FC236}">
                <a16:creationId xmlns:a16="http://schemas.microsoft.com/office/drawing/2014/main" id="{B9081534-5EF4-4C9C-0633-FB01DAC4E764}"/>
              </a:ext>
            </a:extLst>
          </p:cNvPr>
          <p:cNvSpPr>
            <a:spLocks noGrp="1"/>
          </p:cNvSpPr>
          <p:nvPr>
            <p:ph type="sldNum" sz="quarter" idx="12"/>
          </p:nvPr>
        </p:nvSpPr>
        <p:spPr/>
        <p:txBody>
          <a:bodyPr/>
          <a:lstStyle/>
          <a:p>
            <a:fld id="{394EE31B-4DFC-CF4D-9A18-3F5D4D7C7302}" type="slidenum">
              <a:rPr lang="en-US" noProof="0" smtClean="0"/>
              <a:pPr/>
              <a:t>32</a:t>
            </a:fld>
            <a:endParaRPr lang="en-US" noProof="0"/>
          </a:p>
        </p:txBody>
      </p:sp>
      <p:graphicFrame>
        <p:nvGraphicFramePr>
          <p:cNvPr id="7" name="Tabell 7">
            <a:extLst>
              <a:ext uri="{FF2B5EF4-FFF2-40B4-BE49-F238E27FC236}">
                <a16:creationId xmlns:a16="http://schemas.microsoft.com/office/drawing/2014/main" id="{278DDAFC-EF8E-4774-646C-B51E0C465516}"/>
              </a:ext>
            </a:extLst>
          </p:cNvPr>
          <p:cNvGraphicFramePr>
            <a:graphicFrameLocks noGrp="1"/>
          </p:cNvGraphicFramePr>
          <p:nvPr>
            <p:extLst>
              <p:ext uri="{D42A27DB-BD31-4B8C-83A1-F6EECF244321}">
                <p14:modId xmlns:p14="http://schemas.microsoft.com/office/powerpoint/2010/main" val="2954151419"/>
              </p:ext>
            </p:extLst>
          </p:nvPr>
        </p:nvGraphicFramePr>
        <p:xfrm>
          <a:off x="212804" y="1042423"/>
          <a:ext cx="8718391" cy="2624216"/>
        </p:xfrm>
        <a:graphic>
          <a:graphicData uri="http://schemas.openxmlformats.org/drawingml/2006/table">
            <a:tbl>
              <a:tblPr firstRow="1" bandRow="1">
                <a:tableStyleId>{073A0DAA-6AF3-43AB-8588-CEC1D06C72B9}</a:tableStyleId>
              </a:tblPr>
              <a:tblGrid>
                <a:gridCol w="363226">
                  <a:extLst>
                    <a:ext uri="{9D8B030D-6E8A-4147-A177-3AD203B41FA5}">
                      <a16:colId xmlns:a16="http://schemas.microsoft.com/office/drawing/2014/main" val="4049220222"/>
                    </a:ext>
                  </a:extLst>
                </a:gridCol>
                <a:gridCol w="412376">
                  <a:extLst>
                    <a:ext uri="{9D8B030D-6E8A-4147-A177-3AD203B41FA5}">
                      <a16:colId xmlns:a16="http://schemas.microsoft.com/office/drawing/2014/main" val="2778136160"/>
                    </a:ext>
                  </a:extLst>
                </a:gridCol>
                <a:gridCol w="4109417">
                  <a:extLst>
                    <a:ext uri="{9D8B030D-6E8A-4147-A177-3AD203B41FA5}">
                      <a16:colId xmlns:a16="http://schemas.microsoft.com/office/drawing/2014/main" val="2141160959"/>
                    </a:ext>
                  </a:extLst>
                </a:gridCol>
                <a:gridCol w="494675">
                  <a:extLst>
                    <a:ext uri="{9D8B030D-6E8A-4147-A177-3AD203B41FA5}">
                      <a16:colId xmlns:a16="http://schemas.microsoft.com/office/drawing/2014/main" val="1077174619"/>
                    </a:ext>
                  </a:extLst>
                </a:gridCol>
                <a:gridCol w="397240">
                  <a:extLst>
                    <a:ext uri="{9D8B030D-6E8A-4147-A177-3AD203B41FA5}">
                      <a16:colId xmlns:a16="http://schemas.microsoft.com/office/drawing/2014/main" val="2818057643"/>
                    </a:ext>
                  </a:extLst>
                </a:gridCol>
                <a:gridCol w="1647840">
                  <a:extLst>
                    <a:ext uri="{9D8B030D-6E8A-4147-A177-3AD203B41FA5}">
                      <a16:colId xmlns:a16="http://schemas.microsoft.com/office/drawing/2014/main" val="933496745"/>
                    </a:ext>
                  </a:extLst>
                </a:gridCol>
                <a:gridCol w="1293617">
                  <a:extLst>
                    <a:ext uri="{9D8B030D-6E8A-4147-A177-3AD203B41FA5}">
                      <a16:colId xmlns:a16="http://schemas.microsoft.com/office/drawing/2014/main" val="315948566"/>
                    </a:ext>
                  </a:extLst>
                </a:gridCol>
              </a:tblGrid>
              <a:tr h="0">
                <a:tc>
                  <a:txBody>
                    <a:bodyPr/>
                    <a:lstStyle/>
                    <a:p>
                      <a:pPr algn="ctr"/>
                      <a:r>
                        <a:rPr lang="en-US" sz="700" noProof="0"/>
                        <a:t>EPC Id </a:t>
                      </a:r>
                    </a:p>
                  </a:txBody>
                  <a:tcPr/>
                </a:tc>
                <a:tc>
                  <a:txBody>
                    <a:bodyPr/>
                    <a:lstStyle/>
                    <a:p>
                      <a:pPr algn="ctr"/>
                      <a:r>
                        <a:rPr lang="en-US" sz="700" noProof="0"/>
                        <a:t>NPC Id</a:t>
                      </a:r>
                    </a:p>
                  </a:txBody>
                  <a:tcPr/>
                </a:tc>
                <a:tc>
                  <a:txBody>
                    <a:bodyPr/>
                    <a:lstStyle/>
                    <a:p>
                      <a:r>
                        <a:rPr lang="en-US" sz="700" noProof="0"/>
                        <a:t>Name</a:t>
                      </a:r>
                    </a:p>
                  </a:txBody>
                  <a:tcPr/>
                </a:tc>
                <a:tc>
                  <a:txBody>
                    <a:bodyPr/>
                    <a:lstStyle/>
                    <a:p>
                      <a:r>
                        <a:rPr lang="en-US" sz="700" noProof="0"/>
                        <a:t>NCT </a:t>
                      </a:r>
                    </a:p>
                  </a:txBody>
                  <a:tcPr/>
                </a:tc>
                <a:tc>
                  <a:txBody>
                    <a:bodyPr/>
                    <a:lstStyle/>
                    <a:p>
                      <a:r>
                        <a:rPr lang="en-US" sz="700" noProof="0"/>
                        <a:t>NCT Inst </a:t>
                      </a:r>
                    </a:p>
                  </a:txBody>
                  <a:tcPr/>
                </a:tc>
                <a:tc>
                  <a:txBody>
                    <a:bodyPr/>
                    <a:lstStyle/>
                    <a:p>
                      <a:r>
                        <a:rPr lang="en-US" sz="700" noProof="0"/>
                        <a:t>EPC Status</a:t>
                      </a:r>
                    </a:p>
                  </a:txBody>
                  <a:tcPr/>
                </a:tc>
                <a:tc>
                  <a:txBody>
                    <a:bodyPr/>
                    <a:lstStyle/>
                    <a:p>
                      <a:r>
                        <a:rPr lang="en-US" sz="700" noProof="0"/>
                        <a:t>NPC status </a:t>
                      </a:r>
                    </a:p>
                  </a:txBody>
                  <a:tcPr/>
                </a:tc>
                <a:extLst>
                  <a:ext uri="{0D108BD9-81ED-4DB2-BD59-A6C34878D82A}">
                    <a16:rowId xmlns:a16="http://schemas.microsoft.com/office/drawing/2014/main" val="2832658389"/>
                  </a:ext>
                </a:extLst>
              </a:tr>
              <a:tr h="285350">
                <a:tc>
                  <a:txBody>
                    <a:bodyPr/>
                    <a:lstStyle/>
                    <a:p>
                      <a:pPr algn="ctr"/>
                      <a:r>
                        <a:rPr lang="en-US" sz="700" b="1" noProof="0"/>
                        <a:t>#06</a:t>
                      </a:r>
                    </a:p>
                  </a:txBody>
                  <a:tcPr/>
                </a:tc>
                <a:tc>
                  <a:txBody>
                    <a:bodyPr/>
                    <a:lstStyle/>
                    <a:p>
                      <a:pPr algn="ctr"/>
                      <a:r>
                        <a:rPr lang="en-US" sz="700" noProof="0"/>
                        <a:t>#11</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kern="1200" noProof="0">
                          <a:solidFill>
                            <a:schemeClr val="tx1"/>
                          </a:solidFill>
                          <a:latin typeface="+mn-lt"/>
                          <a:ea typeface="+mn-ea"/>
                          <a:cs typeface="+mn-cs"/>
                        </a:rPr>
                        <a:t>All schemes-EPC-Migration to a newer ISO 20022 version for the 2029 rulebooks</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kern="1200" noProof="0">
                          <a:solidFill>
                            <a:schemeClr val="tx1"/>
                          </a:solidFill>
                          <a:latin typeface="+mn-lt"/>
                          <a:ea typeface="+mn-ea"/>
                          <a:cs typeface="+mn-cs"/>
                        </a:rPr>
                        <a:t>X</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kern="1200" noProof="0">
                          <a:solidFill>
                            <a:schemeClr val="tx1"/>
                          </a:solidFill>
                          <a:latin typeface="+mn-lt"/>
                          <a:ea typeface="+mn-ea"/>
                          <a:cs typeface="+mn-cs"/>
                        </a:rPr>
                        <a:t>X</a:t>
                      </a:r>
                    </a:p>
                  </a:txBody>
                  <a:tcPr/>
                </a:tc>
                <a:tc>
                  <a:txBody>
                    <a:bodyPr/>
                    <a:lstStyle/>
                    <a:p>
                      <a:pPr marL="0" algn="l" defTabSz="457200" rtl="0" eaLnBrk="1" latinLnBrk="0" hangingPunct="1"/>
                      <a:r>
                        <a:rPr lang="en-US" sz="700" b="1" kern="1200" noProof="0">
                          <a:solidFill>
                            <a:schemeClr val="tx1"/>
                          </a:solidFill>
                          <a:latin typeface="+mn-lt"/>
                          <a:ea typeface="+mn-ea"/>
                          <a:cs typeface="+mn-cs"/>
                        </a:rPr>
                        <a:t>EPC Internal </a:t>
                      </a:r>
                      <a:r>
                        <a:rPr lang="en-US" sz="700" kern="1200" noProof="0">
                          <a:solidFill>
                            <a:schemeClr val="tx1"/>
                          </a:solidFill>
                          <a:latin typeface="+mn-lt"/>
                          <a:ea typeface="+mn-ea"/>
                          <a:cs typeface="+mn-cs"/>
                        </a:rPr>
                        <a:t>- Supported for 2027 </a:t>
                      </a:r>
                      <a:r>
                        <a:rPr lang="en-US" sz="700" kern="1200" noProof="0">
                          <a:solidFill>
                            <a:schemeClr val="tx1"/>
                          </a:solidFill>
                          <a:latin typeface="+mn-lt"/>
                          <a:ea typeface="+mn-ea"/>
                          <a:cs typeface="+mn-cs"/>
                          <a:sym typeface="Wingdings" panose="05000000000000000000" pitchFamily="2" charset="2"/>
                        </a:rPr>
                        <a:t> </a:t>
                      </a:r>
                      <a:r>
                        <a:rPr lang="en-US" sz="700" b="1" kern="1200" noProof="0">
                          <a:solidFill>
                            <a:schemeClr val="tx1"/>
                          </a:solidFill>
                          <a:latin typeface="+mn-lt"/>
                          <a:ea typeface="+mn-ea"/>
                          <a:cs typeface="+mn-cs"/>
                          <a:sym typeface="Wingdings" panose="05000000000000000000" pitchFamily="2" charset="2"/>
                        </a:rPr>
                        <a:t>2029</a:t>
                      </a:r>
                      <a:endParaRPr lang="en-US" sz="700" b="1" kern="1200" noProof="0">
                        <a:solidFill>
                          <a:schemeClr val="tx1"/>
                        </a:solidFill>
                        <a:latin typeface="+mn-lt"/>
                        <a:ea typeface="+mn-ea"/>
                        <a:cs typeface="+mn-cs"/>
                      </a:endParaRPr>
                    </a:p>
                  </a:txBody>
                  <a:tcPr>
                    <a:solidFill>
                      <a:schemeClr val="accent3">
                        <a:lumMod val="20000"/>
                        <a:lumOff val="80000"/>
                      </a:schemeClr>
                    </a:solidFill>
                  </a:tcPr>
                </a:tc>
                <a:tc>
                  <a:txBody>
                    <a:bodyPr/>
                    <a:lstStyle/>
                    <a:p>
                      <a:pPr marL="0" algn="l" defTabSz="457200" rtl="0" eaLnBrk="1" latinLnBrk="0" hangingPunct="1"/>
                      <a:r>
                        <a:rPr lang="en-US" sz="700" kern="1200" noProof="0">
                          <a:solidFill>
                            <a:schemeClr val="tx1"/>
                          </a:solidFill>
                          <a:latin typeface="+mn-lt"/>
                          <a:ea typeface="+mn-ea"/>
                          <a:cs typeface="+mn-cs"/>
                        </a:rPr>
                        <a:t>Supported for 2027 </a:t>
                      </a:r>
                      <a:r>
                        <a:rPr lang="en-US" sz="700" kern="1200" noProof="0">
                          <a:solidFill>
                            <a:schemeClr val="tx1"/>
                          </a:solidFill>
                          <a:latin typeface="+mn-lt"/>
                          <a:ea typeface="+mn-ea"/>
                          <a:cs typeface="+mn-cs"/>
                          <a:sym typeface="Wingdings" panose="05000000000000000000" pitchFamily="2" charset="2"/>
                        </a:rPr>
                        <a:t> </a:t>
                      </a:r>
                      <a:r>
                        <a:rPr lang="en-US" sz="700" b="1" kern="1200" noProof="0">
                          <a:solidFill>
                            <a:schemeClr val="tx1"/>
                          </a:solidFill>
                          <a:latin typeface="+mn-lt"/>
                          <a:ea typeface="+mn-ea"/>
                          <a:cs typeface="+mn-cs"/>
                          <a:sym typeface="Wingdings" panose="05000000000000000000" pitchFamily="2" charset="2"/>
                        </a:rPr>
                        <a:t>2029</a:t>
                      </a:r>
                      <a:endParaRPr lang="en-US" sz="700" b="1" kern="1200" noProof="0">
                        <a:solidFill>
                          <a:schemeClr val="tx1"/>
                        </a:solidFill>
                        <a:latin typeface="+mn-lt"/>
                        <a:ea typeface="+mn-ea"/>
                        <a:cs typeface="+mn-cs"/>
                      </a:endParaRPr>
                    </a:p>
                  </a:txBody>
                  <a:tcPr>
                    <a:solidFill>
                      <a:schemeClr val="accent3">
                        <a:lumMod val="20000"/>
                        <a:lumOff val="80000"/>
                      </a:schemeClr>
                    </a:solidFill>
                  </a:tcPr>
                </a:tc>
                <a:extLst>
                  <a:ext uri="{0D108BD9-81ED-4DB2-BD59-A6C34878D82A}">
                    <a16:rowId xmlns:a16="http://schemas.microsoft.com/office/drawing/2014/main" val="759966750"/>
                  </a:ext>
                </a:extLst>
              </a:tr>
              <a:tr h="156936">
                <a:tc>
                  <a:txBody>
                    <a:bodyPr/>
                    <a:lstStyle/>
                    <a:p>
                      <a:pPr algn="ctr"/>
                      <a:r>
                        <a:rPr lang="en-US" sz="700" b="1" strike="noStrike" noProof="0">
                          <a:solidFill>
                            <a:schemeClr val="tx1"/>
                          </a:solidFill>
                        </a:rPr>
                        <a:t>#07</a:t>
                      </a:r>
                    </a:p>
                  </a:txBody>
                  <a:tcPr/>
                </a:tc>
                <a:tc>
                  <a:txBody>
                    <a:bodyPr/>
                    <a:lstStyle/>
                    <a:p>
                      <a:pPr algn="ctr"/>
                      <a:r>
                        <a:rPr lang="en-US" sz="700" strike="noStrike" noProof="0">
                          <a:solidFill>
                            <a:schemeClr val="tx1"/>
                          </a:solidFill>
                        </a:rPr>
                        <a:t>#12</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b="0" strike="noStrike" noProof="0">
                          <a:solidFill>
                            <a:schemeClr val="tx1"/>
                          </a:solidFill>
                        </a:rPr>
                        <a:t>All schemes-EPC-Amendments to rulebook stipulations on Additional Optional Services (AOSs)</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b="0" strike="noStrike" noProof="0">
                          <a:solidFill>
                            <a:schemeClr val="tx1"/>
                          </a:solidFill>
                        </a:rPr>
                        <a:t>X</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b="0" strike="noStrike" noProof="0">
                          <a:solidFill>
                            <a:schemeClr val="tx1"/>
                          </a:solidFill>
                        </a:rPr>
                        <a:t>X</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b="1" kern="1200" noProof="0">
                          <a:solidFill>
                            <a:schemeClr val="tx1"/>
                          </a:solidFill>
                          <a:latin typeface="+mn-lt"/>
                          <a:ea typeface="+mn-ea"/>
                          <a:cs typeface="+mn-cs"/>
                        </a:rPr>
                        <a:t>EPC External </a:t>
                      </a:r>
                      <a:r>
                        <a:rPr lang="en-US" sz="700" kern="1200" noProof="0">
                          <a:solidFill>
                            <a:schemeClr val="tx1"/>
                          </a:solidFill>
                          <a:latin typeface="+mn-lt"/>
                          <a:ea typeface="+mn-ea"/>
                          <a:cs typeface="+mn-cs"/>
                        </a:rPr>
                        <a:t>– Supported for 2027</a:t>
                      </a:r>
                    </a:p>
                  </a:txBody>
                  <a:tcPr>
                    <a:solidFill>
                      <a:schemeClr val="accent3">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kern="1200" noProof="0">
                          <a:solidFill>
                            <a:schemeClr val="tx1"/>
                          </a:solidFill>
                          <a:latin typeface="+mn-lt"/>
                          <a:ea typeface="+mn-ea"/>
                          <a:cs typeface="+mn-cs"/>
                        </a:rPr>
                        <a:t>Supported for 2027</a:t>
                      </a:r>
                    </a:p>
                  </a:txBody>
                  <a:tcPr>
                    <a:solidFill>
                      <a:schemeClr val="accent3">
                        <a:lumMod val="20000"/>
                        <a:lumOff val="80000"/>
                      </a:schemeClr>
                    </a:solidFill>
                  </a:tcPr>
                </a:tc>
                <a:extLst>
                  <a:ext uri="{0D108BD9-81ED-4DB2-BD59-A6C34878D82A}">
                    <a16:rowId xmlns:a16="http://schemas.microsoft.com/office/drawing/2014/main" val="3877679160"/>
                  </a:ext>
                </a:extLst>
              </a:tr>
              <a:tr h="245308">
                <a:tc>
                  <a:txBody>
                    <a:bodyPr/>
                    <a:lstStyle/>
                    <a:p>
                      <a:pPr algn="ctr"/>
                      <a:r>
                        <a:rPr lang="en-US" sz="700" b="1" noProof="0">
                          <a:solidFill>
                            <a:schemeClr val="tx1"/>
                          </a:solidFill>
                        </a:rPr>
                        <a:t>#08</a:t>
                      </a:r>
                    </a:p>
                  </a:txBody>
                  <a:tcPr/>
                </a:tc>
                <a:tc>
                  <a:txBody>
                    <a:bodyPr/>
                    <a:lstStyle/>
                    <a:p>
                      <a:pPr algn="ctr"/>
                      <a:r>
                        <a:rPr lang="en-US" sz="700" noProof="0">
                          <a:solidFill>
                            <a:schemeClr val="tx1"/>
                          </a:solidFill>
                        </a:rPr>
                        <a:t>#13</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b="0" noProof="0">
                          <a:solidFill>
                            <a:schemeClr val="tx1"/>
                          </a:solidFill>
                        </a:rPr>
                        <a:t>All schemes-EPC-Consistent Use of Term Payment Account</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b="0" noProof="0">
                          <a:solidFill>
                            <a:schemeClr val="tx1"/>
                          </a:solidFill>
                        </a:rPr>
                        <a:t>X</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b="0" noProof="0">
                          <a:solidFill>
                            <a:schemeClr val="tx1"/>
                          </a:solidFill>
                        </a:rPr>
                        <a:t>X</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b="1" kern="1200" noProof="0">
                          <a:solidFill>
                            <a:schemeClr val="tx1"/>
                          </a:solidFill>
                          <a:latin typeface="+mn-lt"/>
                          <a:ea typeface="+mn-ea"/>
                          <a:cs typeface="+mn-cs"/>
                        </a:rPr>
                        <a:t>EPC External </a:t>
                      </a:r>
                      <a:r>
                        <a:rPr lang="en-US" sz="700" kern="1200" noProof="0">
                          <a:solidFill>
                            <a:schemeClr val="tx1"/>
                          </a:solidFill>
                          <a:latin typeface="+mn-lt"/>
                          <a:ea typeface="+mn-ea"/>
                          <a:cs typeface="+mn-cs"/>
                        </a:rPr>
                        <a:t>– Supported for 2027</a:t>
                      </a:r>
                    </a:p>
                  </a:txBody>
                  <a:tcPr>
                    <a:solidFill>
                      <a:schemeClr val="accent3">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kern="1200" noProof="0">
                          <a:solidFill>
                            <a:schemeClr val="tx1"/>
                          </a:solidFill>
                          <a:latin typeface="+mn-lt"/>
                          <a:ea typeface="+mn-ea"/>
                          <a:cs typeface="+mn-cs"/>
                        </a:rPr>
                        <a:t>Supported for 2027</a:t>
                      </a:r>
                    </a:p>
                  </a:txBody>
                  <a:tcPr>
                    <a:solidFill>
                      <a:schemeClr val="accent3">
                        <a:lumMod val="20000"/>
                        <a:lumOff val="80000"/>
                      </a:schemeClr>
                    </a:solidFill>
                  </a:tcPr>
                </a:tc>
                <a:extLst>
                  <a:ext uri="{0D108BD9-81ED-4DB2-BD59-A6C34878D82A}">
                    <a16:rowId xmlns:a16="http://schemas.microsoft.com/office/drawing/2014/main" val="717778761"/>
                  </a:ext>
                </a:extLst>
              </a:tr>
              <a:tr h="245308">
                <a:tc>
                  <a:txBody>
                    <a:bodyPr/>
                    <a:lstStyle/>
                    <a:p>
                      <a:pPr algn="ctr"/>
                      <a:r>
                        <a:rPr lang="en-US" sz="700" b="1" noProof="0">
                          <a:solidFill>
                            <a:schemeClr val="tx1"/>
                          </a:solidFill>
                        </a:rPr>
                        <a:t>#10</a:t>
                      </a:r>
                    </a:p>
                  </a:txBody>
                  <a:tcPr/>
                </a:tc>
                <a:tc>
                  <a:txBody>
                    <a:bodyPr/>
                    <a:lstStyle/>
                    <a:p>
                      <a:pPr algn="ctr"/>
                      <a:r>
                        <a:rPr lang="en-US" sz="700" noProof="0">
                          <a:solidFill>
                            <a:schemeClr val="tx1"/>
                          </a:solidFill>
                        </a:rPr>
                        <a:t>#14</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i="0" noProof="0"/>
                        <a:t>SCT Inst-EPC-Beneficiary Initiated Repayment</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700" i="0" noProof="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i="0" noProof="0"/>
                        <a:t>X</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b="1" noProof="0">
                          <a:solidFill>
                            <a:schemeClr val="tx1"/>
                          </a:solidFill>
                        </a:rPr>
                        <a:t>EPC Internal </a:t>
                      </a:r>
                      <a:r>
                        <a:rPr lang="en-US" sz="700" noProof="0">
                          <a:solidFill>
                            <a:schemeClr val="tx1"/>
                          </a:solidFill>
                        </a:rPr>
                        <a:t>– Supported for 2027 </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700" noProof="0">
                          <a:solidFill>
                            <a:schemeClr val="tx1"/>
                          </a:solidFill>
                        </a:rPr>
                        <a:t>(asking PC for input) </a:t>
                      </a:r>
                    </a:p>
                  </a:txBody>
                  <a:tcPr>
                    <a:solidFill>
                      <a:schemeClr val="accent3">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noProof="0">
                          <a:solidFill>
                            <a:schemeClr val="tx1"/>
                          </a:solidFill>
                        </a:rPr>
                        <a:t>Supported for 2027 </a:t>
                      </a:r>
                    </a:p>
                  </a:txBody>
                  <a:tcPr>
                    <a:solidFill>
                      <a:schemeClr val="accent3">
                        <a:lumMod val="20000"/>
                        <a:lumOff val="80000"/>
                      </a:schemeClr>
                    </a:solidFill>
                  </a:tcPr>
                </a:tc>
                <a:extLst>
                  <a:ext uri="{0D108BD9-81ED-4DB2-BD59-A6C34878D82A}">
                    <a16:rowId xmlns:a16="http://schemas.microsoft.com/office/drawing/2014/main" val="3391019654"/>
                  </a:ext>
                </a:extLst>
              </a:tr>
              <a:tr h="245308">
                <a:tc>
                  <a:txBody>
                    <a:bodyPr/>
                    <a:lstStyle/>
                    <a:p>
                      <a:pPr algn="ctr"/>
                      <a:r>
                        <a:rPr lang="en-US" sz="700" b="1" noProof="0">
                          <a:solidFill>
                            <a:schemeClr val="tx1"/>
                          </a:solidFill>
                        </a:rPr>
                        <a:t>#17</a:t>
                      </a:r>
                    </a:p>
                  </a:txBody>
                  <a:tcPr/>
                </a:tc>
                <a:tc>
                  <a:txBody>
                    <a:bodyPr/>
                    <a:lstStyle/>
                    <a:p>
                      <a:pPr algn="ctr"/>
                      <a:r>
                        <a:rPr lang="en-US" sz="700" noProof="0">
                          <a:solidFill>
                            <a:schemeClr val="tx1"/>
                          </a:solidFill>
                        </a:rPr>
                        <a:t>#15</a:t>
                      </a:r>
                    </a:p>
                    <a:p>
                      <a:pPr algn="ctr"/>
                      <a:r>
                        <a:rPr lang="en-US" sz="700" noProof="0">
                          <a:solidFill>
                            <a:schemeClr val="tx1"/>
                          </a:solidFill>
                        </a:rPr>
                        <a:t>(#08)</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i="0" noProof="0">
                          <a:solidFill>
                            <a:schemeClr val="tx1"/>
                          </a:solidFill>
                        </a:rPr>
                        <a:t>All schemes-EPC-Changes to (Ultimate) Creditor-Debtor Organization and Private Identification</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i="0" noProof="0">
                          <a:solidFill>
                            <a:schemeClr val="tx1"/>
                          </a:solidFill>
                        </a:rPr>
                        <a:t>X</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i="0" noProof="0">
                          <a:solidFill>
                            <a:schemeClr val="tx1"/>
                          </a:solidFill>
                        </a:rPr>
                        <a:t>X</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b="1" kern="1200" noProof="0">
                          <a:solidFill>
                            <a:schemeClr val="tx1"/>
                          </a:solidFill>
                          <a:latin typeface="+mn-lt"/>
                          <a:ea typeface="+mn-ea"/>
                          <a:cs typeface="+mn-cs"/>
                        </a:rPr>
                        <a:t>EPC External </a:t>
                      </a:r>
                      <a:r>
                        <a:rPr lang="en-US" sz="700" kern="1200" noProof="0">
                          <a:solidFill>
                            <a:schemeClr val="tx1"/>
                          </a:solidFill>
                          <a:latin typeface="+mn-lt"/>
                          <a:ea typeface="+mn-ea"/>
                          <a:cs typeface="+mn-cs"/>
                        </a:rPr>
                        <a:t>– Supported for 2027</a:t>
                      </a:r>
                    </a:p>
                  </a:txBody>
                  <a:tcPr>
                    <a:solidFill>
                      <a:schemeClr val="accent3">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kern="1200" noProof="0">
                          <a:solidFill>
                            <a:schemeClr val="tx1"/>
                          </a:solidFill>
                          <a:latin typeface="+mn-lt"/>
                          <a:ea typeface="+mn-ea"/>
                          <a:cs typeface="+mn-cs"/>
                        </a:rPr>
                        <a:t>Supported for 2027</a:t>
                      </a:r>
                      <a:endParaRPr lang="en-US" sz="700" b="1" noProof="0">
                        <a:solidFill>
                          <a:schemeClr val="tx1"/>
                        </a:solidFill>
                      </a:endParaRPr>
                    </a:p>
                  </a:txBody>
                  <a:tcPr>
                    <a:solidFill>
                      <a:schemeClr val="accent3">
                        <a:lumMod val="20000"/>
                        <a:lumOff val="80000"/>
                      </a:schemeClr>
                    </a:solidFill>
                  </a:tcPr>
                </a:tc>
                <a:extLst>
                  <a:ext uri="{0D108BD9-81ED-4DB2-BD59-A6C34878D82A}">
                    <a16:rowId xmlns:a16="http://schemas.microsoft.com/office/drawing/2014/main" val="2515354981"/>
                  </a:ext>
                </a:extLst>
              </a:tr>
              <a:tr h="245308">
                <a:tc>
                  <a:txBody>
                    <a:bodyPr/>
                    <a:lstStyle/>
                    <a:p>
                      <a:pPr algn="ctr"/>
                      <a:r>
                        <a:rPr lang="en-US" sz="700" b="1" noProof="0"/>
                        <a:t>#18</a:t>
                      </a:r>
                    </a:p>
                  </a:txBody>
                  <a:tcPr/>
                </a:tc>
                <a:tc>
                  <a:txBody>
                    <a:bodyPr/>
                    <a:lstStyle/>
                    <a:p>
                      <a:pPr algn="ctr"/>
                      <a:r>
                        <a:rPr lang="en-US" sz="700" noProof="0"/>
                        <a:t>#16</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kern="1200" noProof="0">
                          <a:solidFill>
                            <a:schemeClr val="tx1"/>
                          </a:solidFill>
                          <a:latin typeface="+mn-lt"/>
                          <a:ea typeface="+mn-ea"/>
                          <a:cs typeface="+mn-cs"/>
                        </a:rPr>
                        <a:t>All schemes-EPC-Changes to Structured Remittance Information</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kern="1200" noProof="0">
                          <a:solidFill>
                            <a:schemeClr val="tx1"/>
                          </a:solidFill>
                          <a:latin typeface="+mn-lt"/>
                          <a:ea typeface="+mn-ea"/>
                          <a:cs typeface="+mn-cs"/>
                        </a:rPr>
                        <a:t>X</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kern="1200" noProof="0">
                          <a:solidFill>
                            <a:schemeClr val="tx1"/>
                          </a:solidFill>
                          <a:latin typeface="+mn-lt"/>
                          <a:ea typeface="+mn-ea"/>
                          <a:cs typeface="+mn-cs"/>
                        </a:rPr>
                        <a:t>X</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b="1" kern="1200" noProof="0">
                          <a:solidFill>
                            <a:schemeClr val="tx1"/>
                          </a:solidFill>
                          <a:latin typeface="+mn-lt"/>
                          <a:ea typeface="+mn-ea"/>
                          <a:cs typeface="+mn-cs"/>
                        </a:rPr>
                        <a:t>EPC External </a:t>
                      </a:r>
                      <a:r>
                        <a:rPr lang="en-US" sz="700" kern="1200" noProof="0">
                          <a:solidFill>
                            <a:schemeClr val="tx1"/>
                          </a:solidFill>
                          <a:latin typeface="+mn-lt"/>
                          <a:ea typeface="+mn-ea"/>
                          <a:cs typeface="+mn-cs"/>
                        </a:rPr>
                        <a:t>– Supported for 2027</a:t>
                      </a:r>
                    </a:p>
                  </a:txBody>
                  <a:tcPr>
                    <a:solidFill>
                      <a:schemeClr val="accent3">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kern="1200" noProof="0">
                          <a:solidFill>
                            <a:schemeClr val="tx1"/>
                          </a:solidFill>
                          <a:latin typeface="+mn-lt"/>
                          <a:ea typeface="+mn-ea"/>
                          <a:cs typeface="+mn-cs"/>
                        </a:rPr>
                        <a:t>Supported for 2027</a:t>
                      </a:r>
                    </a:p>
                  </a:txBody>
                  <a:tcPr>
                    <a:solidFill>
                      <a:schemeClr val="accent3">
                        <a:lumMod val="20000"/>
                        <a:lumOff val="80000"/>
                      </a:schemeClr>
                    </a:solidFill>
                  </a:tcPr>
                </a:tc>
                <a:extLst>
                  <a:ext uri="{0D108BD9-81ED-4DB2-BD59-A6C34878D82A}">
                    <a16:rowId xmlns:a16="http://schemas.microsoft.com/office/drawing/2014/main" val="1403185967"/>
                  </a:ext>
                </a:extLst>
              </a:tr>
              <a:tr h="245308">
                <a:tc>
                  <a:txBody>
                    <a:bodyPr/>
                    <a:lstStyle/>
                    <a:p>
                      <a:pPr algn="ctr"/>
                      <a:r>
                        <a:rPr lang="en-US" sz="700" b="1" i="0" noProof="0">
                          <a:solidFill>
                            <a:schemeClr val="tx1"/>
                          </a:solidFill>
                        </a:rPr>
                        <a:t>#19</a:t>
                      </a:r>
                    </a:p>
                  </a:txBody>
                  <a:tcPr/>
                </a:tc>
                <a:tc>
                  <a:txBody>
                    <a:bodyPr/>
                    <a:lstStyle/>
                    <a:p>
                      <a:pPr algn="ctr"/>
                      <a:r>
                        <a:rPr lang="en-US" sz="700" i="0" noProof="0">
                          <a:solidFill>
                            <a:schemeClr val="tx1"/>
                          </a:solidFill>
                        </a:rPr>
                        <a:t>#17</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i="0" kern="1200" noProof="0">
                          <a:solidFill>
                            <a:schemeClr val="tx1"/>
                          </a:solidFill>
                          <a:latin typeface="+mn-lt"/>
                          <a:ea typeface="+mn-ea"/>
                          <a:cs typeface="+mn-cs"/>
                        </a:rPr>
                        <a:t>SCT schemes-CH and LI PSP community-Include Address for Originator -and Beneficiary Ref. Parties</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kern="1200" noProof="0">
                          <a:solidFill>
                            <a:schemeClr val="tx1"/>
                          </a:solidFill>
                          <a:latin typeface="+mn-lt"/>
                          <a:ea typeface="+mn-ea"/>
                          <a:cs typeface="+mn-cs"/>
                        </a:rPr>
                        <a:t>X</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kern="1200" noProof="0">
                          <a:solidFill>
                            <a:schemeClr val="tx1"/>
                          </a:solidFill>
                          <a:latin typeface="+mn-lt"/>
                          <a:ea typeface="+mn-ea"/>
                          <a:cs typeface="+mn-cs"/>
                        </a:rPr>
                        <a:t>X</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b="1" kern="1200" noProof="0">
                          <a:solidFill>
                            <a:schemeClr val="tx1"/>
                          </a:solidFill>
                          <a:latin typeface="+mn-lt"/>
                          <a:ea typeface="+mn-ea"/>
                          <a:cs typeface="+mn-cs"/>
                        </a:rPr>
                        <a:t>EPC External </a:t>
                      </a:r>
                      <a:r>
                        <a:rPr lang="en-US" sz="700" kern="1200" noProof="0">
                          <a:solidFill>
                            <a:schemeClr val="tx1"/>
                          </a:solidFill>
                          <a:latin typeface="+mn-lt"/>
                          <a:ea typeface="+mn-ea"/>
                          <a:cs typeface="+mn-cs"/>
                        </a:rPr>
                        <a:t>– </a:t>
                      </a:r>
                      <a:r>
                        <a:rPr lang="en-US" sz="700" b="0" kern="1200" noProof="0">
                          <a:solidFill>
                            <a:schemeClr val="tx1"/>
                          </a:solidFill>
                          <a:latin typeface="+mn-lt"/>
                          <a:ea typeface="+mn-ea"/>
                          <a:cs typeface="+mn-cs"/>
                        </a:rPr>
                        <a:t>No recommendation </a:t>
                      </a:r>
                      <a:r>
                        <a:rPr lang="en-US" sz="700" kern="1200" noProof="0">
                          <a:solidFill>
                            <a:schemeClr val="tx1"/>
                          </a:solidFill>
                          <a:latin typeface="+mn-lt"/>
                          <a:ea typeface="+mn-ea"/>
                          <a:cs typeface="+mn-cs"/>
                        </a:rPr>
                        <a:t>for 2027 </a:t>
                      </a:r>
                    </a:p>
                  </a:txBody>
                  <a:tcPr>
                    <a:solidFill>
                      <a:schemeClr val="accent3">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kern="1200" noProof="0">
                          <a:solidFill>
                            <a:schemeClr val="tx1"/>
                          </a:solidFill>
                          <a:latin typeface="+mn-lt"/>
                          <a:ea typeface="+mn-ea"/>
                          <a:cs typeface="+mn-cs"/>
                        </a:rPr>
                        <a:t>NPC following EPC </a:t>
                      </a:r>
                      <a:r>
                        <a:rPr lang="en-US" sz="700" b="1" kern="1200" noProof="0">
                          <a:solidFill>
                            <a:schemeClr val="tx1"/>
                          </a:solidFill>
                          <a:latin typeface="+mn-lt"/>
                          <a:ea typeface="+mn-ea"/>
                          <a:cs typeface="+mn-cs"/>
                        </a:rPr>
                        <a:t>– </a:t>
                      </a:r>
                      <a:r>
                        <a:rPr lang="en-US" sz="700" b="0" kern="1200" noProof="0">
                          <a:solidFill>
                            <a:schemeClr val="tx1"/>
                          </a:solidFill>
                          <a:latin typeface="+mn-lt"/>
                          <a:ea typeface="+mn-ea"/>
                          <a:cs typeface="+mn-cs"/>
                        </a:rPr>
                        <a:t>No recommendation</a:t>
                      </a:r>
                      <a:r>
                        <a:rPr lang="en-US" sz="700" b="1" kern="1200" noProof="0">
                          <a:solidFill>
                            <a:schemeClr val="tx1"/>
                          </a:solidFill>
                          <a:latin typeface="+mn-lt"/>
                          <a:ea typeface="+mn-ea"/>
                          <a:cs typeface="+mn-cs"/>
                        </a:rPr>
                        <a:t> f</a:t>
                      </a:r>
                      <a:r>
                        <a:rPr lang="en-US" sz="700" kern="1200" noProof="0">
                          <a:solidFill>
                            <a:schemeClr val="tx1"/>
                          </a:solidFill>
                          <a:latin typeface="+mn-lt"/>
                          <a:ea typeface="+mn-ea"/>
                          <a:cs typeface="+mn-cs"/>
                        </a:rPr>
                        <a:t>or 2027 </a:t>
                      </a:r>
                      <a:endParaRPr lang="en-US" sz="700" b="1" noProof="0">
                        <a:solidFill>
                          <a:schemeClr val="tx1"/>
                        </a:solidFill>
                      </a:endParaRPr>
                    </a:p>
                  </a:txBody>
                  <a:tcPr>
                    <a:solidFill>
                      <a:schemeClr val="accent3">
                        <a:lumMod val="20000"/>
                        <a:lumOff val="80000"/>
                      </a:schemeClr>
                    </a:solidFill>
                  </a:tcPr>
                </a:tc>
                <a:extLst>
                  <a:ext uri="{0D108BD9-81ED-4DB2-BD59-A6C34878D82A}">
                    <a16:rowId xmlns:a16="http://schemas.microsoft.com/office/drawing/2014/main" val="3145335947"/>
                  </a:ext>
                </a:extLst>
              </a:tr>
              <a:tr h="245308">
                <a:tc>
                  <a:txBody>
                    <a:bodyPr/>
                    <a:lstStyle/>
                    <a:p>
                      <a:pPr algn="ctr"/>
                      <a:r>
                        <a:rPr lang="en-US" sz="700" b="1" i="0" noProof="0">
                          <a:solidFill>
                            <a:schemeClr val="tx1"/>
                          </a:solidFill>
                        </a:rPr>
                        <a:t>#21</a:t>
                      </a:r>
                    </a:p>
                  </a:txBody>
                  <a:tcPr/>
                </a:tc>
                <a:tc>
                  <a:txBody>
                    <a:bodyPr/>
                    <a:lstStyle/>
                    <a:p>
                      <a:pPr algn="ctr"/>
                      <a:r>
                        <a:rPr lang="en-US" sz="700" i="0" noProof="0">
                          <a:solidFill>
                            <a:schemeClr val="tx1"/>
                          </a:solidFill>
                        </a:rPr>
                        <a:t>#18</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i="0" kern="1200" noProof="0">
                          <a:solidFill>
                            <a:schemeClr val="tx1"/>
                          </a:solidFill>
                          <a:latin typeface="+mn-lt"/>
                          <a:ea typeface="+mn-ea"/>
                          <a:cs typeface="+mn-cs"/>
                        </a:rPr>
                        <a:t>SCT schemes and OCT Inst-CH and LI PSP community-Validate Structured Remittance Information</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kern="1200" noProof="0">
                          <a:solidFill>
                            <a:schemeClr val="tx1"/>
                          </a:solidFill>
                          <a:latin typeface="+mn-lt"/>
                          <a:ea typeface="+mn-ea"/>
                          <a:cs typeface="+mn-cs"/>
                        </a:rPr>
                        <a:t>X</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kern="1200" noProof="0">
                          <a:solidFill>
                            <a:schemeClr val="tx1"/>
                          </a:solidFill>
                          <a:latin typeface="+mn-lt"/>
                          <a:ea typeface="+mn-ea"/>
                          <a:cs typeface="+mn-cs"/>
                        </a:rPr>
                        <a:t>X</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014E8F"/>
                          </a:solidFill>
                          <a:effectLst/>
                          <a:uLnTx/>
                          <a:uFillTx/>
                          <a:latin typeface="Calibri"/>
                          <a:ea typeface="+mn-ea"/>
                          <a:cs typeface="+mn-cs"/>
                        </a:rPr>
                        <a:t>EPC External </a:t>
                      </a:r>
                      <a:r>
                        <a:rPr kumimoji="0" lang="en-US" sz="700" b="0" i="0" u="none" strike="noStrike" kern="1200" cap="none" spc="0" normalizeH="0" baseline="0" noProof="0">
                          <a:ln>
                            <a:noFill/>
                          </a:ln>
                          <a:solidFill>
                            <a:srgbClr val="014E8F"/>
                          </a:solidFill>
                          <a:effectLst/>
                          <a:uLnTx/>
                          <a:uFillTx/>
                          <a:latin typeface="Calibri"/>
                          <a:ea typeface="+mn-ea"/>
                          <a:cs typeface="+mn-cs"/>
                        </a:rPr>
                        <a:t>– Supported for 2027</a:t>
                      </a:r>
                    </a:p>
                  </a:txBody>
                  <a:tcPr>
                    <a:solidFill>
                      <a:schemeClr val="accent3">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700" kern="1200" noProof="0">
                          <a:solidFill>
                            <a:schemeClr val="tx1"/>
                          </a:solidFill>
                          <a:latin typeface="+mn-lt"/>
                          <a:ea typeface="+mn-ea"/>
                          <a:cs typeface="+mn-cs"/>
                        </a:rPr>
                        <a:t>The change is already provided for in the NCT &amp; NCT Inst scheme: no action</a:t>
                      </a:r>
                      <a:endParaRPr lang="en-US" sz="700" b="1" noProof="0">
                        <a:solidFill>
                          <a:schemeClr val="tx1"/>
                        </a:solidFill>
                      </a:endParaRPr>
                    </a:p>
                  </a:txBody>
                  <a:tcPr>
                    <a:solidFill>
                      <a:schemeClr val="accent3">
                        <a:lumMod val="20000"/>
                        <a:lumOff val="80000"/>
                      </a:schemeClr>
                    </a:solidFill>
                  </a:tcPr>
                </a:tc>
                <a:extLst>
                  <a:ext uri="{0D108BD9-81ED-4DB2-BD59-A6C34878D82A}">
                    <a16:rowId xmlns:a16="http://schemas.microsoft.com/office/drawing/2014/main" val="751596080"/>
                  </a:ext>
                </a:extLst>
              </a:tr>
            </a:tbl>
          </a:graphicData>
        </a:graphic>
      </p:graphicFrame>
    </p:spTree>
    <p:extLst>
      <p:ext uri="{BB962C8B-B14F-4D97-AF65-F5344CB8AC3E}">
        <p14:creationId xmlns:p14="http://schemas.microsoft.com/office/powerpoint/2010/main" val="21143971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784E54-BAF5-38ED-62C5-8BF2DBCC5623}"/>
            </a:ext>
          </a:extLst>
        </p:cNvPr>
        <p:cNvGrpSpPr/>
        <p:nvPr/>
      </p:nvGrpSpPr>
      <p:grpSpPr>
        <a:xfrm>
          <a:off x="0" y="0"/>
          <a:ext cx="0" cy="0"/>
          <a:chOff x="0" y="0"/>
          <a:chExt cx="0" cy="0"/>
        </a:xfrm>
      </p:grpSpPr>
      <p:sp>
        <p:nvSpPr>
          <p:cNvPr id="2" name="Rubrik 1">
            <a:extLst>
              <a:ext uri="{FF2B5EF4-FFF2-40B4-BE49-F238E27FC236}">
                <a16:creationId xmlns:a16="http://schemas.microsoft.com/office/drawing/2014/main" id="{F8E8B8D7-AB9D-3705-60F3-50D93A16680F}"/>
              </a:ext>
            </a:extLst>
          </p:cNvPr>
          <p:cNvSpPr>
            <a:spLocks noGrp="1"/>
          </p:cNvSpPr>
          <p:nvPr>
            <p:ph type="title"/>
          </p:nvPr>
        </p:nvSpPr>
        <p:spPr>
          <a:xfrm>
            <a:off x="163442" y="494759"/>
            <a:ext cx="8370889" cy="487317"/>
          </a:xfrm>
        </p:spPr>
        <p:txBody>
          <a:bodyPr>
            <a:normAutofit/>
          </a:bodyPr>
          <a:lstStyle/>
          <a:p>
            <a:r>
              <a:rPr lang="en-US" sz="2000"/>
              <a:t>EPC Internal and External change requests (SCT &amp; SCT Inst) </a:t>
            </a:r>
            <a:endParaRPr lang="en-US" sz="2000" noProof="0"/>
          </a:p>
        </p:txBody>
      </p:sp>
      <p:sp>
        <p:nvSpPr>
          <p:cNvPr id="4" name="Platshållare för sidfot 3">
            <a:extLst>
              <a:ext uri="{FF2B5EF4-FFF2-40B4-BE49-F238E27FC236}">
                <a16:creationId xmlns:a16="http://schemas.microsoft.com/office/drawing/2014/main" id="{0AB383FC-35EF-C027-266A-50F3D4C7D712}"/>
              </a:ext>
            </a:extLst>
          </p:cNvPr>
          <p:cNvSpPr>
            <a:spLocks noGrp="1"/>
          </p:cNvSpPr>
          <p:nvPr>
            <p:ph type="ftr" sz="quarter" idx="11"/>
          </p:nvPr>
        </p:nvSpPr>
        <p:spPr/>
        <p:txBody>
          <a:bodyPr/>
          <a:lstStyle/>
          <a:p>
            <a:r>
              <a:rPr lang="en-US" noProof="0"/>
              <a:t>Stakeholder Forum Agenda - Classification: External</a:t>
            </a:r>
          </a:p>
        </p:txBody>
      </p:sp>
      <p:sp>
        <p:nvSpPr>
          <p:cNvPr id="5" name="Platshållare för datum 4">
            <a:extLst>
              <a:ext uri="{FF2B5EF4-FFF2-40B4-BE49-F238E27FC236}">
                <a16:creationId xmlns:a16="http://schemas.microsoft.com/office/drawing/2014/main" id="{6754EA46-BAA2-6712-04DC-71747F2BA9D5}"/>
              </a:ext>
            </a:extLst>
          </p:cNvPr>
          <p:cNvSpPr>
            <a:spLocks noGrp="1"/>
          </p:cNvSpPr>
          <p:nvPr>
            <p:ph type="dt" sz="half" idx="10"/>
          </p:nvPr>
        </p:nvSpPr>
        <p:spPr/>
        <p:txBody>
          <a:bodyPr/>
          <a:lstStyle/>
          <a:p>
            <a:r>
              <a:rPr lang="sv-SE" noProof="0"/>
              <a:t>26/03/2026</a:t>
            </a:r>
            <a:endParaRPr lang="en-US" noProof="0"/>
          </a:p>
        </p:txBody>
      </p:sp>
      <p:sp>
        <p:nvSpPr>
          <p:cNvPr id="6" name="Platshållare för bildnummer 5">
            <a:extLst>
              <a:ext uri="{FF2B5EF4-FFF2-40B4-BE49-F238E27FC236}">
                <a16:creationId xmlns:a16="http://schemas.microsoft.com/office/drawing/2014/main" id="{22CCB9BF-7D54-9C29-0992-AF25C02EF1EF}"/>
              </a:ext>
            </a:extLst>
          </p:cNvPr>
          <p:cNvSpPr>
            <a:spLocks noGrp="1"/>
          </p:cNvSpPr>
          <p:nvPr>
            <p:ph type="sldNum" sz="quarter" idx="12"/>
          </p:nvPr>
        </p:nvSpPr>
        <p:spPr/>
        <p:txBody>
          <a:bodyPr/>
          <a:lstStyle/>
          <a:p>
            <a:fld id="{394EE31B-4DFC-CF4D-9A18-3F5D4D7C7302}" type="slidenum">
              <a:rPr lang="en-US" noProof="0" smtClean="0"/>
              <a:pPr/>
              <a:t>33</a:t>
            </a:fld>
            <a:endParaRPr lang="en-US" noProof="0"/>
          </a:p>
        </p:txBody>
      </p:sp>
      <p:graphicFrame>
        <p:nvGraphicFramePr>
          <p:cNvPr id="7" name="Tabell 7">
            <a:extLst>
              <a:ext uri="{FF2B5EF4-FFF2-40B4-BE49-F238E27FC236}">
                <a16:creationId xmlns:a16="http://schemas.microsoft.com/office/drawing/2014/main" id="{EFDD2DF5-A366-36FF-BE46-81B96CC3920E}"/>
              </a:ext>
            </a:extLst>
          </p:cNvPr>
          <p:cNvGraphicFramePr>
            <a:graphicFrameLocks noGrp="1"/>
          </p:cNvGraphicFramePr>
          <p:nvPr>
            <p:extLst>
              <p:ext uri="{D42A27DB-BD31-4B8C-83A1-F6EECF244321}">
                <p14:modId xmlns:p14="http://schemas.microsoft.com/office/powerpoint/2010/main" val="2158842596"/>
              </p:ext>
            </p:extLst>
          </p:nvPr>
        </p:nvGraphicFramePr>
        <p:xfrm>
          <a:off x="163442" y="1122006"/>
          <a:ext cx="8715514" cy="2759402"/>
        </p:xfrm>
        <a:graphic>
          <a:graphicData uri="http://schemas.openxmlformats.org/drawingml/2006/table">
            <a:tbl>
              <a:tblPr firstRow="1" bandRow="1">
                <a:tableStyleId>{073A0DAA-6AF3-43AB-8588-CEC1D06C72B9}</a:tableStyleId>
              </a:tblPr>
              <a:tblGrid>
                <a:gridCol w="416314">
                  <a:extLst>
                    <a:ext uri="{9D8B030D-6E8A-4147-A177-3AD203B41FA5}">
                      <a16:colId xmlns:a16="http://schemas.microsoft.com/office/drawing/2014/main" val="4049220222"/>
                    </a:ext>
                  </a:extLst>
                </a:gridCol>
                <a:gridCol w="434239">
                  <a:extLst>
                    <a:ext uri="{9D8B030D-6E8A-4147-A177-3AD203B41FA5}">
                      <a16:colId xmlns:a16="http://schemas.microsoft.com/office/drawing/2014/main" val="2778136160"/>
                    </a:ext>
                  </a:extLst>
                </a:gridCol>
                <a:gridCol w="4421603">
                  <a:extLst>
                    <a:ext uri="{9D8B030D-6E8A-4147-A177-3AD203B41FA5}">
                      <a16:colId xmlns:a16="http://schemas.microsoft.com/office/drawing/2014/main" val="2141160959"/>
                    </a:ext>
                  </a:extLst>
                </a:gridCol>
                <a:gridCol w="442210">
                  <a:extLst>
                    <a:ext uri="{9D8B030D-6E8A-4147-A177-3AD203B41FA5}">
                      <a16:colId xmlns:a16="http://schemas.microsoft.com/office/drawing/2014/main" val="2443651531"/>
                    </a:ext>
                  </a:extLst>
                </a:gridCol>
                <a:gridCol w="367259">
                  <a:extLst>
                    <a:ext uri="{9D8B030D-6E8A-4147-A177-3AD203B41FA5}">
                      <a16:colId xmlns:a16="http://schemas.microsoft.com/office/drawing/2014/main" val="2950046002"/>
                    </a:ext>
                  </a:extLst>
                </a:gridCol>
                <a:gridCol w="1441393">
                  <a:extLst>
                    <a:ext uri="{9D8B030D-6E8A-4147-A177-3AD203B41FA5}">
                      <a16:colId xmlns:a16="http://schemas.microsoft.com/office/drawing/2014/main" val="933496745"/>
                    </a:ext>
                  </a:extLst>
                </a:gridCol>
                <a:gridCol w="1192496">
                  <a:extLst>
                    <a:ext uri="{9D8B030D-6E8A-4147-A177-3AD203B41FA5}">
                      <a16:colId xmlns:a16="http://schemas.microsoft.com/office/drawing/2014/main" val="315948566"/>
                    </a:ext>
                  </a:extLst>
                </a:gridCol>
              </a:tblGrid>
              <a:tr h="256008">
                <a:tc>
                  <a:txBody>
                    <a:bodyPr/>
                    <a:lstStyle/>
                    <a:p>
                      <a:pPr algn="ctr"/>
                      <a:r>
                        <a:rPr lang="en-US" sz="700" noProof="0"/>
                        <a:t>EPC Id </a:t>
                      </a:r>
                    </a:p>
                  </a:txBody>
                  <a:tcPr/>
                </a:tc>
                <a:tc>
                  <a:txBody>
                    <a:bodyPr/>
                    <a:lstStyle/>
                    <a:p>
                      <a:pPr algn="ctr"/>
                      <a:r>
                        <a:rPr lang="en-US" sz="700" noProof="0"/>
                        <a:t>NPC Id</a:t>
                      </a:r>
                    </a:p>
                  </a:txBody>
                  <a:tcPr/>
                </a:tc>
                <a:tc>
                  <a:txBody>
                    <a:bodyPr/>
                    <a:lstStyle/>
                    <a:p>
                      <a:r>
                        <a:rPr lang="en-US" sz="700" noProof="0"/>
                        <a:t>Name</a:t>
                      </a:r>
                    </a:p>
                  </a:txBody>
                  <a:tcPr/>
                </a:tc>
                <a:tc>
                  <a:txBody>
                    <a:bodyPr/>
                    <a:lstStyle/>
                    <a:p>
                      <a:r>
                        <a:rPr lang="en-US" sz="700" noProof="0"/>
                        <a:t>NCT </a:t>
                      </a:r>
                    </a:p>
                  </a:txBody>
                  <a:tcPr/>
                </a:tc>
                <a:tc>
                  <a:txBody>
                    <a:bodyPr/>
                    <a:lstStyle/>
                    <a:p>
                      <a:r>
                        <a:rPr lang="en-US" sz="700" noProof="0"/>
                        <a:t>NCT Inst </a:t>
                      </a:r>
                    </a:p>
                  </a:txBody>
                  <a:tcPr/>
                </a:tc>
                <a:tc>
                  <a:txBody>
                    <a:bodyPr/>
                    <a:lstStyle/>
                    <a:p>
                      <a:r>
                        <a:rPr lang="en-US" sz="700" noProof="0"/>
                        <a:t>EPC Status</a:t>
                      </a:r>
                    </a:p>
                  </a:txBody>
                  <a:tcPr/>
                </a:tc>
                <a:tc>
                  <a:txBody>
                    <a:bodyPr/>
                    <a:lstStyle/>
                    <a:p>
                      <a:r>
                        <a:rPr lang="en-US" sz="700" noProof="0"/>
                        <a:t>NPC status </a:t>
                      </a:r>
                    </a:p>
                  </a:txBody>
                  <a:tcPr/>
                </a:tc>
                <a:extLst>
                  <a:ext uri="{0D108BD9-81ED-4DB2-BD59-A6C34878D82A}">
                    <a16:rowId xmlns:a16="http://schemas.microsoft.com/office/drawing/2014/main" val="2832658389"/>
                  </a:ext>
                </a:extLst>
              </a:tr>
              <a:tr h="226626">
                <a:tc>
                  <a:txBody>
                    <a:bodyPr/>
                    <a:lstStyle/>
                    <a:p>
                      <a:pPr algn="ctr"/>
                      <a:r>
                        <a:rPr lang="en-US" sz="700" b="1" i="0" noProof="0">
                          <a:solidFill>
                            <a:schemeClr val="tx1"/>
                          </a:solidFill>
                        </a:rPr>
                        <a:t>#22</a:t>
                      </a:r>
                    </a:p>
                  </a:txBody>
                  <a:tcPr/>
                </a:tc>
                <a:tc>
                  <a:txBody>
                    <a:bodyPr/>
                    <a:lstStyle/>
                    <a:p>
                      <a:pPr algn="ctr"/>
                      <a:r>
                        <a:rPr lang="en-US" sz="700" i="0" noProof="0">
                          <a:solidFill>
                            <a:schemeClr val="tx1"/>
                          </a:solidFill>
                        </a:rPr>
                        <a:t>#19</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i="0" kern="1200" noProof="0">
                          <a:solidFill>
                            <a:schemeClr val="tx1"/>
                          </a:solidFill>
                          <a:latin typeface="+mn-lt"/>
                          <a:ea typeface="+mn-ea"/>
                          <a:cs typeface="+mn-cs"/>
                        </a:rPr>
                        <a:t>All schemes-SK PSP community-Align Effectiveness Dates with Those of Relevant Technical Standards</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kern="1200" noProof="0">
                          <a:solidFill>
                            <a:schemeClr val="tx1"/>
                          </a:solidFill>
                          <a:latin typeface="+mn-lt"/>
                          <a:ea typeface="+mn-ea"/>
                          <a:cs typeface="+mn-cs"/>
                        </a:rPr>
                        <a:t>X</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kern="1200" noProof="0">
                          <a:solidFill>
                            <a:schemeClr val="tx1"/>
                          </a:solidFill>
                          <a:latin typeface="+mn-lt"/>
                          <a:ea typeface="+mn-ea"/>
                          <a:cs typeface="+mn-cs"/>
                        </a:rPr>
                        <a:t>X</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b="1" kern="1200" noProof="0">
                          <a:solidFill>
                            <a:schemeClr val="tx1"/>
                          </a:solidFill>
                          <a:latin typeface="+mn-lt"/>
                          <a:ea typeface="+mn-ea"/>
                          <a:cs typeface="+mn-cs"/>
                        </a:rPr>
                        <a:t>EPC External </a:t>
                      </a:r>
                      <a:r>
                        <a:rPr lang="en-US" sz="700" kern="1200" noProof="0">
                          <a:solidFill>
                            <a:schemeClr val="tx1"/>
                          </a:solidFill>
                          <a:latin typeface="+mn-lt"/>
                          <a:ea typeface="+mn-ea"/>
                          <a:cs typeface="+mn-cs"/>
                        </a:rPr>
                        <a:t>– Support for 2027</a:t>
                      </a:r>
                    </a:p>
                  </a:txBody>
                  <a:tcPr>
                    <a:solidFill>
                      <a:schemeClr val="accent3">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kern="1200" noProof="0">
                          <a:solidFill>
                            <a:schemeClr val="tx1"/>
                          </a:solidFill>
                          <a:latin typeface="+mn-lt"/>
                          <a:ea typeface="+mn-ea"/>
                          <a:cs typeface="+mn-cs"/>
                        </a:rPr>
                        <a:t>Supported for 2027</a:t>
                      </a:r>
                      <a:endParaRPr lang="en-US" sz="700" b="1" noProof="0">
                        <a:solidFill>
                          <a:schemeClr val="tx1"/>
                        </a:solidFill>
                      </a:endParaRPr>
                    </a:p>
                  </a:txBody>
                  <a:tcPr>
                    <a:solidFill>
                      <a:schemeClr val="accent3">
                        <a:lumMod val="20000"/>
                        <a:lumOff val="80000"/>
                      </a:schemeClr>
                    </a:solidFill>
                  </a:tcPr>
                </a:tc>
                <a:extLst>
                  <a:ext uri="{0D108BD9-81ED-4DB2-BD59-A6C34878D82A}">
                    <a16:rowId xmlns:a16="http://schemas.microsoft.com/office/drawing/2014/main" val="1373359524"/>
                  </a:ext>
                </a:extLst>
              </a:tr>
              <a:tr h="226626">
                <a:tc>
                  <a:txBody>
                    <a:bodyPr/>
                    <a:lstStyle/>
                    <a:p>
                      <a:pPr algn="ctr"/>
                      <a:r>
                        <a:rPr lang="en-US" sz="700" b="1" i="0" noProof="0">
                          <a:solidFill>
                            <a:schemeClr val="tx1"/>
                          </a:solidFill>
                        </a:rPr>
                        <a:t>#25</a:t>
                      </a:r>
                    </a:p>
                  </a:txBody>
                  <a:tcPr/>
                </a:tc>
                <a:tc>
                  <a:txBody>
                    <a:bodyPr/>
                    <a:lstStyle/>
                    <a:p>
                      <a:pPr algn="ctr"/>
                      <a:r>
                        <a:rPr lang="en-US" sz="700" i="0" noProof="0">
                          <a:solidFill>
                            <a:schemeClr val="tx1"/>
                          </a:solidFill>
                        </a:rPr>
                        <a:t>#20</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i="0" kern="1200" noProof="0">
                          <a:solidFill>
                            <a:schemeClr val="tx1"/>
                          </a:solidFill>
                          <a:latin typeface="+mn-lt"/>
                          <a:ea typeface="+mn-ea"/>
                          <a:cs typeface="+mn-cs"/>
                        </a:rPr>
                        <a:t>SCT schemes-ES PSP community-Procedure for Partial Recovery of Funds for Fraudulent Transfers</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kern="1200" noProof="0">
                          <a:solidFill>
                            <a:schemeClr val="tx1"/>
                          </a:solidFill>
                          <a:latin typeface="+mn-lt"/>
                          <a:ea typeface="+mn-ea"/>
                          <a:cs typeface="+mn-cs"/>
                        </a:rPr>
                        <a:t>X</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kern="1200" noProof="0">
                          <a:solidFill>
                            <a:schemeClr val="tx1"/>
                          </a:solidFill>
                          <a:latin typeface="+mn-lt"/>
                          <a:ea typeface="+mn-ea"/>
                          <a:cs typeface="+mn-cs"/>
                        </a:rPr>
                        <a:t>X</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b="1" kern="1200" noProof="0">
                          <a:solidFill>
                            <a:schemeClr val="tx1"/>
                          </a:solidFill>
                          <a:latin typeface="+mn-lt"/>
                          <a:ea typeface="+mn-ea"/>
                          <a:cs typeface="+mn-cs"/>
                        </a:rPr>
                        <a:t>EPC External </a:t>
                      </a:r>
                      <a:r>
                        <a:rPr lang="en-US" sz="700" kern="1200" noProof="0">
                          <a:solidFill>
                            <a:schemeClr val="tx1"/>
                          </a:solidFill>
                          <a:latin typeface="+mn-lt"/>
                          <a:ea typeface="+mn-ea"/>
                          <a:cs typeface="+mn-cs"/>
                        </a:rPr>
                        <a:t>– </a:t>
                      </a:r>
                      <a:r>
                        <a:rPr lang="en-US" sz="700" b="0" kern="1200" noProof="0">
                          <a:solidFill>
                            <a:schemeClr val="tx1"/>
                          </a:solidFill>
                          <a:latin typeface="+mn-lt"/>
                          <a:ea typeface="+mn-ea"/>
                          <a:cs typeface="+mn-cs"/>
                        </a:rPr>
                        <a:t>No recommendation  </a:t>
                      </a:r>
                      <a:r>
                        <a:rPr lang="en-US" sz="700" kern="1200" noProof="0">
                          <a:solidFill>
                            <a:schemeClr val="tx1"/>
                          </a:solidFill>
                          <a:latin typeface="+mn-lt"/>
                          <a:ea typeface="+mn-ea"/>
                          <a:cs typeface="+mn-cs"/>
                        </a:rPr>
                        <a:t>for 2027. Probably for PSR </a:t>
                      </a:r>
                    </a:p>
                  </a:txBody>
                  <a:tcPr>
                    <a:solidFill>
                      <a:schemeClr val="accent3">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kern="1200" noProof="0">
                          <a:solidFill>
                            <a:schemeClr val="tx1"/>
                          </a:solidFill>
                          <a:latin typeface="+mn-lt"/>
                          <a:ea typeface="+mn-ea"/>
                          <a:cs typeface="+mn-cs"/>
                        </a:rPr>
                        <a:t>Supported for 2027 (see NPC CR #05)</a:t>
                      </a:r>
                      <a:endParaRPr lang="en-US" sz="700" b="1" noProof="0">
                        <a:solidFill>
                          <a:schemeClr val="tx1"/>
                        </a:solidFill>
                      </a:endParaRPr>
                    </a:p>
                  </a:txBody>
                  <a:tcPr>
                    <a:solidFill>
                      <a:schemeClr val="accent3">
                        <a:lumMod val="20000"/>
                        <a:lumOff val="80000"/>
                      </a:schemeClr>
                    </a:solidFill>
                  </a:tcPr>
                </a:tc>
                <a:extLst>
                  <a:ext uri="{0D108BD9-81ED-4DB2-BD59-A6C34878D82A}">
                    <a16:rowId xmlns:a16="http://schemas.microsoft.com/office/drawing/2014/main" val="759966750"/>
                  </a:ext>
                </a:extLst>
              </a:tr>
              <a:tr h="245308">
                <a:tc>
                  <a:txBody>
                    <a:bodyPr/>
                    <a:lstStyle/>
                    <a:p>
                      <a:pPr algn="ctr"/>
                      <a:r>
                        <a:rPr lang="en-US" sz="700" b="1" i="0" noProof="0">
                          <a:solidFill>
                            <a:schemeClr val="tx1"/>
                          </a:solidFill>
                        </a:rPr>
                        <a:t>#27</a:t>
                      </a:r>
                    </a:p>
                  </a:txBody>
                  <a:tcPr/>
                </a:tc>
                <a:tc>
                  <a:txBody>
                    <a:bodyPr/>
                    <a:lstStyle/>
                    <a:p>
                      <a:pPr algn="ctr"/>
                      <a:r>
                        <a:rPr lang="en-US" sz="700" i="0" noProof="0">
                          <a:solidFill>
                            <a:schemeClr val="tx1"/>
                          </a:solidFill>
                        </a:rPr>
                        <a:t>#21</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b="0" i="0" noProof="0">
                          <a:solidFill>
                            <a:schemeClr val="tx1"/>
                          </a:solidFill>
                        </a:rPr>
                        <a:t>SCT schemes and OCT Inst-PT PSP community- Possibility to Return Funds after Credit of Amount</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b="0" noProof="0">
                          <a:solidFill>
                            <a:schemeClr val="tx1"/>
                          </a:solidFill>
                        </a:rPr>
                        <a:t>X</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b="0" noProof="0">
                          <a:solidFill>
                            <a:schemeClr val="tx1"/>
                          </a:solidFill>
                        </a:rPr>
                        <a:t>X</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b="1" kern="1200" noProof="0">
                          <a:solidFill>
                            <a:schemeClr val="tx1"/>
                          </a:solidFill>
                          <a:latin typeface="+mn-lt"/>
                          <a:ea typeface="+mn-ea"/>
                          <a:cs typeface="+mn-cs"/>
                        </a:rPr>
                        <a:t>EPC External </a:t>
                      </a:r>
                      <a:r>
                        <a:rPr lang="en-US" sz="700" kern="1200" noProof="0">
                          <a:solidFill>
                            <a:schemeClr val="tx1"/>
                          </a:solidFill>
                          <a:latin typeface="+mn-lt"/>
                          <a:ea typeface="+mn-ea"/>
                          <a:cs typeface="+mn-cs"/>
                        </a:rPr>
                        <a:t>– </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700" b="1" kern="1200" noProof="0">
                          <a:solidFill>
                            <a:schemeClr val="tx1"/>
                          </a:solidFill>
                          <a:latin typeface="+mn-lt"/>
                          <a:ea typeface="+mn-ea"/>
                          <a:cs typeface="+mn-cs"/>
                        </a:rPr>
                        <a:t>SCT </a:t>
                      </a:r>
                      <a:r>
                        <a:rPr lang="en-US" sz="700" b="0" kern="1200" noProof="0">
                          <a:solidFill>
                            <a:schemeClr val="tx1"/>
                          </a:solidFill>
                          <a:latin typeface="+mn-lt"/>
                          <a:ea typeface="+mn-ea"/>
                          <a:cs typeface="+mn-cs"/>
                        </a:rPr>
                        <a:t>no recommendation </a:t>
                      </a:r>
                      <a:r>
                        <a:rPr lang="en-US" sz="700" kern="1200" noProof="0">
                          <a:solidFill>
                            <a:schemeClr val="tx1"/>
                          </a:solidFill>
                          <a:latin typeface="+mn-lt"/>
                          <a:ea typeface="+mn-ea"/>
                          <a:cs typeface="+mn-cs"/>
                        </a:rPr>
                        <a:t>for 2027 </a:t>
                      </a:r>
                      <a:r>
                        <a:rPr lang="en-US" sz="700" b="1" kern="1200" noProof="0">
                          <a:solidFill>
                            <a:schemeClr val="tx1"/>
                          </a:solidFill>
                          <a:latin typeface="+mn-lt"/>
                          <a:ea typeface="+mn-ea"/>
                          <a:cs typeface="+mn-cs"/>
                        </a:rPr>
                        <a:t>SCT Inst </a:t>
                      </a:r>
                      <a:r>
                        <a:rPr lang="en-US" sz="700" b="0" kern="1200" noProof="0">
                          <a:solidFill>
                            <a:schemeClr val="tx1"/>
                          </a:solidFill>
                          <a:latin typeface="+mn-lt"/>
                          <a:ea typeface="+mn-ea"/>
                          <a:cs typeface="+mn-cs"/>
                        </a:rPr>
                        <a:t>no support </a:t>
                      </a:r>
                      <a:r>
                        <a:rPr lang="en-US" sz="700" kern="1200" noProof="0">
                          <a:solidFill>
                            <a:schemeClr val="tx1"/>
                          </a:solidFill>
                          <a:latin typeface="+mn-lt"/>
                          <a:ea typeface="+mn-ea"/>
                          <a:cs typeface="+mn-cs"/>
                        </a:rPr>
                        <a:t>for 2027 </a:t>
                      </a:r>
                    </a:p>
                  </a:txBody>
                  <a:tcPr>
                    <a:solidFill>
                      <a:schemeClr val="accent3">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kern="1200" noProof="0">
                          <a:solidFill>
                            <a:schemeClr val="tx1"/>
                          </a:solidFill>
                          <a:latin typeface="+mn-lt"/>
                          <a:ea typeface="+mn-ea"/>
                          <a:cs typeface="+mn-cs"/>
                        </a:rPr>
                        <a:t>NPC following EPC</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700" b="1" kern="1200" noProof="0">
                          <a:solidFill>
                            <a:schemeClr val="tx1"/>
                          </a:solidFill>
                          <a:latin typeface="+mn-lt"/>
                          <a:ea typeface="+mn-ea"/>
                          <a:cs typeface="+mn-cs"/>
                        </a:rPr>
                        <a:t>NCT</a:t>
                      </a:r>
                      <a:r>
                        <a:rPr lang="en-US" sz="700" kern="1200" noProof="0">
                          <a:solidFill>
                            <a:schemeClr val="tx1"/>
                          </a:solidFill>
                          <a:latin typeface="+mn-lt"/>
                          <a:ea typeface="+mn-ea"/>
                          <a:cs typeface="+mn-cs"/>
                        </a:rPr>
                        <a:t> - </a:t>
                      </a:r>
                      <a:r>
                        <a:rPr lang="en-US" sz="700" b="0" kern="1200" noProof="0">
                          <a:solidFill>
                            <a:schemeClr val="tx1"/>
                          </a:solidFill>
                          <a:latin typeface="+mn-lt"/>
                          <a:ea typeface="+mn-ea"/>
                          <a:cs typeface="+mn-cs"/>
                        </a:rPr>
                        <a:t>no recommendation  </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700" b="1" kern="1200" noProof="0">
                          <a:solidFill>
                            <a:schemeClr val="tx1"/>
                          </a:solidFill>
                          <a:latin typeface="+mn-lt"/>
                          <a:ea typeface="+mn-ea"/>
                          <a:cs typeface="+mn-cs"/>
                        </a:rPr>
                        <a:t>NCT Inst – </a:t>
                      </a:r>
                      <a:r>
                        <a:rPr lang="en-US" sz="700" b="0" kern="1200" noProof="0">
                          <a:solidFill>
                            <a:schemeClr val="tx1"/>
                          </a:solidFill>
                          <a:latin typeface="+mn-lt"/>
                          <a:ea typeface="+mn-ea"/>
                          <a:cs typeface="+mn-cs"/>
                        </a:rPr>
                        <a:t>not supported </a:t>
                      </a:r>
                      <a:endParaRPr lang="en-US" sz="700" b="0" noProof="0">
                        <a:solidFill>
                          <a:schemeClr val="tx1"/>
                        </a:solidFill>
                      </a:endParaRPr>
                    </a:p>
                  </a:txBody>
                  <a:tcPr>
                    <a:solidFill>
                      <a:schemeClr val="accent3">
                        <a:lumMod val="20000"/>
                        <a:lumOff val="80000"/>
                      </a:schemeClr>
                    </a:solidFill>
                  </a:tcPr>
                </a:tc>
                <a:extLst>
                  <a:ext uri="{0D108BD9-81ED-4DB2-BD59-A6C34878D82A}">
                    <a16:rowId xmlns:a16="http://schemas.microsoft.com/office/drawing/2014/main" val="717778761"/>
                  </a:ext>
                </a:extLst>
              </a:tr>
              <a:tr h="245308">
                <a:tc>
                  <a:txBody>
                    <a:bodyPr/>
                    <a:lstStyle/>
                    <a:p>
                      <a:pPr algn="ctr"/>
                      <a:r>
                        <a:rPr lang="en-US" sz="700" b="1" i="0" noProof="0">
                          <a:solidFill>
                            <a:schemeClr val="tx1"/>
                          </a:solidFill>
                        </a:rPr>
                        <a:t>#35</a:t>
                      </a:r>
                    </a:p>
                  </a:txBody>
                  <a:tcPr/>
                </a:tc>
                <a:tc>
                  <a:txBody>
                    <a:bodyPr/>
                    <a:lstStyle/>
                    <a:p>
                      <a:pPr algn="ctr"/>
                      <a:r>
                        <a:rPr lang="en-US" sz="700" i="0" noProof="0">
                          <a:solidFill>
                            <a:schemeClr val="tx1"/>
                          </a:solidFill>
                        </a:rPr>
                        <a:t>#22</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i="0" noProof="0">
                          <a:solidFill>
                            <a:schemeClr val="tx1"/>
                          </a:solidFill>
                        </a:rPr>
                        <a:t>SCT schemes-IT PSP community-Extend Recall Timeline for Duplicate and Technical Reason</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i="0" noProof="0">
                          <a:solidFill>
                            <a:schemeClr val="tx1"/>
                          </a:solidFill>
                        </a:rPr>
                        <a:t>X</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i="0" noProof="0">
                          <a:solidFill>
                            <a:schemeClr val="tx1"/>
                          </a:solidFill>
                        </a:rPr>
                        <a:t>X</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b="1" kern="1200" noProof="0">
                          <a:solidFill>
                            <a:schemeClr val="tx1"/>
                          </a:solidFill>
                          <a:latin typeface="+mn-lt"/>
                          <a:ea typeface="+mn-ea"/>
                          <a:cs typeface="+mn-cs"/>
                        </a:rPr>
                        <a:t>EPC External </a:t>
                      </a:r>
                      <a:r>
                        <a:rPr lang="en-US" sz="700" kern="1200" noProof="0">
                          <a:solidFill>
                            <a:schemeClr val="tx1"/>
                          </a:solidFill>
                          <a:latin typeface="+mn-lt"/>
                          <a:ea typeface="+mn-ea"/>
                          <a:cs typeface="+mn-cs"/>
                        </a:rPr>
                        <a:t>– Supported for 2027</a:t>
                      </a:r>
                    </a:p>
                  </a:txBody>
                  <a:tcPr>
                    <a:solidFill>
                      <a:schemeClr val="accent3">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kern="1200" noProof="0">
                          <a:solidFill>
                            <a:schemeClr val="tx1"/>
                          </a:solidFill>
                          <a:latin typeface="+mn-lt"/>
                          <a:ea typeface="+mn-ea"/>
                          <a:cs typeface="+mn-cs"/>
                        </a:rPr>
                        <a:t>Supported for 2027</a:t>
                      </a:r>
                      <a:endParaRPr lang="en-US" sz="700" b="1" noProof="0">
                        <a:solidFill>
                          <a:schemeClr val="tx1"/>
                        </a:solidFill>
                      </a:endParaRPr>
                    </a:p>
                  </a:txBody>
                  <a:tcPr>
                    <a:solidFill>
                      <a:schemeClr val="accent3">
                        <a:lumMod val="20000"/>
                        <a:lumOff val="80000"/>
                      </a:schemeClr>
                    </a:solidFill>
                  </a:tcPr>
                </a:tc>
                <a:extLst>
                  <a:ext uri="{0D108BD9-81ED-4DB2-BD59-A6C34878D82A}">
                    <a16:rowId xmlns:a16="http://schemas.microsoft.com/office/drawing/2014/main" val="104502685"/>
                  </a:ext>
                </a:extLst>
              </a:tr>
              <a:tr h="245308">
                <a:tc>
                  <a:txBody>
                    <a:bodyPr/>
                    <a:lstStyle/>
                    <a:p>
                      <a:pPr algn="ctr"/>
                      <a:r>
                        <a:rPr lang="en-US" sz="700" b="1" i="0" noProof="0">
                          <a:solidFill>
                            <a:schemeClr val="tx1"/>
                          </a:solidFill>
                        </a:rPr>
                        <a:t>#42</a:t>
                      </a:r>
                    </a:p>
                  </a:txBody>
                  <a:tcPr/>
                </a:tc>
                <a:tc>
                  <a:txBody>
                    <a:bodyPr/>
                    <a:lstStyle/>
                    <a:p>
                      <a:pPr algn="ctr"/>
                      <a:r>
                        <a:rPr lang="en-US" sz="700" i="0" noProof="0">
                          <a:solidFill>
                            <a:schemeClr val="tx1"/>
                          </a:solidFill>
                        </a:rPr>
                        <a:t>#23</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i="0" kern="1200" noProof="0">
                          <a:solidFill>
                            <a:schemeClr val="tx1"/>
                          </a:solidFill>
                          <a:latin typeface="+mn-lt"/>
                          <a:ea typeface="+mn-ea"/>
                          <a:cs typeface="+mn-cs"/>
                        </a:rPr>
                        <a:t>SCT Inst-EPI-Reference to Link an SCT Inst Transaction for Refund with Initial SCT Inst Transaction</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700" kern="1200" noProof="0">
                        <a:solidFill>
                          <a:schemeClr val="tx1"/>
                        </a:solidFill>
                        <a:latin typeface="+mn-lt"/>
                        <a:ea typeface="+mn-ea"/>
                        <a:cs typeface="+mn-cs"/>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kern="1200" noProof="0">
                          <a:solidFill>
                            <a:schemeClr val="tx1"/>
                          </a:solidFill>
                          <a:latin typeface="+mn-lt"/>
                          <a:ea typeface="+mn-ea"/>
                          <a:cs typeface="+mn-cs"/>
                        </a:rPr>
                        <a:t>X</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b="1" kern="1200" noProof="0">
                          <a:solidFill>
                            <a:schemeClr val="tx1"/>
                          </a:solidFill>
                          <a:latin typeface="+mn-lt"/>
                          <a:ea typeface="+mn-ea"/>
                          <a:cs typeface="+mn-cs"/>
                        </a:rPr>
                        <a:t>EPC External </a:t>
                      </a:r>
                      <a:r>
                        <a:rPr lang="en-US" sz="700" kern="1200" noProof="0">
                          <a:solidFill>
                            <a:schemeClr val="tx1"/>
                          </a:solidFill>
                          <a:latin typeface="+mn-lt"/>
                          <a:ea typeface="+mn-ea"/>
                          <a:cs typeface="+mn-cs"/>
                        </a:rPr>
                        <a:t>- Supported for 2027</a:t>
                      </a:r>
                      <a:endParaRPr lang="en-US" sz="700" b="1" kern="1200" noProof="0">
                        <a:solidFill>
                          <a:schemeClr val="tx1"/>
                        </a:solidFill>
                        <a:latin typeface="+mn-lt"/>
                        <a:ea typeface="+mn-ea"/>
                        <a:cs typeface="+mn-cs"/>
                      </a:endParaRPr>
                    </a:p>
                  </a:txBody>
                  <a:tcPr>
                    <a:solidFill>
                      <a:schemeClr val="accent3">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kern="1200" noProof="0">
                          <a:solidFill>
                            <a:schemeClr val="tx1"/>
                          </a:solidFill>
                          <a:latin typeface="+mn-lt"/>
                          <a:ea typeface="+mn-ea"/>
                          <a:cs typeface="+mn-cs"/>
                        </a:rPr>
                        <a:t>Supported for 2027</a:t>
                      </a:r>
                      <a:endParaRPr lang="en-US" sz="700" b="1" noProof="0">
                        <a:solidFill>
                          <a:schemeClr val="tx1"/>
                        </a:solidFill>
                      </a:endParaRPr>
                    </a:p>
                  </a:txBody>
                  <a:tcPr>
                    <a:solidFill>
                      <a:schemeClr val="accent3">
                        <a:lumMod val="20000"/>
                        <a:lumOff val="80000"/>
                      </a:schemeClr>
                    </a:solidFill>
                  </a:tcPr>
                </a:tc>
                <a:extLst>
                  <a:ext uri="{0D108BD9-81ED-4DB2-BD59-A6C34878D82A}">
                    <a16:rowId xmlns:a16="http://schemas.microsoft.com/office/drawing/2014/main" val="1322834381"/>
                  </a:ext>
                </a:extLst>
              </a:tr>
              <a:tr h="245308">
                <a:tc>
                  <a:txBody>
                    <a:bodyPr/>
                    <a:lstStyle/>
                    <a:p>
                      <a:pPr algn="ctr"/>
                      <a:r>
                        <a:rPr lang="en-US" sz="700" b="1" noProof="0"/>
                        <a:t>#45</a:t>
                      </a:r>
                    </a:p>
                  </a:txBody>
                  <a:tcPr/>
                </a:tc>
                <a:tc>
                  <a:txBody>
                    <a:bodyPr/>
                    <a:lstStyle/>
                    <a:p>
                      <a:pPr algn="ctr"/>
                      <a:r>
                        <a:rPr lang="en-US" sz="700" noProof="0"/>
                        <a:t>#24</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kern="1200" noProof="0">
                          <a:solidFill>
                            <a:schemeClr val="tx1"/>
                          </a:solidFill>
                          <a:latin typeface="+mn-lt"/>
                          <a:ea typeface="+mn-ea"/>
                          <a:cs typeface="+mn-cs"/>
                        </a:rPr>
                        <a:t>SCT Inst-EPI-No Need for POI Indicator in SCT Inst Transactions</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700" kern="1200" noProof="0">
                        <a:solidFill>
                          <a:schemeClr val="tx1"/>
                        </a:solidFill>
                        <a:latin typeface="+mn-lt"/>
                        <a:ea typeface="+mn-ea"/>
                        <a:cs typeface="+mn-cs"/>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kern="1200" noProof="0">
                          <a:solidFill>
                            <a:schemeClr val="tx1"/>
                          </a:solidFill>
                          <a:latin typeface="+mn-lt"/>
                          <a:ea typeface="+mn-ea"/>
                          <a:cs typeface="+mn-cs"/>
                        </a:rPr>
                        <a:t>X</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b="1" kern="1200" noProof="0">
                          <a:solidFill>
                            <a:schemeClr val="tx1"/>
                          </a:solidFill>
                          <a:latin typeface="+mn-lt"/>
                          <a:ea typeface="+mn-ea"/>
                          <a:cs typeface="+mn-cs"/>
                        </a:rPr>
                        <a:t>EPC External </a:t>
                      </a:r>
                      <a:r>
                        <a:rPr lang="en-US" sz="700" kern="1200" noProof="0">
                          <a:solidFill>
                            <a:schemeClr val="tx1"/>
                          </a:solidFill>
                          <a:latin typeface="+mn-lt"/>
                          <a:ea typeface="+mn-ea"/>
                          <a:cs typeface="+mn-cs"/>
                        </a:rPr>
                        <a:t>– No support 2027</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700" kern="1200" noProof="0">
                          <a:solidFill>
                            <a:schemeClr val="tx1"/>
                          </a:solidFill>
                          <a:latin typeface="+mn-lt"/>
                          <a:ea typeface="+mn-ea"/>
                          <a:cs typeface="+mn-cs"/>
                        </a:rPr>
                        <a:t>No change to Rulebook </a:t>
                      </a:r>
                    </a:p>
                  </a:txBody>
                  <a:tcPr>
                    <a:solidFill>
                      <a:schemeClr val="accent1">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kern="1200" noProof="0">
                          <a:solidFill>
                            <a:schemeClr val="tx1"/>
                          </a:solidFill>
                          <a:latin typeface="+mn-lt"/>
                          <a:ea typeface="+mn-ea"/>
                          <a:cs typeface="+mn-cs"/>
                        </a:rPr>
                        <a:t>No support for 2027</a:t>
                      </a:r>
                    </a:p>
                  </a:txBody>
                  <a:tcPr>
                    <a:solidFill>
                      <a:schemeClr val="accent1">
                        <a:lumMod val="20000"/>
                        <a:lumOff val="80000"/>
                      </a:schemeClr>
                    </a:solidFill>
                  </a:tcPr>
                </a:tc>
                <a:extLst>
                  <a:ext uri="{0D108BD9-81ED-4DB2-BD59-A6C34878D82A}">
                    <a16:rowId xmlns:a16="http://schemas.microsoft.com/office/drawing/2014/main" val="3209221393"/>
                  </a:ext>
                </a:extLst>
              </a:tr>
              <a:tr h="245308">
                <a:tc>
                  <a:txBody>
                    <a:bodyPr/>
                    <a:lstStyle/>
                    <a:p>
                      <a:pPr algn="ctr"/>
                      <a:r>
                        <a:rPr lang="en-US" sz="700" b="1" noProof="0"/>
                        <a:t>TBD </a:t>
                      </a:r>
                    </a:p>
                  </a:txBody>
                  <a:tcPr/>
                </a:tc>
                <a:tc>
                  <a:txBody>
                    <a:bodyPr/>
                    <a:lstStyle/>
                    <a:p>
                      <a:pPr algn="ctr"/>
                      <a:r>
                        <a:rPr lang="en-US" sz="700" noProof="0"/>
                        <a:t>#03</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kern="1200" noProof="0">
                          <a:solidFill>
                            <a:schemeClr val="tx1"/>
                          </a:solidFill>
                          <a:latin typeface="+mn-lt"/>
                          <a:ea typeface="+mn-ea"/>
                          <a:cs typeface="+mn-cs"/>
                        </a:rPr>
                        <a:t>Impact PSR article 65 and 69 - Suspicious transactions (</a:t>
                      </a:r>
                      <a:r>
                        <a:rPr lang="en-US" sz="700" i="0" strike="noStrike" noProof="0"/>
                        <a:t>Freeze and Reserve Funds)</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i="0" strike="noStrike" noProof="0"/>
                        <a:t>TBD </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i="0" strike="noStrike" noProof="0"/>
                        <a:t>TBD </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b="1" noProof="0">
                          <a:solidFill>
                            <a:schemeClr val="tx1"/>
                          </a:solidFill>
                        </a:rPr>
                        <a:t>No formal CR for 2027 </a:t>
                      </a:r>
                      <a:r>
                        <a:rPr lang="en-US" sz="700" noProof="0">
                          <a:solidFill>
                            <a:schemeClr val="tx1"/>
                          </a:solidFill>
                        </a:rPr>
                        <a:t>-</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700" noProof="0">
                          <a:solidFill>
                            <a:schemeClr val="tx1"/>
                          </a:solidFill>
                        </a:rPr>
                        <a:t>Regulatory CM cycle TBD </a:t>
                      </a:r>
                    </a:p>
                  </a:txBody>
                  <a:tcPr>
                    <a:solidFill>
                      <a:schemeClr val="accent2">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kern="1200" noProof="0">
                          <a:solidFill>
                            <a:schemeClr val="tx1"/>
                          </a:solidFill>
                          <a:latin typeface="+mn-lt"/>
                          <a:ea typeface="+mn-ea"/>
                          <a:cs typeface="+mn-cs"/>
                        </a:rPr>
                        <a:t>Open for 2027</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700" noProof="0">
                          <a:solidFill>
                            <a:schemeClr val="tx1"/>
                          </a:solidFill>
                        </a:rPr>
                        <a:t>“PSR package” – TBD </a:t>
                      </a:r>
                    </a:p>
                  </a:txBody>
                  <a:tcPr>
                    <a:solidFill>
                      <a:schemeClr val="accent2">
                        <a:lumMod val="20000"/>
                        <a:lumOff val="80000"/>
                      </a:schemeClr>
                    </a:solidFill>
                  </a:tcPr>
                </a:tc>
                <a:extLst>
                  <a:ext uri="{0D108BD9-81ED-4DB2-BD59-A6C34878D82A}">
                    <a16:rowId xmlns:a16="http://schemas.microsoft.com/office/drawing/2014/main" val="3356147176"/>
                  </a:ext>
                </a:extLst>
              </a:tr>
              <a:tr h="245308">
                <a:tc>
                  <a:txBody>
                    <a:bodyPr/>
                    <a:lstStyle/>
                    <a:p>
                      <a:pPr algn="ctr"/>
                      <a:r>
                        <a:rPr lang="en-US" sz="700" b="1" noProof="0"/>
                        <a:t>TBD </a:t>
                      </a:r>
                    </a:p>
                  </a:txBody>
                  <a:tcPr/>
                </a:tc>
                <a:tc>
                  <a:txBody>
                    <a:bodyPr/>
                    <a:lstStyle/>
                    <a:p>
                      <a:pPr algn="ctr"/>
                      <a:r>
                        <a:rPr lang="en-US" sz="700" noProof="0"/>
                        <a:t>#04</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kern="1200" noProof="0">
                          <a:solidFill>
                            <a:schemeClr val="tx1"/>
                          </a:solidFill>
                          <a:latin typeface="+mn-lt"/>
                          <a:ea typeface="+mn-ea"/>
                          <a:cs typeface="+mn-cs"/>
                        </a:rPr>
                        <a:t>Impact PSR article 16 and 25 - Suspicious transactions (Provision of commercial trade name)</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kern="1200" noProof="0">
                          <a:solidFill>
                            <a:schemeClr val="tx1"/>
                          </a:solidFill>
                          <a:latin typeface="+mn-lt"/>
                          <a:ea typeface="+mn-ea"/>
                          <a:cs typeface="+mn-cs"/>
                        </a:rPr>
                        <a:t>TBD </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kern="1200" noProof="0">
                          <a:solidFill>
                            <a:schemeClr val="tx1"/>
                          </a:solidFill>
                          <a:latin typeface="+mn-lt"/>
                          <a:ea typeface="+mn-ea"/>
                          <a:cs typeface="+mn-cs"/>
                        </a:rPr>
                        <a:t>TBD </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b="1" noProof="0">
                          <a:solidFill>
                            <a:schemeClr val="tx1"/>
                          </a:solidFill>
                        </a:rPr>
                        <a:t>No formal CR for 2027 </a:t>
                      </a:r>
                      <a:r>
                        <a:rPr lang="en-US" sz="700" noProof="0">
                          <a:solidFill>
                            <a:schemeClr val="tx1"/>
                          </a:solidFill>
                        </a:rPr>
                        <a:t>-</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700" noProof="0">
                          <a:solidFill>
                            <a:schemeClr val="tx1"/>
                          </a:solidFill>
                        </a:rPr>
                        <a:t>Regulatory CM cycle TBD </a:t>
                      </a:r>
                    </a:p>
                  </a:txBody>
                  <a:tcPr>
                    <a:solidFill>
                      <a:schemeClr val="accent2">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kern="1200" noProof="0">
                          <a:solidFill>
                            <a:schemeClr val="tx1"/>
                          </a:solidFill>
                          <a:latin typeface="+mn-lt"/>
                          <a:ea typeface="+mn-ea"/>
                          <a:cs typeface="+mn-cs"/>
                        </a:rPr>
                        <a:t>Open for 2027</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700" noProof="0">
                          <a:solidFill>
                            <a:schemeClr val="tx1"/>
                          </a:solidFill>
                        </a:rPr>
                        <a:t>“PSR package” – TBD </a:t>
                      </a:r>
                      <a:r>
                        <a:rPr lang="en-US" sz="700" kern="1200" noProof="0">
                          <a:solidFill>
                            <a:schemeClr val="tx1"/>
                          </a:solidFill>
                          <a:latin typeface="+mn-lt"/>
                          <a:ea typeface="+mn-ea"/>
                          <a:cs typeface="+mn-cs"/>
                        </a:rPr>
                        <a:t> </a:t>
                      </a:r>
                    </a:p>
                  </a:txBody>
                  <a:tcPr>
                    <a:solidFill>
                      <a:schemeClr val="accent2">
                        <a:lumMod val="20000"/>
                        <a:lumOff val="80000"/>
                      </a:schemeClr>
                    </a:solidFill>
                  </a:tcPr>
                </a:tc>
                <a:extLst>
                  <a:ext uri="{0D108BD9-81ED-4DB2-BD59-A6C34878D82A}">
                    <a16:rowId xmlns:a16="http://schemas.microsoft.com/office/drawing/2014/main" val="3915099772"/>
                  </a:ext>
                </a:extLst>
              </a:tr>
            </a:tbl>
          </a:graphicData>
        </a:graphic>
      </p:graphicFrame>
      <p:sp>
        <p:nvSpPr>
          <p:cNvPr id="8" name="textruta 7">
            <a:extLst>
              <a:ext uri="{FF2B5EF4-FFF2-40B4-BE49-F238E27FC236}">
                <a16:creationId xmlns:a16="http://schemas.microsoft.com/office/drawing/2014/main" id="{15909994-BBB2-E341-7939-4DAA38761FCC}"/>
              </a:ext>
            </a:extLst>
          </p:cNvPr>
          <p:cNvSpPr txBox="1"/>
          <p:nvPr/>
        </p:nvSpPr>
        <p:spPr>
          <a:xfrm>
            <a:off x="1637858" y="4739852"/>
            <a:ext cx="2297060" cy="253916"/>
          </a:xfrm>
          <a:prstGeom prst="rect">
            <a:avLst/>
          </a:prstGeom>
          <a:noFill/>
        </p:spPr>
        <p:txBody>
          <a:bodyPr wrap="square" rtlCol="0">
            <a:spAutoFit/>
          </a:bodyPr>
          <a:lstStyle/>
          <a:p>
            <a:r>
              <a:rPr lang="en-US" sz="1050" noProof="0"/>
              <a:t>Next PSEMWG meeting 2026-02-18</a:t>
            </a:r>
          </a:p>
        </p:txBody>
      </p:sp>
    </p:spTree>
    <p:extLst>
      <p:ext uri="{BB962C8B-B14F-4D97-AF65-F5344CB8AC3E}">
        <p14:creationId xmlns:p14="http://schemas.microsoft.com/office/powerpoint/2010/main" val="10362286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tshållare för sidfot 4">
            <a:extLst>
              <a:ext uri="{FF2B5EF4-FFF2-40B4-BE49-F238E27FC236}">
                <a16:creationId xmlns:a16="http://schemas.microsoft.com/office/drawing/2014/main" id="{CA97115B-0818-FA41-9867-383CEB5C2BB6}"/>
              </a:ext>
            </a:extLst>
          </p:cNvPr>
          <p:cNvSpPr>
            <a:spLocks noGrp="1"/>
          </p:cNvSpPr>
          <p:nvPr>
            <p:ph type="ftr" sz="quarter" idx="11"/>
          </p:nvPr>
        </p:nvSpPr>
        <p:spPr/>
        <p:txBody>
          <a:bodyPr/>
          <a:lstStyle/>
          <a:p>
            <a:r>
              <a:rPr lang="en-US" noProof="0"/>
              <a:t>Stakeholder Forum Agenda - Classification: External</a:t>
            </a:r>
          </a:p>
        </p:txBody>
      </p:sp>
      <p:sp>
        <p:nvSpPr>
          <p:cNvPr id="6" name="Platshållare för datum 5">
            <a:extLst>
              <a:ext uri="{FF2B5EF4-FFF2-40B4-BE49-F238E27FC236}">
                <a16:creationId xmlns:a16="http://schemas.microsoft.com/office/drawing/2014/main" id="{682E22A9-21BB-69C5-79AD-DB680E4E7BA7}"/>
              </a:ext>
            </a:extLst>
          </p:cNvPr>
          <p:cNvSpPr>
            <a:spLocks noGrp="1"/>
          </p:cNvSpPr>
          <p:nvPr>
            <p:ph type="dt" sz="half" idx="10"/>
          </p:nvPr>
        </p:nvSpPr>
        <p:spPr/>
        <p:txBody>
          <a:bodyPr/>
          <a:lstStyle/>
          <a:p>
            <a:r>
              <a:rPr lang="sv-SE" noProof="0"/>
              <a:t>26/03/2026</a:t>
            </a:r>
            <a:endParaRPr lang="en-US" noProof="0"/>
          </a:p>
        </p:txBody>
      </p:sp>
      <p:sp>
        <p:nvSpPr>
          <p:cNvPr id="7" name="Platshållare för bildnummer 6">
            <a:extLst>
              <a:ext uri="{FF2B5EF4-FFF2-40B4-BE49-F238E27FC236}">
                <a16:creationId xmlns:a16="http://schemas.microsoft.com/office/drawing/2014/main" id="{DDC82E14-B3B8-EEAA-87A9-BDD9A4A18166}"/>
              </a:ext>
            </a:extLst>
          </p:cNvPr>
          <p:cNvSpPr>
            <a:spLocks noGrp="1"/>
          </p:cNvSpPr>
          <p:nvPr>
            <p:ph type="sldNum" sz="quarter" idx="12"/>
          </p:nvPr>
        </p:nvSpPr>
        <p:spPr/>
        <p:txBody>
          <a:bodyPr/>
          <a:lstStyle/>
          <a:p>
            <a:fld id="{394EE31B-4DFC-CF4D-9A18-3F5D4D7C7302}" type="slidenum">
              <a:rPr lang="en-US" noProof="0" smtClean="0"/>
              <a:pPr/>
              <a:t>34</a:t>
            </a:fld>
            <a:endParaRPr lang="en-US" noProof="0"/>
          </a:p>
        </p:txBody>
      </p:sp>
      <p:pic>
        <p:nvPicPr>
          <p:cNvPr id="8" name="Bildobjekt 7">
            <a:extLst>
              <a:ext uri="{FF2B5EF4-FFF2-40B4-BE49-F238E27FC236}">
                <a16:creationId xmlns:a16="http://schemas.microsoft.com/office/drawing/2014/main" id="{ED466BC3-3786-5562-8EE4-5EA6F2FF11A5}"/>
              </a:ext>
            </a:extLst>
          </p:cNvPr>
          <p:cNvPicPr>
            <a:picLocks noChangeAspect="1"/>
          </p:cNvPicPr>
          <p:nvPr/>
        </p:nvPicPr>
        <p:blipFill>
          <a:blip r:embed="rId3"/>
          <a:stretch>
            <a:fillRect/>
          </a:stretch>
        </p:blipFill>
        <p:spPr>
          <a:xfrm>
            <a:off x="5666029" y="982927"/>
            <a:ext cx="2118122" cy="3021240"/>
          </a:xfrm>
          <a:prstGeom prst="rect">
            <a:avLst/>
          </a:prstGeom>
        </p:spPr>
      </p:pic>
      <p:sp>
        <p:nvSpPr>
          <p:cNvPr id="13" name="Rubrik 2">
            <a:extLst>
              <a:ext uri="{FF2B5EF4-FFF2-40B4-BE49-F238E27FC236}">
                <a16:creationId xmlns:a16="http://schemas.microsoft.com/office/drawing/2014/main" id="{A3B20268-F1C7-9F7F-3BF4-633C666F09B3}"/>
              </a:ext>
            </a:extLst>
          </p:cNvPr>
          <p:cNvSpPr txBox="1">
            <a:spLocks/>
          </p:cNvSpPr>
          <p:nvPr/>
        </p:nvSpPr>
        <p:spPr>
          <a:xfrm>
            <a:off x="284480" y="477980"/>
            <a:ext cx="4093842" cy="1009894"/>
          </a:xfrm>
          <a:prstGeom prst="rect">
            <a:avLst/>
          </a:prstGeom>
        </p:spPr>
        <p:txBody>
          <a:bodyPr lIns="0" tIns="0" rIns="0" bIns="0" anchor="t" anchorCtr="0">
            <a:normAutofit fontScale="97500"/>
          </a:bodyPr>
          <a:lstStyle>
            <a:lvl1pPr algn="l" defTabSz="457200" rtl="0" eaLnBrk="1" latinLnBrk="0" hangingPunct="1">
              <a:spcBef>
                <a:spcPct val="0"/>
              </a:spcBef>
              <a:buNone/>
              <a:defRPr sz="3600" kern="1200">
                <a:solidFill>
                  <a:schemeClr val="tx1"/>
                </a:solidFill>
                <a:latin typeface="Calibri"/>
                <a:ea typeface="+mj-ea"/>
                <a:cs typeface="Calibri"/>
              </a:defRPr>
            </a:lvl1pPr>
          </a:lstStyle>
          <a:p>
            <a:r>
              <a:rPr lang="en-US"/>
              <a:t>NOLO Inst scheme </a:t>
            </a:r>
          </a:p>
        </p:txBody>
      </p:sp>
      <p:sp>
        <p:nvSpPr>
          <p:cNvPr id="14" name="Platshållare för text 3">
            <a:extLst>
              <a:ext uri="{FF2B5EF4-FFF2-40B4-BE49-F238E27FC236}">
                <a16:creationId xmlns:a16="http://schemas.microsoft.com/office/drawing/2014/main" id="{00595C26-CF94-8495-CB75-EE102A0A9FD5}"/>
              </a:ext>
            </a:extLst>
          </p:cNvPr>
          <p:cNvSpPr>
            <a:spLocks noGrp="1"/>
          </p:cNvSpPr>
          <p:nvPr>
            <p:ph type="body" sz="quarter" idx="17"/>
          </p:nvPr>
        </p:nvSpPr>
        <p:spPr>
          <a:xfrm>
            <a:off x="223545" y="1254697"/>
            <a:ext cx="4093842" cy="842466"/>
          </a:xfrm>
        </p:spPr>
        <p:txBody>
          <a:bodyPr>
            <a:noAutofit/>
          </a:bodyPr>
          <a:lstStyle/>
          <a:p>
            <a:r>
              <a:rPr lang="en-US" sz="1300"/>
              <a:t>Rulebook finalized and out on public consultation </a:t>
            </a:r>
            <a:r>
              <a:rPr lang="en-US" sz="1300" b="1"/>
              <a:t>between March 15</a:t>
            </a:r>
            <a:r>
              <a:rPr lang="en-US" sz="1300" b="1" baseline="30000"/>
              <a:t>th</a:t>
            </a:r>
            <a:r>
              <a:rPr lang="en-US" sz="1300" b="1"/>
              <a:t> and June 11</a:t>
            </a:r>
            <a:r>
              <a:rPr lang="en-US" sz="1300" b="1" baseline="30000"/>
              <a:t>th</a:t>
            </a:r>
            <a:r>
              <a:rPr lang="en-US" sz="1300" b="1"/>
              <a:t>  </a:t>
            </a:r>
          </a:p>
          <a:p>
            <a:endParaRPr lang="en-US" sz="1300"/>
          </a:p>
          <a:p>
            <a:r>
              <a:rPr lang="en-GB" sz="1300"/>
              <a:t>NPC040-01 NPC One Leg Out Instant Credit Transfer Rulebook draft 0.99</a:t>
            </a:r>
          </a:p>
          <a:p>
            <a:r>
              <a:rPr lang="en-GB" sz="1300"/>
              <a:t>NPC046-01 NPC NOLO Inst Response template - public consultation on the NOLO Inst Rulebook</a:t>
            </a:r>
          </a:p>
          <a:p>
            <a:r>
              <a:rPr lang="en-GB" sz="1300"/>
              <a:t>Background to the development of the NOLO Inst Rulebook and its relation to the EPC OCT Inst Rulebook</a:t>
            </a:r>
          </a:p>
          <a:p>
            <a:endParaRPr lang="en-GB" sz="1300"/>
          </a:p>
          <a:p>
            <a:r>
              <a:rPr lang="en-GB" sz="1300">
                <a:hlinkClick r:id="rId4"/>
              </a:rPr>
              <a:t>nordicpaymentscouncil.org/</a:t>
            </a:r>
            <a:r>
              <a:rPr lang="en-GB" sz="1300" err="1">
                <a:hlinkClick r:id="rId4"/>
              </a:rPr>
              <a:t>npc</a:t>
            </a:r>
            <a:r>
              <a:rPr lang="en-GB" sz="1300">
                <a:hlinkClick r:id="rId4"/>
              </a:rPr>
              <a:t>-schemes/</a:t>
            </a:r>
            <a:r>
              <a:rPr lang="en-GB" sz="1300" err="1">
                <a:hlinkClick r:id="rId4"/>
              </a:rPr>
              <a:t>npc</a:t>
            </a:r>
            <a:r>
              <a:rPr lang="en-GB" sz="1300">
                <a:hlinkClick r:id="rId4"/>
              </a:rPr>
              <a:t>-one-leg-out-instant-credit-transfer-scheme/</a:t>
            </a:r>
            <a:endParaRPr lang="en-GB" sz="1300"/>
          </a:p>
          <a:p>
            <a:endParaRPr lang="en-GB" sz="1300"/>
          </a:p>
          <a:p>
            <a:r>
              <a:rPr lang="en-US" sz="1300"/>
              <a:t>NPC encourage all to take part in the public consultation! </a:t>
            </a:r>
          </a:p>
        </p:txBody>
      </p:sp>
    </p:spTree>
    <p:extLst>
      <p:ext uri="{BB962C8B-B14F-4D97-AF65-F5344CB8AC3E}">
        <p14:creationId xmlns:p14="http://schemas.microsoft.com/office/powerpoint/2010/main" val="384540793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122988-1A9A-03FA-7446-948461E5269C}"/>
            </a:ext>
          </a:extLst>
        </p:cNvPr>
        <p:cNvGrpSpPr/>
        <p:nvPr/>
      </p:nvGrpSpPr>
      <p:grpSpPr>
        <a:xfrm>
          <a:off x="0" y="0"/>
          <a:ext cx="0" cy="0"/>
          <a:chOff x="0" y="0"/>
          <a:chExt cx="0" cy="0"/>
        </a:xfrm>
      </p:grpSpPr>
      <p:sp>
        <p:nvSpPr>
          <p:cNvPr id="2" name="Rubrik 1">
            <a:extLst>
              <a:ext uri="{FF2B5EF4-FFF2-40B4-BE49-F238E27FC236}">
                <a16:creationId xmlns:a16="http://schemas.microsoft.com/office/drawing/2014/main" id="{D8690694-D5B4-8E78-F9CB-498F9D99FBE2}"/>
              </a:ext>
            </a:extLst>
          </p:cNvPr>
          <p:cNvSpPr>
            <a:spLocks noGrp="1"/>
          </p:cNvSpPr>
          <p:nvPr>
            <p:ph type="title"/>
          </p:nvPr>
        </p:nvSpPr>
        <p:spPr>
          <a:xfrm>
            <a:off x="259002" y="196434"/>
            <a:ext cx="8370889" cy="431199"/>
          </a:xfrm>
        </p:spPr>
        <p:txBody>
          <a:bodyPr>
            <a:normAutofit/>
          </a:bodyPr>
          <a:lstStyle/>
          <a:p>
            <a:r>
              <a:rPr lang="en-US" sz="2400" noProof="0"/>
              <a:t>Milestone plan NPC NOLO Inst Scheme Rulebook  </a:t>
            </a:r>
          </a:p>
        </p:txBody>
      </p:sp>
      <p:sp>
        <p:nvSpPr>
          <p:cNvPr id="4" name="Platshållare för sidfot 3">
            <a:extLst>
              <a:ext uri="{FF2B5EF4-FFF2-40B4-BE49-F238E27FC236}">
                <a16:creationId xmlns:a16="http://schemas.microsoft.com/office/drawing/2014/main" id="{F1EB7E80-5972-EDF5-6C95-3A3C0CB9DE94}"/>
              </a:ext>
            </a:extLst>
          </p:cNvPr>
          <p:cNvSpPr>
            <a:spLocks noGrp="1"/>
          </p:cNvSpPr>
          <p:nvPr>
            <p:ph type="ftr" sz="quarter" idx="11"/>
          </p:nvPr>
        </p:nvSpPr>
        <p:spPr/>
        <p:txBody>
          <a:bodyPr/>
          <a:lstStyle/>
          <a:p>
            <a:r>
              <a:rPr lang="en-US" noProof="0"/>
              <a:t>Stakeholder Forum Agenda - Classification: External</a:t>
            </a:r>
          </a:p>
        </p:txBody>
      </p:sp>
      <p:sp>
        <p:nvSpPr>
          <p:cNvPr id="5" name="Platshållare för datum 4">
            <a:extLst>
              <a:ext uri="{FF2B5EF4-FFF2-40B4-BE49-F238E27FC236}">
                <a16:creationId xmlns:a16="http://schemas.microsoft.com/office/drawing/2014/main" id="{4C0B73F1-36DB-91C5-45F8-7C240E0F4277}"/>
              </a:ext>
            </a:extLst>
          </p:cNvPr>
          <p:cNvSpPr>
            <a:spLocks noGrp="1"/>
          </p:cNvSpPr>
          <p:nvPr>
            <p:ph type="dt" sz="half" idx="10"/>
          </p:nvPr>
        </p:nvSpPr>
        <p:spPr/>
        <p:txBody>
          <a:bodyPr/>
          <a:lstStyle/>
          <a:p>
            <a:r>
              <a:rPr lang="sv-SE" noProof="0"/>
              <a:t>26/03/2026</a:t>
            </a:r>
            <a:endParaRPr lang="en-US" noProof="0"/>
          </a:p>
        </p:txBody>
      </p:sp>
      <p:graphicFrame>
        <p:nvGraphicFramePr>
          <p:cNvPr id="7" name="Tabell 6">
            <a:extLst>
              <a:ext uri="{FF2B5EF4-FFF2-40B4-BE49-F238E27FC236}">
                <a16:creationId xmlns:a16="http://schemas.microsoft.com/office/drawing/2014/main" id="{230B62CA-8298-ABA7-BED8-D8511C0C27CA}"/>
              </a:ext>
            </a:extLst>
          </p:cNvPr>
          <p:cNvGraphicFramePr>
            <a:graphicFrameLocks noGrp="1"/>
          </p:cNvGraphicFramePr>
          <p:nvPr>
            <p:extLst>
              <p:ext uri="{D42A27DB-BD31-4B8C-83A1-F6EECF244321}">
                <p14:modId xmlns:p14="http://schemas.microsoft.com/office/powerpoint/2010/main" val="2279607447"/>
              </p:ext>
            </p:extLst>
          </p:nvPr>
        </p:nvGraphicFramePr>
        <p:xfrm>
          <a:off x="131448" y="674370"/>
          <a:ext cx="8625996" cy="4023360"/>
        </p:xfrm>
        <a:graphic>
          <a:graphicData uri="http://schemas.openxmlformats.org/drawingml/2006/table">
            <a:tbl>
              <a:tblPr firstRow="1" bandRow="1">
                <a:tableStyleId>{00A15C55-8517-42AA-B614-E9B94910E393}</a:tableStyleId>
              </a:tblPr>
              <a:tblGrid>
                <a:gridCol w="557237">
                  <a:extLst>
                    <a:ext uri="{9D8B030D-6E8A-4147-A177-3AD203B41FA5}">
                      <a16:colId xmlns:a16="http://schemas.microsoft.com/office/drawing/2014/main" val="2068611391"/>
                    </a:ext>
                  </a:extLst>
                </a:gridCol>
                <a:gridCol w="2137261">
                  <a:extLst>
                    <a:ext uri="{9D8B030D-6E8A-4147-A177-3AD203B41FA5}">
                      <a16:colId xmlns:a16="http://schemas.microsoft.com/office/drawing/2014/main" val="1615122408"/>
                    </a:ext>
                  </a:extLst>
                </a:gridCol>
                <a:gridCol w="5931498">
                  <a:extLst>
                    <a:ext uri="{9D8B030D-6E8A-4147-A177-3AD203B41FA5}">
                      <a16:colId xmlns:a16="http://schemas.microsoft.com/office/drawing/2014/main" val="764358816"/>
                    </a:ext>
                  </a:extLst>
                </a:gridCol>
              </a:tblGrid>
              <a:tr h="217607">
                <a:tc gridSpan="3">
                  <a:txBody>
                    <a:bodyPr/>
                    <a:lstStyle/>
                    <a:p>
                      <a:pPr algn="ctr"/>
                      <a:r>
                        <a:rPr lang="en-US" sz="900" noProof="0"/>
                        <a:t>Milestone plan </a:t>
                      </a:r>
                    </a:p>
                  </a:txBody>
                  <a:tcPr/>
                </a:tc>
                <a:tc hMerge="1">
                  <a:txBody>
                    <a:bodyPr/>
                    <a:lstStyle/>
                    <a:p>
                      <a:endParaRPr lang="en-GB" sz="1200"/>
                    </a:p>
                  </a:txBody>
                  <a:tcPr/>
                </a:tc>
                <a:tc hMerge="1">
                  <a:txBody>
                    <a:bodyPr/>
                    <a:lstStyle/>
                    <a:p>
                      <a:endParaRPr lang="en-GB" sz="1200"/>
                    </a:p>
                  </a:txBody>
                  <a:tcPr/>
                </a:tc>
                <a:extLst>
                  <a:ext uri="{0D108BD9-81ED-4DB2-BD59-A6C34878D82A}">
                    <a16:rowId xmlns:a16="http://schemas.microsoft.com/office/drawing/2014/main" val="2545720391"/>
                  </a:ext>
                </a:extLst>
              </a:tr>
              <a:tr h="215551">
                <a:tc>
                  <a:txBody>
                    <a:bodyPr/>
                    <a:lstStyle/>
                    <a:p>
                      <a:endParaRPr lang="en-US" sz="900" noProof="0"/>
                    </a:p>
                  </a:txBody>
                  <a:tcPr/>
                </a:tc>
                <a:tc>
                  <a:txBody>
                    <a:bodyPr/>
                    <a:lstStyle/>
                    <a:p>
                      <a:r>
                        <a:rPr lang="en-US" sz="900" u="sng" noProof="0"/>
                        <a:t>Date </a:t>
                      </a:r>
                    </a:p>
                  </a:txBody>
                  <a:tcPr/>
                </a:tc>
                <a:tc>
                  <a:txBody>
                    <a:bodyPr/>
                    <a:lstStyle/>
                    <a:p>
                      <a:r>
                        <a:rPr lang="en-US" sz="900" u="sng" noProof="0"/>
                        <a:t>Description </a:t>
                      </a:r>
                    </a:p>
                  </a:txBody>
                  <a:tcPr/>
                </a:tc>
                <a:extLst>
                  <a:ext uri="{0D108BD9-81ED-4DB2-BD59-A6C34878D82A}">
                    <a16:rowId xmlns:a16="http://schemas.microsoft.com/office/drawing/2014/main" val="4290573239"/>
                  </a:ext>
                </a:extLst>
              </a:tr>
              <a:tr h="215551">
                <a:tc>
                  <a:txBody>
                    <a:bodyPr/>
                    <a:lstStyle/>
                    <a:p>
                      <a:pPr marL="171450" indent="-171450" algn="ctr">
                        <a:buFont typeface="Wingdings" panose="05000000000000000000" pitchFamily="2" charset="2"/>
                        <a:buChar char="ü"/>
                      </a:pPr>
                      <a:r>
                        <a:rPr lang="en-US" sz="900" b="1" noProof="0"/>
                        <a:t> </a:t>
                      </a:r>
                    </a:p>
                  </a:txBody>
                  <a:tcPr>
                    <a:solidFill>
                      <a:schemeClr val="accent3">
                        <a:lumMod val="20000"/>
                        <a:lumOff val="80000"/>
                      </a:schemeClr>
                    </a:solidFill>
                  </a:tcPr>
                </a:tc>
                <a:tc>
                  <a:txBody>
                    <a:bodyPr/>
                    <a:lstStyle/>
                    <a:p>
                      <a:r>
                        <a:rPr lang="en-US" sz="900" b="1" noProof="0"/>
                        <a:t>Feb 17</a:t>
                      </a:r>
                      <a:r>
                        <a:rPr lang="en-US" sz="900" b="1" baseline="30000" noProof="0"/>
                        <a:t>th</a:t>
                      </a:r>
                      <a:r>
                        <a:rPr lang="en-US" sz="900" b="1" kern="1200" noProof="0">
                          <a:solidFill>
                            <a:schemeClr val="dk1"/>
                          </a:solidFill>
                          <a:latin typeface="+mn-lt"/>
                          <a:ea typeface="+mn-ea"/>
                          <a:cs typeface="+mn-cs"/>
                        </a:rPr>
                        <a:t>, </a:t>
                      </a:r>
                      <a:r>
                        <a:rPr lang="en-US" sz="900" b="1" noProof="0"/>
                        <a:t>2025</a:t>
                      </a:r>
                    </a:p>
                  </a:txBody>
                  <a:tcPr>
                    <a:solidFill>
                      <a:schemeClr val="accent3">
                        <a:lumMod val="20000"/>
                        <a:lumOff val="80000"/>
                      </a:schemeClr>
                    </a:solidFill>
                  </a:tcPr>
                </a:tc>
                <a:tc>
                  <a:txBody>
                    <a:bodyPr/>
                    <a:lstStyle/>
                    <a:p>
                      <a:r>
                        <a:rPr lang="en-US" sz="900" b="1" noProof="0"/>
                        <a:t>SMC decision to start developing an NPC “NOLO Inst” Scheme </a:t>
                      </a:r>
                    </a:p>
                  </a:txBody>
                  <a:tcPr>
                    <a:solidFill>
                      <a:schemeClr val="accent3">
                        <a:lumMod val="20000"/>
                        <a:lumOff val="80000"/>
                      </a:schemeClr>
                    </a:solidFill>
                  </a:tcPr>
                </a:tc>
                <a:extLst>
                  <a:ext uri="{0D108BD9-81ED-4DB2-BD59-A6C34878D82A}">
                    <a16:rowId xmlns:a16="http://schemas.microsoft.com/office/drawing/2014/main" val="3262380755"/>
                  </a:ext>
                </a:extLst>
              </a:tr>
              <a:tr h="193188">
                <a:tc>
                  <a:txBody>
                    <a:bodyPr/>
                    <a:lstStyle/>
                    <a:p>
                      <a:pPr marL="171450" indent="-171450" algn="ctr">
                        <a:buFont typeface="Wingdings" panose="05000000000000000000" pitchFamily="2" charset="2"/>
                        <a:buChar char="ü"/>
                      </a:pPr>
                      <a:r>
                        <a:rPr lang="en-US" sz="900" noProof="0"/>
                        <a:t> </a:t>
                      </a:r>
                    </a:p>
                  </a:txBody>
                  <a:tcPr>
                    <a:solidFill>
                      <a:schemeClr val="accent3">
                        <a:lumMod val="20000"/>
                        <a:lumOff val="80000"/>
                      </a:schemeClr>
                    </a:solidFill>
                  </a:tcPr>
                </a:tc>
                <a:tc>
                  <a:txBody>
                    <a:bodyPr/>
                    <a:lstStyle/>
                    <a:p>
                      <a:r>
                        <a:rPr lang="en-US" sz="900" i="0" noProof="0"/>
                        <a:t>Mar 2025 </a:t>
                      </a:r>
                      <a:r>
                        <a:rPr lang="en-US" sz="900" i="0" noProof="0">
                          <a:sym typeface="Wingdings" panose="05000000000000000000" pitchFamily="2" charset="2"/>
                        </a:rPr>
                        <a:t> Feb 2026</a:t>
                      </a:r>
                    </a:p>
                  </a:txBody>
                  <a:tcPr>
                    <a:solidFill>
                      <a:schemeClr val="accent3">
                        <a:lumMod val="20000"/>
                        <a:lumOff val="80000"/>
                      </a:schemeClr>
                    </a:solidFill>
                  </a:tcPr>
                </a:tc>
                <a:tc>
                  <a:txBody>
                    <a:bodyPr/>
                    <a:lstStyle/>
                    <a:p>
                      <a:r>
                        <a:rPr lang="en-US" sz="900" noProof="0"/>
                        <a:t>OLO Task Force developing Rulebook </a:t>
                      </a:r>
                    </a:p>
                  </a:txBody>
                  <a:tcPr>
                    <a:solidFill>
                      <a:schemeClr val="accent3">
                        <a:lumMod val="20000"/>
                        <a:lumOff val="80000"/>
                      </a:schemeClr>
                    </a:solidFill>
                  </a:tcPr>
                </a:tc>
                <a:extLst>
                  <a:ext uri="{0D108BD9-81ED-4DB2-BD59-A6C34878D82A}">
                    <a16:rowId xmlns:a16="http://schemas.microsoft.com/office/drawing/2014/main" val="2402031205"/>
                  </a:ext>
                </a:extLst>
              </a:tr>
              <a:tr h="215551">
                <a:tc>
                  <a:txBody>
                    <a:bodyPr/>
                    <a:lstStyle/>
                    <a:p>
                      <a:endParaRPr lang="en-US" sz="900" noProof="0"/>
                    </a:p>
                  </a:txBody>
                  <a:tcPr>
                    <a:solidFill>
                      <a:schemeClr val="accent6">
                        <a:lumMod val="20000"/>
                        <a:lumOff val="80000"/>
                      </a:schemeClr>
                    </a:solidFill>
                  </a:tcPr>
                </a:tc>
                <a:tc>
                  <a:txBody>
                    <a:bodyPr/>
                    <a:lstStyle/>
                    <a:p>
                      <a:r>
                        <a:rPr lang="en-US" sz="900" i="0" noProof="0"/>
                        <a:t>May 2025 </a:t>
                      </a:r>
                      <a:r>
                        <a:rPr lang="en-US" sz="900" i="0" noProof="0">
                          <a:sym typeface="Wingdings" panose="05000000000000000000" pitchFamily="2" charset="2"/>
                        </a:rPr>
                        <a:t> Jun 2026</a:t>
                      </a:r>
                      <a:endParaRPr lang="en-US" sz="900" i="0" noProof="0"/>
                    </a:p>
                  </a:txBody>
                  <a:tcPr>
                    <a:solidFill>
                      <a:schemeClr val="accent6">
                        <a:lumMod val="20000"/>
                        <a:lumOff val="80000"/>
                      </a:schemeClr>
                    </a:solidFill>
                  </a:tcPr>
                </a:tc>
                <a:tc>
                  <a:txBody>
                    <a:bodyPr/>
                    <a:lstStyle/>
                    <a:p>
                      <a:r>
                        <a:rPr lang="en-US" sz="900" noProof="0"/>
                        <a:t>NPC TF IG (with support from OLO TF) developing Implementation Guidelines </a:t>
                      </a:r>
                    </a:p>
                  </a:txBody>
                  <a:tcPr>
                    <a:solidFill>
                      <a:schemeClr val="accent6">
                        <a:lumMod val="20000"/>
                        <a:lumOff val="80000"/>
                      </a:schemeClr>
                    </a:solidFill>
                  </a:tcPr>
                </a:tc>
                <a:extLst>
                  <a:ext uri="{0D108BD9-81ED-4DB2-BD59-A6C34878D82A}">
                    <a16:rowId xmlns:a16="http://schemas.microsoft.com/office/drawing/2014/main" val="2832449231"/>
                  </a:ext>
                </a:extLst>
              </a:tr>
              <a:tr h="215551">
                <a:tc>
                  <a:txBody>
                    <a:bodyPr/>
                    <a:lstStyle/>
                    <a:p>
                      <a:pPr marL="171450" indent="-171450" algn="ctr">
                        <a:buFont typeface="Wingdings" panose="05000000000000000000" pitchFamily="2" charset="2"/>
                        <a:buChar char="ü"/>
                      </a:pPr>
                      <a:r>
                        <a:rPr lang="en-US" sz="900" noProof="0"/>
                        <a:t> </a:t>
                      </a:r>
                    </a:p>
                  </a:txBody>
                  <a:tcPr>
                    <a:solidFill>
                      <a:schemeClr val="accent3">
                        <a:lumMod val="20000"/>
                        <a:lumOff val="80000"/>
                      </a:schemeClr>
                    </a:solidFill>
                  </a:tcPr>
                </a:tc>
                <a:tc>
                  <a:txBody>
                    <a:bodyPr/>
                    <a:lstStyle/>
                    <a:p>
                      <a:r>
                        <a:rPr lang="en-US" sz="900" b="0" i="0" noProof="0">
                          <a:sym typeface="Wingdings" panose="05000000000000000000" pitchFamily="2" charset="2"/>
                        </a:rPr>
                        <a:t>Sep 2025  Feb 2026</a:t>
                      </a:r>
                    </a:p>
                  </a:txBody>
                  <a:tcPr>
                    <a:solidFill>
                      <a:schemeClr val="accent3">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00" b="0" noProof="0"/>
                        <a:t>Legal support group support on specific legal questions from the review of NOLO Inst Rulebook </a:t>
                      </a:r>
                    </a:p>
                  </a:txBody>
                  <a:tcPr>
                    <a:solidFill>
                      <a:schemeClr val="accent3">
                        <a:lumMod val="20000"/>
                        <a:lumOff val="80000"/>
                      </a:schemeClr>
                    </a:solidFill>
                  </a:tcPr>
                </a:tc>
                <a:extLst>
                  <a:ext uri="{0D108BD9-81ED-4DB2-BD59-A6C34878D82A}">
                    <a16:rowId xmlns:a16="http://schemas.microsoft.com/office/drawing/2014/main" val="349530964"/>
                  </a:ext>
                </a:extLst>
              </a:tr>
              <a:tr h="215551">
                <a:tc>
                  <a:txBody>
                    <a:bodyPr/>
                    <a:lstStyle/>
                    <a:p>
                      <a:endParaRPr lang="en-US" sz="900" noProof="0"/>
                    </a:p>
                  </a:txBody>
                  <a:tcPr>
                    <a:solidFill>
                      <a:schemeClr val="accent6">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00" b="0" i="0" noProof="0">
                          <a:sym typeface="Wingdings" panose="05000000000000000000" pitchFamily="2" charset="2"/>
                        </a:rPr>
                        <a:t>Feb 2026  Jun 2026</a:t>
                      </a:r>
                    </a:p>
                  </a:txBody>
                  <a:tcPr>
                    <a:solidFill>
                      <a:schemeClr val="accent6">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00" noProof="0"/>
                        <a:t>Internal review by NCT &amp; NCT Inst WG on NOLO Inst Rulebook </a:t>
                      </a:r>
                    </a:p>
                  </a:txBody>
                  <a:tcPr>
                    <a:solidFill>
                      <a:schemeClr val="accent6">
                        <a:lumMod val="20000"/>
                        <a:lumOff val="80000"/>
                      </a:schemeClr>
                    </a:solidFill>
                  </a:tcPr>
                </a:tc>
                <a:extLst>
                  <a:ext uri="{0D108BD9-81ED-4DB2-BD59-A6C34878D82A}">
                    <a16:rowId xmlns:a16="http://schemas.microsoft.com/office/drawing/2014/main" val="3863176882"/>
                  </a:ext>
                </a:extLst>
              </a:tr>
              <a:tr h="215551">
                <a:tc>
                  <a:txBody>
                    <a:bodyPr/>
                    <a:lstStyle/>
                    <a:p>
                      <a:pPr marL="171450" indent="-171450" algn="ctr">
                        <a:buFont typeface="Wingdings" panose="05000000000000000000" pitchFamily="2" charset="2"/>
                        <a:buChar char="ü"/>
                      </a:pPr>
                      <a:r>
                        <a:rPr lang="en-US" sz="900" b="1" noProof="0"/>
                        <a:t> </a:t>
                      </a:r>
                    </a:p>
                  </a:txBody>
                  <a:tcPr>
                    <a:solidFill>
                      <a:schemeClr val="accent3">
                        <a:lumMod val="20000"/>
                        <a:lumOff val="80000"/>
                      </a:schemeClr>
                    </a:solidFill>
                  </a:tcPr>
                </a:tc>
                <a:tc>
                  <a:txBody>
                    <a:bodyPr/>
                    <a:lstStyle/>
                    <a:p>
                      <a:r>
                        <a:rPr lang="en-US" sz="900" b="1" i="0" noProof="0">
                          <a:sym typeface="Wingdings" panose="05000000000000000000" pitchFamily="2" charset="2"/>
                        </a:rPr>
                        <a:t>Feb 2026</a:t>
                      </a:r>
                    </a:p>
                  </a:txBody>
                  <a:tcPr>
                    <a:solidFill>
                      <a:schemeClr val="accent3">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00" b="1" noProof="0">
                          <a:solidFill>
                            <a:schemeClr val="tx1"/>
                          </a:solidFill>
                        </a:rPr>
                        <a:t>SMC decision to start Public Consultation (Mar 15</a:t>
                      </a:r>
                      <a:r>
                        <a:rPr lang="en-US" sz="900" b="1" baseline="30000" noProof="0">
                          <a:solidFill>
                            <a:schemeClr val="tx1"/>
                          </a:solidFill>
                        </a:rPr>
                        <a:t>th</a:t>
                      </a:r>
                      <a:r>
                        <a:rPr lang="en-US" sz="900" b="1" noProof="0">
                          <a:solidFill>
                            <a:schemeClr val="tx1"/>
                          </a:solidFill>
                        </a:rPr>
                        <a:t> 2026 until Jun 11</a:t>
                      </a:r>
                      <a:r>
                        <a:rPr lang="en-US" sz="900" b="1" baseline="30000" noProof="0">
                          <a:solidFill>
                            <a:schemeClr val="tx1"/>
                          </a:solidFill>
                        </a:rPr>
                        <a:t>th</a:t>
                      </a:r>
                      <a:r>
                        <a:rPr lang="en-US" sz="900" b="1" noProof="0">
                          <a:solidFill>
                            <a:schemeClr val="tx1"/>
                          </a:solidFill>
                        </a:rPr>
                        <a:t> 2026) on draft NPC NOLO Inst Scheme Rulebook </a:t>
                      </a:r>
                      <a:endParaRPr lang="en-US" sz="900" b="1" noProof="0"/>
                    </a:p>
                  </a:txBody>
                  <a:tcPr>
                    <a:solidFill>
                      <a:schemeClr val="accent3">
                        <a:lumMod val="20000"/>
                        <a:lumOff val="80000"/>
                      </a:schemeClr>
                    </a:solidFill>
                  </a:tcPr>
                </a:tc>
                <a:extLst>
                  <a:ext uri="{0D108BD9-81ED-4DB2-BD59-A6C34878D82A}">
                    <a16:rowId xmlns:a16="http://schemas.microsoft.com/office/drawing/2014/main" val="3542388060"/>
                  </a:ext>
                </a:extLst>
              </a:tr>
              <a:tr h="215551">
                <a:tc>
                  <a:txBody>
                    <a:bodyPr/>
                    <a:lstStyle/>
                    <a:p>
                      <a:pPr marL="171450" indent="-171450" algn="ctr">
                        <a:buFont typeface="Wingdings" panose="05000000000000000000" pitchFamily="2" charset="2"/>
                        <a:buChar char="ü"/>
                      </a:pPr>
                      <a:r>
                        <a:rPr lang="en-US" sz="900" noProof="0"/>
                        <a:t> </a:t>
                      </a:r>
                    </a:p>
                  </a:txBody>
                  <a:tcPr>
                    <a:solidFill>
                      <a:schemeClr val="accent3">
                        <a:lumMod val="20000"/>
                        <a:lumOff val="80000"/>
                      </a:schemeClr>
                    </a:solidFill>
                  </a:tcPr>
                </a:tc>
                <a:tc>
                  <a:txBody>
                    <a:bodyPr/>
                    <a:lstStyle/>
                    <a:p>
                      <a:r>
                        <a:rPr lang="en-US" sz="900" i="0" noProof="0"/>
                        <a:t>Mar 15</a:t>
                      </a:r>
                      <a:r>
                        <a:rPr lang="en-US" sz="900" i="0" baseline="30000" noProof="0"/>
                        <a:t>th</a:t>
                      </a:r>
                      <a:r>
                        <a:rPr lang="en-US" sz="900" i="0" noProof="0"/>
                        <a:t> 2026 </a:t>
                      </a:r>
                      <a:r>
                        <a:rPr lang="en-US" sz="900" i="0" noProof="0">
                          <a:sym typeface="Wingdings" panose="05000000000000000000" pitchFamily="2" charset="2"/>
                        </a:rPr>
                        <a:t> Jun 11</a:t>
                      </a:r>
                      <a:r>
                        <a:rPr lang="en-US" sz="900" i="0" baseline="30000" noProof="0">
                          <a:sym typeface="Wingdings" panose="05000000000000000000" pitchFamily="2" charset="2"/>
                        </a:rPr>
                        <a:t>th</a:t>
                      </a:r>
                      <a:r>
                        <a:rPr lang="en-US" sz="900" i="0" noProof="0">
                          <a:sym typeface="Wingdings" panose="05000000000000000000" pitchFamily="2" charset="2"/>
                        </a:rPr>
                        <a:t> 2026</a:t>
                      </a:r>
                    </a:p>
                  </a:txBody>
                  <a:tcPr>
                    <a:solidFill>
                      <a:schemeClr val="accent3">
                        <a:lumMod val="20000"/>
                        <a:lumOff val="80000"/>
                      </a:schemeClr>
                    </a:solidFill>
                  </a:tcPr>
                </a:tc>
                <a:tc>
                  <a:txBody>
                    <a:bodyPr/>
                    <a:lstStyle/>
                    <a:p>
                      <a:pPr algn="l"/>
                      <a:r>
                        <a:rPr lang="en-US" sz="900" i="0" kern="1200" noProof="0">
                          <a:solidFill>
                            <a:schemeClr val="dk1"/>
                          </a:solidFill>
                          <a:latin typeface="+mn-lt"/>
                          <a:ea typeface="+mn-ea"/>
                          <a:cs typeface="+mn-cs"/>
                        </a:rPr>
                        <a:t>Start of 90 days Public Consultation on first version of NPC NOLO Inst Scheme Rulebook until June 11th, 2026</a:t>
                      </a:r>
                    </a:p>
                  </a:txBody>
                  <a:tcPr>
                    <a:solidFill>
                      <a:schemeClr val="accent3">
                        <a:lumMod val="20000"/>
                        <a:lumOff val="80000"/>
                      </a:schemeClr>
                    </a:solidFill>
                  </a:tcPr>
                </a:tc>
                <a:extLst>
                  <a:ext uri="{0D108BD9-81ED-4DB2-BD59-A6C34878D82A}">
                    <a16:rowId xmlns:a16="http://schemas.microsoft.com/office/drawing/2014/main" val="2057821387"/>
                  </a:ext>
                </a:extLst>
              </a:tr>
              <a:tr h="215551">
                <a:tc>
                  <a:txBody>
                    <a:bodyPr/>
                    <a:lstStyle/>
                    <a:p>
                      <a:endParaRPr lang="en-US" sz="900" noProof="0"/>
                    </a:p>
                  </a:txBody>
                  <a:tcPr/>
                </a:tc>
                <a:tc>
                  <a:txBody>
                    <a:bodyPr/>
                    <a:lstStyle/>
                    <a:p>
                      <a:pPr marL="0" algn="l" defTabSz="914400" rtl="0" eaLnBrk="1" latinLnBrk="0" hangingPunct="1"/>
                      <a:r>
                        <a:rPr lang="en-US" sz="800" b="0" i="0" kern="1200" noProof="0">
                          <a:solidFill>
                            <a:schemeClr val="tx1"/>
                          </a:solidFill>
                          <a:highlight>
                            <a:srgbClr val="FFFF00"/>
                          </a:highlight>
                        </a:rPr>
                        <a:t> </a:t>
                      </a:r>
                      <a:r>
                        <a:rPr lang="en-US" sz="900" i="0" kern="1200" noProof="0">
                          <a:solidFill>
                            <a:schemeClr val="dk1"/>
                          </a:solidFill>
                          <a:highlight>
                            <a:srgbClr val="FFFF00"/>
                          </a:highlight>
                          <a:latin typeface="+mn-lt"/>
                          <a:ea typeface="+mn-ea"/>
                          <a:cs typeface="+mn-cs"/>
                        </a:rPr>
                        <a:t>Mar 2026</a:t>
                      </a:r>
                    </a:p>
                  </a:txBody>
                  <a:tcPr marL="68580" marR="68580" marT="34290" marB="34290"/>
                </a:tc>
                <a:tc>
                  <a:txBody>
                    <a:bodyPr/>
                    <a:lstStyle/>
                    <a:p>
                      <a:pPr marL="0" algn="l" defTabSz="914400" rtl="0" eaLnBrk="1" latinLnBrk="0" hangingPunct="1"/>
                      <a:r>
                        <a:rPr lang="en-US" sz="900" i="0" kern="1200" noProof="0">
                          <a:solidFill>
                            <a:schemeClr val="dk1"/>
                          </a:solidFill>
                          <a:highlight>
                            <a:srgbClr val="FFFF00"/>
                          </a:highlight>
                          <a:latin typeface="+mn-lt"/>
                          <a:ea typeface="+mn-ea"/>
                          <a:cs typeface="+mn-cs"/>
                        </a:rPr>
                        <a:t> NPC Stakeholder Forum: presentation and discussion NOLO Inst to prepare for position paper </a:t>
                      </a:r>
                    </a:p>
                  </a:txBody>
                  <a:tcPr marL="68580" marR="68580" marT="34290" marB="34290"/>
                </a:tc>
                <a:extLst>
                  <a:ext uri="{0D108BD9-81ED-4DB2-BD59-A6C34878D82A}">
                    <a16:rowId xmlns:a16="http://schemas.microsoft.com/office/drawing/2014/main" val="2297595777"/>
                  </a:ext>
                </a:extLst>
              </a:tr>
              <a:tr h="215551">
                <a:tc>
                  <a:txBody>
                    <a:bodyPr/>
                    <a:lstStyle/>
                    <a:p>
                      <a:endParaRPr lang="en-US" sz="900" noProof="0"/>
                    </a:p>
                  </a:txBody>
                  <a:tcPr/>
                </a:tc>
                <a:tc>
                  <a:txBody>
                    <a:bodyPr/>
                    <a:lstStyle/>
                    <a:p>
                      <a:r>
                        <a:rPr lang="en-US" sz="900" i="0" noProof="0"/>
                        <a:t>Apr 2026 </a:t>
                      </a:r>
                      <a:r>
                        <a:rPr lang="en-US" sz="900" i="0" noProof="0">
                          <a:sym typeface="Wingdings" panose="05000000000000000000" pitchFamily="2" charset="2"/>
                        </a:rPr>
                        <a:t> Sep 2026</a:t>
                      </a:r>
                      <a:endParaRPr lang="en-US" sz="900" i="0" noProof="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00" i="0" kern="1200" noProof="0">
                          <a:solidFill>
                            <a:schemeClr val="dk1"/>
                          </a:solidFill>
                          <a:latin typeface="+mn-lt"/>
                          <a:ea typeface="+mn-ea"/>
                          <a:cs typeface="+mn-cs"/>
                        </a:rPr>
                        <a:t>OLO TF review outcome of the Public consultation </a:t>
                      </a:r>
                    </a:p>
                  </a:txBody>
                  <a:tcPr/>
                </a:tc>
                <a:extLst>
                  <a:ext uri="{0D108BD9-81ED-4DB2-BD59-A6C34878D82A}">
                    <a16:rowId xmlns:a16="http://schemas.microsoft.com/office/drawing/2014/main" val="4222225464"/>
                  </a:ext>
                </a:extLst>
              </a:tr>
              <a:tr h="143552">
                <a:tc>
                  <a:txBody>
                    <a:bodyPr/>
                    <a:lstStyle/>
                    <a:p>
                      <a:endParaRPr lang="en-US" sz="900" noProof="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00" i="0" noProof="0"/>
                        <a:t>Jun 2026 </a:t>
                      </a:r>
                      <a:r>
                        <a:rPr lang="en-US" sz="900" i="0" noProof="0">
                          <a:sym typeface="Wingdings" panose="05000000000000000000" pitchFamily="2" charset="2"/>
                        </a:rPr>
                        <a:t> Oct 2026</a:t>
                      </a:r>
                      <a:endParaRPr lang="en-US" sz="900" i="0" noProof="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00" i="0" kern="1200" noProof="0">
                          <a:solidFill>
                            <a:schemeClr val="dk1"/>
                          </a:solidFill>
                          <a:latin typeface="+mn-lt"/>
                          <a:ea typeface="+mn-ea"/>
                          <a:cs typeface="+mn-cs"/>
                        </a:rPr>
                        <a:t>OLO TF making updates and adjustments based on comments from the market in public consultation and preparing the final version of the NPC NOLO Inst Scheme Rulebook</a:t>
                      </a:r>
                    </a:p>
                  </a:txBody>
                  <a:tcPr/>
                </a:tc>
                <a:extLst>
                  <a:ext uri="{0D108BD9-81ED-4DB2-BD59-A6C34878D82A}">
                    <a16:rowId xmlns:a16="http://schemas.microsoft.com/office/drawing/2014/main" val="347980926"/>
                  </a:ext>
                </a:extLst>
              </a:tr>
              <a:tr h="215551">
                <a:tc>
                  <a:txBody>
                    <a:bodyPr/>
                    <a:lstStyle/>
                    <a:p>
                      <a:endParaRPr lang="en-US" sz="900" noProof="0"/>
                    </a:p>
                  </a:txBody>
                  <a:tcPr/>
                </a:tc>
                <a:tc>
                  <a:txBody>
                    <a:bodyPr/>
                    <a:lstStyle/>
                    <a:p>
                      <a:r>
                        <a:rPr lang="en-US" sz="900" b="0" i="0" noProof="0">
                          <a:highlight>
                            <a:srgbClr val="FFFF00"/>
                          </a:highlight>
                          <a:sym typeface="Wingdings" panose="05000000000000000000" pitchFamily="2" charset="2"/>
                        </a:rPr>
                        <a:t>Oct 2026</a:t>
                      </a:r>
                      <a:endParaRPr lang="en-US" sz="900" b="0" i="0" noProof="0">
                        <a:highlight>
                          <a:srgbClr val="FFFF00"/>
                        </a:highlight>
                      </a:endParaRPr>
                    </a:p>
                  </a:txBody>
                  <a:tcPr/>
                </a:tc>
                <a:tc>
                  <a:txBody>
                    <a:bodyPr/>
                    <a:lstStyle/>
                    <a:p>
                      <a:pPr algn="l"/>
                      <a:r>
                        <a:rPr lang="en-US" sz="900" i="0" kern="1200" noProof="0">
                          <a:solidFill>
                            <a:schemeClr val="dk1"/>
                          </a:solidFill>
                          <a:highlight>
                            <a:srgbClr val="FFFF00"/>
                          </a:highlight>
                          <a:latin typeface="+mn-lt"/>
                          <a:ea typeface="+mn-ea"/>
                          <a:cs typeface="+mn-cs"/>
                        </a:rPr>
                        <a:t>NPC Stakeholder Forum: formal position on NOLO Inst Scheme Rulebook </a:t>
                      </a:r>
                    </a:p>
                  </a:txBody>
                  <a:tcPr/>
                </a:tc>
                <a:extLst>
                  <a:ext uri="{0D108BD9-81ED-4DB2-BD59-A6C34878D82A}">
                    <a16:rowId xmlns:a16="http://schemas.microsoft.com/office/drawing/2014/main" val="1712878732"/>
                  </a:ext>
                </a:extLst>
              </a:tr>
              <a:tr h="215551">
                <a:tc>
                  <a:txBody>
                    <a:bodyPr/>
                    <a:lstStyle/>
                    <a:p>
                      <a:endParaRPr lang="en-US" sz="900" noProof="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00" b="0" i="0" noProof="0"/>
                        <a:t>Sep 2026 </a:t>
                      </a:r>
                      <a:r>
                        <a:rPr lang="en-US" sz="900" b="0" i="0" noProof="0">
                          <a:sym typeface="Wingdings" panose="05000000000000000000" pitchFamily="2" charset="2"/>
                        </a:rPr>
                        <a:t> Oct 2026</a:t>
                      </a:r>
                      <a:endParaRPr lang="en-US" sz="900" b="0" i="0" noProof="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00" i="0" kern="1200" noProof="0">
                          <a:solidFill>
                            <a:schemeClr val="dk1"/>
                          </a:solidFill>
                          <a:latin typeface="+mn-lt"/>
                          <a:ea typeface="+mn-ea"/>
                          <a:cs typeface="+mn-cs"/>
                        </a:rPr>
                        <a:t>Legal Support Group review final version of NOLO Inst Scheme Rulebook</a:t>
                      </a:r>
                    </a:p>
                  </a:txBody>
                  <a:tcPr/>
                </a:tc>
                <a:extLst>
                  <a:ext uri="{0D108BD9-81ED-4DB2-BD59-A6C34878D82A}">
                    <a16:rowId xmlns:a16="http://schemas.microsoft.com/office/drawing/2014/main" val="1245003983"/>
                  </a:ext>
                </a:extLst>
              </a:tr>
              <a:tr h="215551">
                <a:tc>
                  <a:txBody>
                    <a:bodyPr/>
                    <a:lstStyle/>
                    <a:p>
                      <a:endParaRPr lang="en-US" sz="900" b="1" noProof="0"/>
                    </a:p>
                  </a:txBody>
                  <a:tcPr/>
                </a:tc>
                <a:tc>
                  <a:txBody>
                    <a:bodyPr/>
                    <a:lstStyle/>
                    <a:p>
                      <a:r>
                        <a:rPr lang="en-US" sz="900" b="1" i="0" noProof="0"/>
                        <a:t>Nov 2026 </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00" i="0" kern="1200" noProof="0">
                          <a:solidFill>
                            <a:schemeClr val="dk1"/>
                          </a:solidFill>
                          <a:latin typeface="+mn-lt"/>
                          <a:ea typeface="+mn-ea"/>
                          <a:cs typeface="+mn-cs"/>
                        </a:rPr>
                        <a:t>SMC meeting: final decision and approval to publish version 1.0 of NOLO Inst Scheme Rulebook</a:t>
                      </a:r>
                    </a:p>
                  </a:txBody>
                  <a:tcPr/>
                </a:tc>
                <a:extLst>
                  <a:ext uri="{0D108BD9-81ED-4DB2-BD59-A6C34878D82A}">
                    <a16:rowId xmlns:a16="http://schemas.microsoft.com/office/drawing/2014/main" val="497814496"/>
                  </a:ext>
                </a:extLst>
              </a:tr>
              <a:tr h="215551">
                <a:tc>
                  <a:txBody>
                    <a:bodyPr/>
                    <a:lstStyle/>
                    <a:p>
                      <a:endParaRPr lang="en-US" sz="900" noProof="0"/>
                    </a:p>
                  </a:txBody>
                  <a:tcPr/>
                </a:tc>
                <a:tc>
                  <a:txBody>
                    <a:bodyPr/>
                    <a:lstStyle/>
                    <a:p>
                      <a:r>
                        <a:rPr lang="en-US" sz="900" i="0" noProof="0"/>
                        <a:t>Nov 2026</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00" i="0" kern="1200" noProof="0">
                          <a:solidFill>
                            <a:schemeClr val="dk1"/>
                          </a:solidFill>
                          <a:latin typeface="+mn-lt"/>
                          <a:ea typeface="+mn-ea"/>
                          <a:cs typeface="+mn-cs"/>
                        </a:rPr>
                        <a:t>Publication of NPC NOLO Inst Scheme Rulebook 2026 version </a:t>
                      </a:r>
                    </a:p>
                  </a:txBody>
                  <a:tcPr/>
                </a:tc>
                <a:extLst>
                  <a:ext uri="{0D108BD9-81ED-4DB2-BD59-A6C34878D82A}">
                    <a16:rowId xmlns:a16="http://schemas.microsoft.com/office/drawing/2014/main" val="886845485"/>
                  </a:ext>
                </a:extLst>
              </a:tr>
              <a:tr h="215551">
                <a:tc>
                  <a:txBody>
                    <a:bodyPr/>
                    <a:lstStyle/>
                    <a:p>
                      <a:endParaRPr lang="en-US" sz="900" noProof="0"/>
                    </a:p>
                  </a:txBody>
                  <a:tcPr/>
                </a:tc>
                <a:tc>
                  <a:txBody>
                    <a:bodyPr/>
                    <a:lstStyle/>
                    <a:p>
                      <a:r>
                        <a:rPr lang="en-US" sz="900" i="0" noProof="0"/>
                        <a:t>Nov 2026</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00" i="0" kern="1200" noProof="0">
                          <a:solidFill>
                            <a:schemeClr val="dk1"/>
                          </a:solidFill>
                          <a:latin typeface="+mn-lt"/>
                          <a:ea typeface="+mn-ea"/>
                          <a:cs typeface="+mn-cs"/>
                        </a:rPr>
                        <a:t>Entry into force of NPC NOLO Inst Scheme Rulebook 2026 version </a:t>
                      </a:r>
                    </a:p>
                  </a:txBody>
                  <a:tcPr/>
                </a:tc>
                <a:extLst>
                  <a:ext uri="{0D108BD9-81ED-4DB2-BD59-A6C34878D82A}">
                    <a16:rowId xmlns:a16="http://schemas.microsoft.com/office/drawing/2014/main" val="1412605861"/>
                  </a:ext>
                </a:extLst>
              </a:tr>
            </a:tbl>
          </a:graphicData>
        </a:graphic>
      </p:graphicFrame>
      <p:sp>
        <p:nvSpPr>
          <p:cNvPr id="6" name="Platshållare för bildnummer 5">
            <a:extLst>
              <a:ext uri="{FF2B5EF4-FFF2-40B4-BE49-F238E27FC236}">
                <a16:creationId xmlns:a16="http://schemas.microsoft.com/office/drawing/2014/main" id="{8ED26AAB-E41B-B6E7-B7B2-A4A13600A4C6}"/>
              </a:ext>
            </a:extLst>
          </p:cNvPr>
          <p:cNvSpPr>
            <a:spLocks noGrp="1"/>
          </p:cNvSpPr>
          <p:nvPr>
            <p:ph type="sldNum" sz="quarter" idx="12"/>
          </p:nvPr>
        </p:nvSpPr>
        <p:spPr/>
        <p:txBody>
          <a:bodyPr/>
          <a:lstStyle/>
          <a:p>
            <a:fld id="{394EE31B-4DFC-CF4D-9A18-3F5D4D7C7302}" type="slidenum">
              <a:rPr lang="en-US" noProof="0" smtClean="0"/>
              <a:pPr/>
              <a:t>35</a:t>
            </a:fld>
            <a:endParaRPr lang="en-US" noProof="0"/>
          </a:p>
        </p:txBody>
      </p:sp>
    </p:spTree>
    <p:extLst>
      <p:ext uri="{BB962C8B-B14F-4D97-AF65-F5344CB8AC3E}">
        <p14:creationId xmlns:p14="http://schemas.microsoft.com/office/powerpoint/2010/main" val="1520211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B4D87-0163-C555-BDBF-9A805BBA20FD}"/>
            </a:ext>
          </a:extLst>
        </p:cNvPr>
        <p:cNvGrpSpPr/>
        <p:nvPr/>
      </p:nvGrpSpPr>
      <p:grpSpPr>
        <a:xfrm>
          <a:off x="0" y="0"/>
          <a:ext cx="0" cy="0"/>
          <a:chOff x="0" y="0"/>
          <a:chExt cx="0" cy="0"/>
        </a:xfrm>
      </p:grpSpPr>
      <p:sp>
        <p:nvSpPr>
          <p:cNvPr id="2" name="Rubrik 1">
            <a:extLst>
              <a:ext uri="{FF2B5EF4-FFF2-40B4-BE49-F238E27FC236}">
                <a16:creationId xmlns:a16="http://schemas.microsoft.com/office/drawing/2014/main" id="{7D184BE0-5083-1535-4D25-5869015A4791}"/>
              </a:ext>
            </a:extLst>
          </p:cNvPr>
          <p:cNvSpPr>
            <a:spLocks noGrp="1"/>
          </p:cNvSpPr>
          <p:nvPr>
            <p:ph type="title"/>
          </p:nvPr>
        </p:nvSpPr>
        <p:spPr>
          <a:xfrm>
            <a:off x="224662" y="159652"/>
            <a:ext cx="8370889" cy="457608"/>
          </a:xfrm>
        </p:spPr>
        <p:txBody>
          <a:bodyPr>
            <a:noAutofit/>
          </a:bodyPr>
          <a:lstStyle/>
          <a:p>
            <a:r>
              <a:rPr lang="en-US" sz="2300"/>
              <a:t>Time plan - NOLO Inst scheme </a:t>
            </a:r>
          </a:p>
        </p:txBody>
      </p:sp>
      <p:sp>
        <p:nvSpPr>
          <p:cNvPr id="4" name="Platshållare för sidfot 3">
            <a:extLst>
              <a:ext uri="{FF2B5EF4-FFF2-40B4-BE49-F238E27FC236}">
                <a16:creationId xmlns:a16="http://schemas.microsoft.com/office/drawing/2014/main" id="{FD5CDFE8-D88E-81A2-A17A-B809C8E2A995}"/>
              </a:ext>
            </a:extLst>
          </p:cNvPr>
          <p:cNvSpPr>
            <a:spLocks noGrp="1"/>
          </p:cNvSpPr>
          <p:nvPr>
            <p:ph type="ftr" sz="quarter" idx="11"/>
          </p:nvPr>
        </p:nvSpPr>
        <p:spPr>
          <a:xfrm>
            <a:off x="5926039" y="4760689"/>
            <a:ext cx="2393238" cy="382813"/>
          </a:xfrm>
        </p:spPr>
        <p:txBody>
          <a:bodyPr/>
          <a:lstStyle/>
          <a:p>
            <a:r>
              <a:rPr lang="en-US" noProof="0"/>
              <a:t>Stakeholder Forum Agenda - Classification: External</a:t>
            </a:r>
          </a:p>
        </p:txBody>
      </p:sp>
      <p:sp>
        <p:nvSpPr>
          <p:cNvPr id="5" name="Platshållare för datum 4">
            <a:extLst>
              <a:ext uri="{FF2B5EF4-FFF2-40B4-BE49-F238E27FC236}">
                <a16:creationId xmlns:a16="http://schemas.microsoft.com/office/drawing/2014/main" id="{F922FF1E-0E96-E0B2-0D0B-B0D10664F19B}"/>
              </a:ext>
            </a:extLst>
          </p:cNvPr>
          <p:cNvSpPr>
            <a:spLocks noGrp="1"/>
          </p:cNvSpPr>
          <p:nvPr>
            <p:ph type="dt" sz="half" idx="10"/>
          </p:nvPr>
        </p:nvSpPr>
        <p:spPr>
          <a:xfrm>
            <a:off x="5199438" y="4616492"/>
            <a:ext cx="1018558" cy="370949"/>
          </a:xfrm>
        </p:spPr>
        <p:txBody>
          <a:bodyPr/>
          <a:lstStyle/>
          <a:p>
            <a:r>
              <a:rPr lang="sv-SE" noProof="0"/>
              <a:t>26/03/2026</a:t>
            </a:r>
            <a:endParaRPr lang="en-US" noProof="0"/>
          </a:p>
        </p:txBody>
      </p:sp>
      <p:sp>
        <p:nvSpPr>
          <p:cNvPr id="6" name="Platshållare för bildnummer 5">
            <a:extLst>
              <a:ext uri="{FF2B5EF4-FFF2-40B4-BE49-F238E27FC236}">
                <a16:creationId xmlns:a16="http://schemas.microsoft.com/office/drawing/2014/main" id="{5DCAAFC3-6CF1-0826-73D9-9C5F9275CBB0}"/>
              </a:ext>
            </a:extLst>
          </p:cNvPr>
          <p:cNvSpPr>
            <a:spLocks noGrp="1"/>
          </p:cNvSpPr>
          <p:nvPr>
            <p:ph type="sldNum" sz="quarter" idx="12"/>
          </p:nvPr>
        </p:nvSpPr>
        <p:spPr>
          <a:xfrm>
            <a:off x="8383230" y="4219448"/>
            <a:ext cx="368658" cy="396987"/>
          </a:xfrm>
        </p:spPr>
        <p:txBody>
          <a:bodyPr/>
          <a:lstStyle/>
          <a:p>
            <a:fld id="{394EE31B-4DFC-CF4D-9A18-3F5D4D7C7302}" type="slidenum">
              <a:rPr lang="en-US" noProof="0" smtClean="0"/>
              <a:pPr/>
              <a:t>36</a:t>
            </a:fld>
            <a:endParaRPr lang="en-US" noProof="0"/>
          </a:p>
        </p:txBody>
      </p:sp>
      <p:grpSp>
        <p:nvGrpSpPr>
          <p:cNvPr id="30" name="Grupp 29">
            <a:extLst>
              <a:ext uri="{FF2B5EF4-FFF2-40B4-BE49-F238E27FC236}">
                <a16:creationId xmlns:a16="http://schemas.microsoft.com/office/drawing/2014/main" id="{45940F9F-0216-1D37-2E1E-BE4760FEA050}"/>
              </a:ext>
            </a:extLst>
          </p:cNvPr>
          <p:cNvGrpSpPr/>
          <p:nvPr/>
        </p:nvGrpSpPr>
        <p:grpSpPr>
          <a:xfrm>
            <a:off x="281209" y="904118"/>
            <a:ext cx="8092100" cy="3399313"/>
            <a:chOff x="374944" y="1205490"/>
            <a:chExt cx="10789467" cy="4532417"/>
          </a:xfrm>
        </p:grpSpPr>
        <p:grpSp>
          <p:nvGrpSpPr>
            <p:cNvPr id="3" name="Grupp 2">
              <a:extLst>
                <a:ext uri="{FF2B5EF4-FFF2-40B4-BE49-F238E27FC236}">
                  <a16:creationId xmlns:a16="http://schemas.microsoft.com/office/drawing/2014/main" id="{F0FF093A-AEC8-F8DD-0BC6-CEF120B3C01C}"/>
                </a:ext>
              </a:extLst>
            </p:cNvPr>
            <p:cNvGrpSpPr/>
            <p:nvPr/>
          </p:nvGrpSpPr>
          <p:grpSpPr>
            <a:xfrm>
              <a:off x="374944" y="1205490"/>
              <a:ext cx="10789467" cy="4532417"/>
              <a:chOff x="374944" y="1205490"/>
              <a:chExt cx="10789467" cy="4532417"/>
            </a:xfrm>
          </p:grpSpPr>
          <p:sp>
            <p:nvSpPr>
              <p:cNvPr id="70" name="Rectangle 69">
                <a:extLst>
                  <a:ext uri="{FF2B5EF4-FFF2-40B4-BE49-F238E27FC236}">
                    <a16:creationId xmlns:a16="http://schemas.microsoft.com/office/drawing/2014/main" id="{AC654530-52C8-7BFA-8325-C6D62836A02E}"/>
                  </a:ext>
                </a:extLst>
              </p:cNvPr>
              <p:cNvSpPr/>
              <p:nvPr/>
            </p:nvSpPr>
            <p:spPr>
              <a:xfrm>
                <a:off x="374944" y="4119432"/>
                <a:ext cx="10783424" cy="1618475"/>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8" name="Rectangle 57">
                <a:extLst>
                  <a:ext uri="{FF2B5EF4-FFF2-40B4-BE49-F238E27FC236}">
                    <a16:creationId xmlns:a16="http://schemas.microsoft.com/office/drawing/2014/main" id="{533A6731-FDA8-5451-47D0-3240167486F4}"/>
                  </a:ext>
                </a:extLst>
              </p:cNvPr>
              <p:cNvSpPr/>
              <p:nvPr/>
            </p:nvSpPr>
            <p:spPr>
              <a:xfrm>
                <a:off x="374944" y="1692013"/>
                <a:ext cx="10783424" cy="2342225"/>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1" name="Rektangel 50">
                <a:extLst>
                  <a:ext uri="{FF2B5EF4-FFF2-40B4-BE49-F238E27FC236}">
                    <a16:creationId xmlns:a16="http://schemas.microsoft.com/office/drawing/2014/main" id="{7E88A26F-FCA2-3069-6037-DC6295CE1315}"/>
                  </a:ext>
                </a:extLst>
              </p:cNvPr>
              <p:cNvSpPr/>
              <p:nvPr/>
            </p:nvSpPr>
            <p:spPr>
              <a:xfrm>
                <a:off x="8449875" y="1208590"/>
                <a:ext cx="2708493" cy="338540"/>
              </a:xfrm>
              <a:prstGeom prst="rect">
                <a:avLst/>
              </a:prstGeom>
              <a:solidFill>
                <a:schemeClr val="bg2">
                  <a:lumMod val="90000"/>
                </a:schemeClr>
              </a:solidFill>
            </p:spPr>
            <p:style>
              <a:lnRef idx="1">
                <a:schemeClr val="dk1"/>
              </a:lnRef>
              <a:fillRef idx="3">
                <a:schemeClr val="dk1"/>
              </a:fillRef>
              <a:effectRef idx="2">
                <a:schemeClr val="dk1"/>
              </a:effectRef>
              <a:fontRef idx="minor">
                <a:schemeClr val="lt1"/>
              </a:fontRef>
            </p:style>
            <p:txBody>
              <a:bodyPr rtlCol="0" anchor="ctr"/>
              <a:lstStyle/>
              <a:p>
                <a:pPr algn="ctr"/>
                <a:endParaRPr lang="en-US"/>
              </a:p>
            </p:txBody>
          </p:sp>
          <p:sp>
            <p:nvSpPr>
              <p:cNvPr id="46" name="Rektangel 45">
                <a:extLst>
                  <a:ext uri="{FF2B5EF4-FFF2-40B4-BE49-F238E27FC236}">
                    <a16:creationId xmlns:a16="http://schemas.microsoft.com/office/drawing/2014/main" id="{6ABDACBB-2610-2D4A-4564-2A1B98EACCC4}"/>
                  </a:ext>
                </a:extLst>
              </p:cNvPr>
              <p:cNvSpPr/>
              <p:nvPr/>
            </p:nvSpPr>
            <p:spPr>
              <a:xfrm>
                <a:off x="5072233" y="1209094"/>
                <a:ext cx="3331471" cy="338540"/>
              </a:xfrm>
              <a:prstGeom prst="rect">
                <a:avLst/>
              </a:prstGeom>
              <a:solidFill>
                <a:schemeClr val="bg2">
                  <a:lumMod val="90000"/>
                </a:schemeClr>
              </a:solidFill>
            </p:spPr>
            <p:style>
              <a:lnRef idx="1">
                <a:schemeClr val="dk1"/>
              </a:lnRef>
              <a:fillRef idx="3">
                <a:schemeClr val="dk1"/>
              </a:fillRef>
              <a:effectRef idx="2">
                <a:schemeClr val="dk1"/>
              </a:effectRef>
              <a:fontRef idx="minor">
                <a:schemeClr val="lt1"/>
              </a:fontRef>
            </p:style>
            <p:txBody>
              <a:bodyPr rtlCol="0" anchor="ctr"/>
              <a:lstStyle/>
              <a:p>
                <a:pPr algn="ctr"/>
                <a:endParaRPr lang="en-US"/>
              </a:p>
            </p:txBody>
          </p:sp>
          <p:sp>
            <p:nvSpPr>
              <p:cNvPr id="45" name="Rektangel 44">
                <a:extLst>
                  <a:ext uri="{FF2B5EF4-FFF2-40B4-BE49-F238E27FC236}">
                    <a16:creationId xmlns:a16="http://schemas.microsoft.com/office/drawing/2014/main" id="{96FC0C37-5CF5-F08D-79D6-E179B191332E}"/>
                  </a:ext>
                </a:extLst>
              </p:cNvPr>
              <p:cNvSpPr/>
              <p:nvPr/>
            </p:nvSpPr>
            <p:spPr>
              <a:xfrm>
                <a:off x="1677735" y="1205490"/>
                <a:ext cx="3331471" cy="338540"/>
              </a:xfrm>
              <a:prstGeom prst="rect">
                <a:avLst/>
              </a:prstGeom>
              <a:solidFill>
                <a:schemeClr val="bg2">
                  <a:lumMod val="90000"/>
                </a:schemeClr>
              </a:solidFill>
            </p:spPr>
            <p:style>
              <a:lnRef idx="1">
                <a:schemeClr val="dk1"/>
              </a:lnRef>
              <a:fillRef idx="3">
                <a:schemeClr val="dk1"/>
              </a:fillRef>
              <a:effectRef idx="2">
                <a:schemeClr val="dk1"/>
              </a:effectRef>
              <a:fontRef idx="minor">
                <a:schemeClr val="lt1"/>
              </a:fontRef>
            </p:style>
            <p:txBody>
              <a:bodyPr rtlCol="0" anchor="ctr"/>
              <a:lstStyle/>
              <a:p>
                <a:pPr algn="ctr"/>
                <a:endParaRPr lang="en-US"/>
              </a:p>
            </p:txBody>
          </p:sp>
          <p:cxnSp>
            <p:nvCxnSpPr>
              <p:cNvPr id="28" name="Rak pilkoppling 27">
                <a:extLst>
                  <a:ext uri="{FF2B5EF4-FFF2-40B4-BE49-F238E27FC236}">
                    <a16:creationId xmlns:a16="http://schemas.microsoft.com/office/drawing/2014/main" id="{60DA0191-C58B-0A28-0231-EDF9E7F2F994}"/>
                  </a:ext>
                </a:extLst>
              </p:cNvPr>
              <p:cNvCxnSpPr>
                <a:cxnSpLocks/>
              </p:cNvCxnSpPr>
              <p:nvPr/>
            </p:nvCxnSpPr>
            <p:spPr>
              <a:xfrm>
                <a:off x="1677734" y="1612947"/>
                <a:ext cx="9486677"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64" name="TextBox 63">
                <a:extLst>
                  <a:ext uri="{FF2B5EF4-FFF2-40B4-BE49-F238E27FC236}">
                    <a16:creationId xmlns:a16="http://schemas.microsoft.com/office/drawing/2014/main" id="{3929FADA-4951-578F-6D95-DAC1592D53BD}"/>
                  </a:ext>
                </a:extLst>
              </p:cNvPr>
              <p:cNvSpPr txBox="1"/>
              <p:nvPr/>
            </p:nvSpPr>
            <p:spPr>
              <a:xfrm>
                <a:off x="480273" y="1876149"/>
                <a:ext cx="976828" cy="800219"/>
              </a:xfrm>
              <a:prstGeom prst="rect">
                <a:avLst/>
              </a:prstGeom>
              <a:noFill/>
            </p:spPr>
            <p:txBody>
              <a:bodyPr wrap="square" rtlCol="0">
                <a:spAutoFit/>
              </a:bodyPr>
              <a:lstStyle/>
              <a:p>
                <a:r>
                  <a:rPr lang="en-US" sz="1100" b="1"/>
                  <a:t>NPC General</a:t>
                </a:r>
              </a:p>
              <a:p>
                <a:r>
                  <a:rPr lang="en-US" sz="1100" b="1"/>
                  <a:t>Plan  </a:t>
                </a:r>
              </a:p>
            </p:txBody>
          </p:sp>
          <p:sp>
            <p:nvSpPr>
              <p:cNvPr id="15" name="TextBox 63">
                <a:extLst>
                  <a:ext uri="{FF2B5EF4-FFF2-40B4-BE49-F238E27FC236}">
                    <a16:creationId xmlns:a16="http://schemas.microsoft.com/office/drawing/2014/main" id="{5455BA03-0D98-C684-2092-9F3BEE4AFF3F}"/>
                  </a:ext>
                </a:extLst>
              </p:cNvPr>
              <p:cNvSpPr txBox="1"/>
              <p:nvPr/>
            </p:nvSpPr>
            <p:spPr>
              <a:xfrm>
                <a:off x="464777" y="4176760"/>
                <a:ext cx="1381917" cy="800219"/>
              </a:xfrm>
              <a:prstGeom prst="rect">
                <a:avLst/>
              </a:prstGeom>
              <a:noFill/>
            </p:spPr>
            <p:txBody>
              <a:bodyPr wrap="square" rtlCol="0">
                <a:spAutoFit/>
              </a:bodyPr>
              <a:lstStyle/>
              <a:p>
                <a:r>
                  <a:rPr lang="en-US" sz="1100" b="1"/>
                  <a:t>NPC TF IG  </a:t>
                </a:r>
              </a:p>
              <a:p>
                <a:r>
                  <a:rPr lang="en-US" sz="1100" b="1"/>
                  <a:t>High level </a:t>
                </a:r>
              </a:p>
              <a:p>
                <a:r>
                  <a:rPr lang="en-US" sz="1100" b="1"/>
                  <a:t>plan  </a:t>
                </a:r>
              </a:p>
            </p:txBody>
          </p:sp>
        </p:grpSp>
        <p:sp>
          <p:nvSpPr>
            <p:cNvPr id="36" name="textruta 35">
              <a:extLst>
                <a:ext uri="{FF2B5EF4-FFF2-40B4-BE49-F238E27FC236}">
                  <a16:creationId xmlns:a16="http://schemas.microsoft.com/office/drawing/2014/main" id="{7E579350-4232-8AC1-B3EC-CC69ED640F09}"/>
                </a:ext>
              </a:extLst>
            </p:cNvPr>
            <p:cNvSpPr txBox="1"/>
            <p:nvPr/>
          </p:nvSpPr>
          <p:spPr>
            <a:xfrm>
              <a:off x="2876685" y="1214830"/>
              <a:ext cx="735599" cy="338555"/>
            </a:xfrm>
            <a:prstGeom prst="rect">
              <a:avLst/>
            </a:prstGeom>
            <a:noFill/>
          </p:spPr>
          <p:txBody>
            <a:bodyPr wrap="square" rtlCol="0">
              <a:spAutoFit/>
            </a:bodyPr>
            <a:lstStyle/>
            <a:p>
              <a:r>
                <a:rPr lang="en-US" sz="1050"/>
                <a:t>2025</a:t>
              </a:r>
            </a:p>
          </p:txBody>
        </p:sp>
        <p:sp>
          <p:nvSpPr>
            <p:cNvPr id="38" name="textruta 37">
              <a:extLst>
                <a:ext uri="{FF2B5EF4-FFF2-40B4-BE49-F238E27FC236}">
                  <a16:creationId xmlns:a16="http://schemas.microsoft.com/office/drawing/2014/main" id="{28EA50A1-30A2-E443-4775-409129F9F980}"/>
                </a:ext>
              </a:extLst>
            </p:cNvPr>
            <p:cNvSpPr txBox="1"/>
            <p:nvPr/>
          </p:nvSpPr>
          <p:spPr>
            <a:xfrm>
              <a:off x="9466015" y="1208195"/>
              <a:ext cx="633067" cy="338555"/>
            </a:xfrm>
            <a:prstGeom prst="rect">
              <a:avLst/>
            </a:prstGeom>
            <a:noFill/>
          </p:spPr>
          <p:txBody>
            <a:bodyPr wrap="square" rtlCol="0">
              <a:spAutoFit/>
            </a:bodyPr>
            <a:lstStyle/>
            <a:p>
              <a:r>
                <a:rPr lang="en-US" sz="1050"/>
                <a:t>2027</a:t>
              </a:r>
            </a:p>
          </p:txBody>
        </p:sp>
        <p:sp>
          <p:nvSpPr>
            <p:cNvPr id="29" name="textruta 35">
              <a:extLst>
                <a:ext uri="{FF2B5EF4-FFF2-40B4-BE49-F238E27FC236}">
                  <a16:creationId xmlns:a16="http://schemas.microsoft.com/office/drawing/2014/main" id="{28E8D631-7749-C586-9440-CABB7DAEE591}"/>
                </a:ext>
              </a:extLst>
            </p:cNvPr>
            <p:cNvSpPr txBox="1"/>
            <p:nvPr/>
          </p:nvSpPr>
          <p:spPr>
            <a:xfrm>
              <a:off x="6495083" y="1212469"/>
              <a:ext cx="735599" cy="338555"/>
            </a:xfrm>
            <a:prstGeom prst="rect">
              <a:avLst/>
            </a:prstGeom>
            <a:noFill/>
          </p:spPr>
          <p:txBody>
            <a:bodyPr wrap="square" rtlCol="0">
              <a:spAutoFit/>
            </a:bodyPr>
            <a:lstStyle/>
            <a:p>
              <a:r>
                <a:rPr lang="en-US" sz="1050"/>
                <a:t>2026</a:t>
              </a:r>
            </a:p>
          </p:txBody>
        </p:sp>
      </p:grpSp>
      <p:grpSp>
        <p:nvGrpSpPr>
          <p:cNvPr id="24" name="Grupp 23">
            <a:extLst>
              <a:ext uri="{FF2B5EF4-FFF2-40B4-BE49-F238E27FC236}">
                <a16:creationId xmlns:a16="http://schemas.microsoft.com/office/drawing/2014/main" id="{19DDAC78-AF2B-A179-5DD2-5CC012ADED7B}"/>
              </a:ext>
            </a:extLst>
          </p:cNvPr>
          <p:cNvGrpSpPr/>
          <p:nvPr/>
        </p:nvGrpSpPr>
        <p:grpSpPr>
          <a:xfrm>
            <a:off x="1029242" y="1203357"/>
            <a:ext cx="5413617" cy="2931992"/>
            <a:chOff x="1372323" y="1604476"/>
            <a:chExt cx="7218156" cy="3909322"/>
          </a:xfrm>
        </p:grpSpPr>
        <p:cxnSp>
          <p:nvCxnSpPr>
            <p:cNvPr id="39" name="Rak koppling 38">
              <a:extLst>
                <a:ext uri="{FF2B5EF4-FFF2-40B4-BE49-F238E27FC236}">
                  <a16:creationId xmlns:a16="http://schemas.microsoft.com/office/drawing/2014/main" id="{71F3223C-2B3C-2774-14A2-5503AAF9BBCD}"/>
                </a:ext>
              </a:extLst>
            </p:cNvPr>
            <p:cNvCxnSpPr>
              <a:cxnSpLocks/>
            </p:cNvCxnSpPr>
            <p:nvPr/>
          </p:nvCxnSpPr>
          <p:spPr>
            <a:xfrm>
              <a:off x="2230409" y="1605706"/>
              <a:ext cx="0" cy="291229"/>
            </a:xfrm>
            <a:prstGeom prst="line">
              <a:avLst/>
            </a:prstGeom>
          </p:spPr>
          <p:style>
            <a:lnRef idx="2">
              <a:schemeClr val="dk1"/>
            </a:lnRef>
            <a:fillRef idx="0">
              <a:schemeClr val="dk1"/>
            </a:fillRef>
            <a:effectRef idx="1">
              <a:schemeClr val="dk1"/>
            </a:effectRef>
            <a:fontRef idx="minor">
              <a:schemeClr val="tx1"/>
            </a:fontRef>
          </p:style>
        </p:cxnSp>
        <p:sp>
          <p:nvSpPr>
            <p:cNvPr id="40" name="textruta 39">
              <a:extLst>
                <a:ext uri="{FF2B5EF4-FFF2-40B4-BE49-F238E27FC236}">
                  <a16:creationId xmlns:a16="http://schemas.microsoft.com/office/drawing/2014/main" id="{7B03993C-41E4-BF30-E0C3-9F9320ADBFEC}"/>
                </a:ext>
              </a:extLst>
            </p:cNvPr>
            <p:cNvSpPr txBox="1"/>
            <p:nvPr/>
          </p:nvSpPr>
          <p:spPr>
            <a:xfrm>
              <a:off x="1372323" y="1904100"/>
              <a:ext cx="1365892" cy="738664"/>
            </a:xfrm>
            <a:prstGeom prst="rect">
              <a:avLst/>
            </a:prstGeom>
            <a:noFill/>
          </p:spPr>
          <p:txBody>
            <a:bodyPr wrap="square" rtlCol="0">
              <a:spAutoFit/>
            </a:bodyPr>
            <a:lstStyle/>
            <a:p>
              <a:pPr algn="ctr"/>
              <a:r>
                <a:rPr lang="en-US" sz="750" u="sng"/>
                <a:t>February 2025:</a:t>
              </a:r>
            </a:p>
            <a:p>
              <a:pPr algn="ctr"/>
              <a:r>
                <a:rPr lang="en-US" sz="750"/>
                <a:t>SMC and Board decision to start development </a:t>
              </a:r>
            </a:p>
          </p:txBody>
        </p:sp>
        <p:cxnSp>
          <p:nvCxnSpPr>
            <p:cNvPr id="48" name="Rak koppling 47">
              <a:extLst>
                <a:ext uri="{FF2B5EF4-FFF2-40B4-BE49-F238E27FC236}">
                  <a16:creationId xmlns:a16="http://schemas.microsoft.com/office/drawing/2014/main" id="{2AF876A8-09BF-5502-590D-CA8FD198C294}"/>
                </a:ext>
              </a:extLst>
            </p:cNvPr>
            <p:cNvCxnSpPr>
              <a:cxnSpLocks/>
            </p:cNvCxnSpPr>
            <p:nvPr/>
          </p:nvCxnSpPr>
          <p:spPr>
            <a:xfrm>
              <a:off x="7627204" y="1604476"/>
              <a:ext cx="0" cy="286040"/>
            </a:xfrm>
            <a:prstGeom prst="line">
              <a:avLst/>
            </a:prstGeom>
          </p:spPr>
          <p:style>
            <a:lnRef idx="2">
              <a:schemeClr val="dk1"/>
            </a:lnRef>
            <a:fillRef idx="0">
              <a:schemeClr val="dk1"/>
            </a:fillRef>
            <a:effectRef idx="1">
              <a:schemeClr val="dk1"/>
            </a:effectRef>
            <a:fontRef idx="minor">
              <a:schemeClr val="tx1"/>
            </a:fontRef>
          </p:style>
        </p:cxnSp>
        <p:sp>
          <p:nvSpPr>
            <p:cNvPr id="56" name="Pil: höger 55">
              <a:extLst>
                <a:ext uri="{FF2B5EF4-FFF2-40B4-BE49-F238E27FC236}">
                  <a16:creationId xmlns:a16="http://schemas.microsoft.com/office/drawing/2014/main" id="{35B58053-C168-15CC-C1F1-52AD5F4CA2D7}"/>
                </a:ext>
              </a:extLst>
            </p:cNvPr>
            <p:cNvSpPr/>
            <p:nvPr/>
          </p:nvSpPr>
          <p:spPr>
            <a:xfrm>
              <a:off x="2328096" y="4170415"/>
              <a:ext cx="1439240" cy="431509"/>
            </a:xfrm>
            <a:prstGeom prst="homePlat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800">
                  <a:solidFill>
                    <a:schemeClr val="tx1"/>
                  </a:solidFill>
                </a:rPr>
                <a:t>Phase 1: </a:t>
              </a:r>
            </a:p>
            <a:p>
              <a:pPr algn="ctr"/>
              <a:r>
                <a:rPr lang="en-US" sz="800">
                  <a:solidFill>
                    <a:schemeClr val="tx1"/>
                  </a:solidFill>
                </a:rPr>
                <a:t>NPC internal work </a:t>
              </a:r>
            </a:p>
          </p:txBody>
        </p:sp>
        <p:sp>
          <p:nvSpPr>
            <p:cNvPr id="62" name="Arrow: Pentagon 61">
              <a:extLst>
                <a:ext uri="{FF2B5EF4-FFF2-40B4-BE49-F238E27FC236}">
                  <a16:creationId xmlns:a16="http://schemas.microsoft.com/office/drawing/2014/main" id="{8F62A453-1EAD-E083-FA1D-1A44ACF9C13F}"/>
                </a:ext>
              </a:extLst>
            </p:cNvPr>
            <p:cNvSpPr/>
            <p:nvPr/>
          </p:nvSpPr>
          <p:spPr>
            <a:xfrm>
              <a:off x="2392206" y="2649933"/>
              <a:ext cx="4345761" cy="321831"/>
            </a:xfrm>
            <a:prstGeom prst="homePlate">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800">
                  <a:solidFill>
                    <a:schemeClr val="tx1"/>
                  </a:solidFill>
                </a:rPr>
                <a:t>Phase 1: NPC OLO Task Force develop ”NOLO” Inst scheme Q2-Q4 2025</a:t>
              </a:r>
            </a:p>
          </p:txBody>
        </p:sp>
        <p:sp>
          <p:nvSpPr>
            <p:cNvPr id="63" name="Arrow: Pentagon 62">
              <a:extLst>
                <a:ext uri="{FF2B5EF4-FFF2-40B4-BE49-F238E27FC236}">
                  <a16:creationId xmlns:a16="http://schemas.microsoft.com/office/drawing/2014/main" id="{66AF50D5-4ADC-1D08-051E-691E5EC94343}"/>
                </a:ext>
              </a:extLst>
            </p:cNvPr>
            <p:cNvSpPr/>
            <p:nvPr/>
          </p:nvSpPr>
          <p:spPr>
            <a:xfrm>
              <a:off x="5403241" y="3086573"/>
              <a:ext cx="1272119" cy="465404"/>
            </a:xfrm>
            <a:prstGeom prst="homePlate">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800">
                  <a:solidFill>
                    <a:schemeClr val="tx1"/>
                  </a:solidFill>
                </a:rPr>
                <a:t>Phase 2: public consultation Q2 2026</a:t>
              </a:r>
            </a:p>
          </p:txBody>
        </p:sp>
        <p:sp>
          <p:nvSpPr>
            <p:cNvPr id="66" name="textruta 39">
              <a:extLst>
                <a:ext uri="{FF2B5EF4-FFF2-40B4-BE49-F238E27FC236}">
                  <a16:creationId xmlns:a16="http://schemas.microsoft.com/office/drawing/2014/main" id="{0EC68228-680B-A963-6B71-243423C32FE1}"/>
                </a:ext>
              </a:extLst>
            </p:cNvPr>
            <p:cNvSpPr txBox="1"/>
            <p:nvPr/>
          </p:nvSpPr>
          <p:spPr>
            <a:xfrm>
              <a:off x="7011850" y="1898987"/>
              <a:ext cx="1578629" cy="738664"/>
            </a:xfrm>
            <a:prstGeom prst="rect">
              <a:avLst/>
            </a:prstGeom>
            <a:noFill/>
          </p:spPr>
          <p:txBody>
            <a:bodyPr wrap="square" rtlCol="0">
              <a:spAutoFit/>
            </a:bodyPr>
            <a:lstStyle/>
            <a:p>
              <a:pPr algn="ctr"/>
              <a:r>
                <a:rPr lang="en-US" sz="750" u="sng"/>
                <a:t>November 2026:</a:t>
              </a:r>
            </a:p>
            <a:p>
              <a:pPr algn="ctr"/>
              <a:r>
                <a:rPr lang="en-US" sz="750"/>
                <a:t>SMC decision to </a:t>
              </a:r>
            </a:p>
            <a:p>
              <a:pPr algn="ctr"/>
              <a:r>
                <a:rPr lang="en-US" sz="750"/>
                <a:t>publish and in-effect “NOLO Inst” Scheme </a:t>
              </a:r>
            </a:p>
          </p:txBody>
        </p:sp>
        <p:cxnSp>
          <p:nvCxnSpPr>
            <p:cNvPr id="68" name="Rak koppling 47">
              <a:extLst>
                <a:ext uri="{FF2B5EF4-FFF2-40B4-BE49-F238E27FC236}">
                  <a16:creationId xmlns:a16="http://schemas.microsoft.com/office/drawing/2014/main" id="{6FDBA6DD-2B09-15D1-D218-35158DEEF498}"/>
                </a:ext>
              </a:extLst>
            </p:cNvPr>
            <p:cNvCxnSpPr>
              <a:cxnSpLocks/>
            </p:cNvCxnSpPr>
            <p:nvPr/>
          </p:nvCxnSpPr>
          <p:spPr>
            <a:xfrm>
              <a:off x="6476863" y="1624025"/>
              <a:ext cx="0" cy="286040"/>
            </a:xfrm>
            <a:prstGeom prst="line">
              <a:avLst/>
            </a:prstGeom>
          </p:spPr>
          <p:style>
            <a:lnRef idx="2">
              <a:schemeClr val="dk1"/>
            </a:lnRef>
            <a:fillRef idx="0">
              <a:schemeClr val="dk1"/>
            </a:fillRef>
            <a:effectRef idx="1">
              <a:schemeClr val="dk1"/>
            </a:effectRef>
            <a:fontRef idx="minor">
              <a:schemeClr val="tx1"/>
            </a:fontRef>
          </p:style>
        </p:cxnSp>
        <p:sp>
          <p:nvSpPr>
            <p:cNvPr id="69" name="textruta 39">
              <a:extLst>
                <a:ext uri="{FF2B5EF4-FFF2-40B4-BE49-F238E27FC236}">
                  <a16:creationId xmlns:a16="http://schemas.microsoft.com/office/drawing/2014/main" id="{27283468-E92C-340C-8DD8-038FC570DE31}"/>
                </a:ext>
              </a:extLst>
            </p:cNvPr>
            <p:cNvSpPr txBox="1"/>
            <p:nvPr/>
          </p:nvSpPr>
          <p:spPr>
            <a:xfrm>
              <a:off x="5757246" y="1898987"/>
              <a:ext cx="1439241" cy="738664"/>
            </a:xfrm>
            <a:prstGeom prst="rect">
              <a:avLst/>
            </a:prstGeom>
            <a:noFill/>
          </p:spPr>
          <p:txBody>
            <a:bodyPr wrap="square" rtlCol="0">
              <a:spAutoFit/>
            </a:bodyPr>
            <a:lstStyle/>
            <a:p>
              <a:pPr algn="ctr"/>
              <a:r>
                <a:rPr lang="en-US" sz="750" u="sng"/>
                <a:t>Q2-Q3 2026: </a:t>
              </a:r>
            </a:p>
            <a:p>
              <a:pPr algn="ctr"/>
              <a:r>
                <a:rPr lang="en-US" sz="750"/>
                <a:t>Stakeholder Forum position paper for “NOLO Inst” Scheme</a:t>
              </a:r>
            </a:p>
          </p:txBody>
        </p:sp>
        <p:sp>
          <p:nvSpPr>
            <p:cNvPr id="81" name="Pil: höger 55">
              <a:extLst>
                <a:ext uri="{FF2B5EF4-FFF2-40B4-BE49-F238E27FC236}">
                  <a16:creationId xmlns:a16="http://schemas.microsoft.com/office/drawing/2014/main" id="{F9FEC62E-0FEA-0874-4E57-51F26D24A3CD}"/>
                </a:ext>
              </a:extLst>
            </p:cNvPr>
            <p:cNvSpPr/>
            <p:nvPr/>
          </p:nvSpPr>
          <p:spPr>
            <a:xfrm>
              <a:off x="5670759" y="4641643"/>
              <a:ext cx="1192123" cy="872155"/>
            </a:xfrm>
            <a:prstGeom prst="homePlate">
              <a:avLst/>
            </a:prstGeom>
            <a:ln/>
          </p:spPr>
          <p:style>
            <a:lnRef idx="1">
              <a:schemeClr val="accent1"/>
            </a:lnRef>
            <a:fillRef idx="2">
              <a:schemeClr val="accent1"/>
            </a:fillRef>
            <a:effectRef idx="1">
              <a:schemeClr val="accent1"/>
            </a:effectRef>
            <a:fontRef idx="minor">
              <a:schemeClr val="dk1"/>
            </a:fontRef>
          </p:style>
          <p:txBody>
            <a:bodyPr rtlCol="0" anchor="ctr"/>
            <a:lstStyle/>
            <a:p>
              <a:r>
                <a:rPr lang="en-US" sz="800">
                  <a:solidFill>
                    <a:schemeClr val="tx1"/>
                  </a:solidFill>
                </a:rPr>
                <a:t>Phase 3: Private consultation NCT &amp; NCT Inst WG</a:t>
              </a:r>
            </a:p>
          </p:txBody>
        </p:sp>
        <p:cxnSp>
          <p:nvCxnSpPr>
            <p:cNvPr id="7" name="Rak koppling 38">
              <a:extLst>
                <a:ext uri="{FF2B5EF4-FFF2-40B4-BE49-F238E27FC236}">
                  <a16:creationId xmlns:a16="http://schemas.microsoft.com/office/drawing/2014/main" id="{90FCF5D9-EF6B-54C4-9120-20F5160DFAF9}"/>
                </a:ext>
              </a:extLst>
            </p:cNvPr>
            <p:cNvCxnSpPr>
              <a:cxnSpLocks/>
            </p:cNvCxnSpPr>
            <p:nvPr/>
          </p:nvCxnSpPr>
          <p:spPr>
            <a:xfrm>
              <a:off x="3212836" y="1607759"/>
              <a:ext cx="0" cy="291229"/>
            </a:xfrm>
            <a:prstGeom prst="line">
              <a:avLst/>
            </a:prstGeom>
          </p:spPr>
          <p:style>
            <a:lnRef idx="2">
              <a:schemeClr val="dk1"/>
            </a:lnRef>
            <a:fillRef idx="0">
              <a:schemeClr val="dk1"/>
            </a:fillRef>
            <a:effectRef idx="1">
              <a:schemeClr val="dk1"/>
            </a:effectRef>
            <a:fontRef idx="minor">
              <a:schemeClr val="tx1"/>
            </a:fontRef>
          </p:style>
        </p:cxnSp>
        <p:sp>
          <p:nvSpPr>
            <p:cNvPr id="8" name="textruta 39">
              <a:extLst>
                <a:ext uri="{FF2B5EF4-FFF2-40B4-BE49-F238E27FC236}">
                  <a16:creationId xmlns:a16="http://schemas.microsoft.com/office/drawing/2014/main" id="{20E17F76-2766-D6F2-5523-0D2F0F4E8231}"/>
                </a:ext>
              </a:extLst>
            </p:cNvPr>
            <p:cNvSpPr txBox="1"/>
            <p:nvPr/>
          </p:nvSpPr>
          <p:spPr>
            <a:xfrm>
              <a:off x="2526606" y="1904100"/>
              <a:ext cx="1365892" cy="738664"/>
            </a:xfrm>
            <a:prstGeom prst="rect">
              <a:avLst/>
            </a:prstGeom>
            <a:noFill/>
          </p:spPr>
          <p:txBody>
            <a:bodyPr wrap="square" rtlCol="0">
              <a:spAutoFit/>
            </a:bodyPr>
            <a:lstStyle/>
            <a:p>
              <a:pPr algn="ctr"/>
              <a:r>
                <a:rPr lang="en-US" sz="750" u="sng"/>
                <a:t>June 2025: </a:t>
              </a:r>
            </a:p>
            <a:p>
              <a:pPr algn="ctr"/>
              <a:r>
                <a:rPr lang="en-US" sz="750"/>
                <a:t>SMC decision </a:t>
              </a:r>
            </a:p>
            <a:p>
              <a:pPr algn="ctr"/>
              <a:r>
                <a:rPr lang="en-US" sz="750"/>
                <a:t> in-effect date for “NOLO Inst” Scheme</a:t>
              </a:r>
            </a:p>
          </p:txBody>
        </p:sp>
        <p:sp>
          <p:nvSpPr>
            <p:cNvPr id="9" name="Arrow: Pentagon 8">
              <a:extLst>
                <a:ext uri="{FF2B5EF4-FFF2-40B4-BE49-F238E27FC236}">
                  <a16:creationId xmlns:a16="http://schemas.microsoft.com/office/drawing/2014/main" id="{74E404A6-FE0E-4CC4-0D73-E953DE637C38}"/>
                </a:ext>
              </a:extLst>
            </p:cNvPr>
            <p:cNvSpPr/>
            <p:nvPr/>
          </p:nvSpPr>
          <p:spPr>
            <a:xfrm>
              <a:off x="6378787" y="3539551"/>
              <a:ext cx="1333676" cy="493584"/>
            </a:xfrm>
            <a:prstGeom prst="homePlate">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800">
                  <a:solidFill>
                    <a:schemeClr val="tx1"/>
                  </a:solidFill>
                </a:rPr>
                <a:t>Phase 3: preparing final version Q3 2026 </a:t>
              </a:r>
            </a:p>
          </p:txBody>
        </p:sp>
        <p:sp>
          <p:nvSpPr>
            <p:cNvPr id="17" name="Pil: höger 55">
              <a:extLst>
                <a:ext uri="{FF2B5EF4-FFF2-40B4-BE49-F238E27FC236}">
                  <a16:creationId xmlns:a16="http://schemas.microsoft.com/office/drawing/2014/main" id="{90B27311-24D3-262F-063B-37F30D34578A}"/>
                </a:ext>
              </a:extLst>
            </p:cNvPr>
            <p:cNvSpPr/>
            <p:nvPr/>
          </p:nvSpPr>
          <p:spPr>
            <a:xfrm>
              <a:off x="3799847" y="4153955"/>
              <a:ext cx="2991084" cy="431509"/>
            </a:xfrm>
            <a:prstGeom prst="homePlat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800">
                  <a:solidFill>
                    <a:schemeClr val="tx1"/>
                  </a:solidFill>
                </a:rPr>
                <a:t>Phase 2: </a:t>
              </a:r>
            </a:p>
            <a:p>
              <a:pPr algn="ctr"/>
              <a:r>
                <a:rPr lang="en-US" sz="800">
                  <a:solidFill>
                    <a:schemeClr val="tx1"/>
                  </a:solidFill>
                </a:rPr>
                <a:t>TF IG work with IGs </a:t>
              </a:r>
            </a:p>
          </p:txBody>
        </p:sp>
        <p:sp>
          <p:nvSpPr>
            <p:cNvPr id="18" name="Pil: höger 55">
              <a:extLst>
                <a:ext uri="{FF2B5EF4-FFF2-40B4-BE49-F238E27FC236}">
                  <a16:creationId xmlns:a16="http://schemas.microsoft.com/office/drawing/2014/main" id="{CBF1C6D7-5CAC-823B-26E8-BE8C89180FC1}"/>
                </a:ext>
              </a:extLst>
            </p:cNvPr>
            <p:cNvSpPr/>
            <p:nvPr/>
          </p:nvSpPr>
          <p:spPr>
            <a:xfrm>
              <a:off x="2328098" y="4801057"/>
              <a:ext cx="3310997" cy="291364"/>
            </a:xfrm>
            <a:prstGeom prst="homePlate">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800">
                  <a:solidFill>
                    <a:schemeClr val="tx1"/>
                  </a:solidFill>
                </a:rPr>
                <a:t>Ongoing status report to OLO TF </a:t>
              </a:r>
            </a:p>
          </p:txBody>
        </p:sp>
        <p:cxnSp>
          <p:nvCxnSpPr>
            <p:cNvPr id="19" name="Rak koppling 18">
              <a:extLst>
                <a:ext uri="{FF2B5EF4-FFF2-40B4-BE49-F238E27FC236}">
                  <a16:creationId xmlns:a16="http://schemas.microsoft.com/office/drawing/2014/main" id="{50E665B2-2F4D-BD40-FD73-F1EA14DCD83C}"/>
                </a:ext>
              </a:extLst>
            </p:cNvPr>
            <p:cNvCxnSpPr>
              <a:cxnSpLocks/>
            </p:cNvCxnSpPr>
            <p:nvPr/>
          </p:nvCxnSpPr>
          <p:spPr>
            <a:xfrm>
              <a:off x="7050623" y="4119432"/>
              <a:ext cx="0" cy="286040"/>
            </a:xfrm>
            <a:prstGeom prst="line">
              <a:avLst/>
            </a:prstGeom>
          </p:spPr>
          <p:style>
            <a:lnRef idx="2">
              <a:schemeClr val="dk1"/>
            </a:lnRef>
            <a:fillRef idx="0">
              <a:schemeClr val="dk1"/>
            </a:fillRef>
            <a:effectRef idx="1">
              <a:schemeClr val="dk1"/>
            </a:effectRef>
            <a:fontRef idx="minor">
              <a:schemeClr val="tx1"/>
            </a:fontRef>
          </p:style>
        </p:cxnSp>
        <p:sp>
          <p:nvSpPr>
            <p:cNvPr id="20" name="textruta 39">
              <a:extLst>
                <a:ext uri="{FF2B5EF4-FFF2-40B4-BE49-F238E27FC236}">
                  <a16:creationId xmlns:a16="http://schemas.microsoft.com/office/drawing/2014/main" id="{7A3960A9-6BFC-2377-D7D5-0C856ACDF6F6}"/>
                </a:ext>
              </a:extLst>
            </p:cNvPr>
            <p:cNvSpPr txBox="1"/>
            <p:nvPr/>
          </p:nvSpPr>
          <p:spPr>
            <a:xfrm>
              <a:off x="6610412" y="4419361"/>
              <a:ext cx="1439241" cy="738664"/>
            </a:xfrm>
            <a:prstGeom prst="rect">
              <a:avLst/>
            </a:prstGeom>
            <a:noFill/>
          </p:spPr>
          <p:txBody>
            <a:bodyPr wrap="square" rtlCol="0">
              <a:spAutoFit/>
            </a:bodyPr>
            <a:lstStyle/>
            <a:p>
              <a:pPr algn="ctr"/>
              <a:r>
                <a:rPr lang="en-US" sz="750" u="sng"/>
                <a:t>October 2026:</a:t>
              </a:r>
            </a:p>
            <a:p>
              <a:pPr algn="ctr"/>
              <a:r>
                <a:rPr lang="en-US" sz="750"/>
                <a:t>OLO TF to agree on final IG drafts before SMC decision </a:t>
              </a:r>
            </a:p>
          </p:txBody>
        </p:sp>
        <p:sp>
          <p:nvSpPr>
            <p:cNvPr id="10" name="Arrow: Pentagon 62">
              <a:extLst>
                <a:ext uri="{FF2B5EF4-FFF2-40B4-BE49-F238E27FC236}">
                  <a16:creationId xmlns:a16="http://schemas.microsoft.com/office/drawing/2014/main" id="{811C6DF7-D9AE-8A3E-AE65-5780362C466C}"/>
                </a:ext>
              </a:extLst>
            </p:cNvPr>
            <p:cNvSpPr/>
            <p:nvPr/>
          </p:nvSpPr>
          <p:spPr>
            <a:xfrm>
              <a:off x="4195153" y="3011637"/>
              <a:ext cx="1333676" cy="606884"/>
            </a:xfrm>
            <a:prstGeom prst="homePlate">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600">
                  <a:solidFill>
                    <a:schemeClr val="tx1"/>
                  </a:solidFill>
                </a:rPr>
                <a:t>Private consultation/review on NOLO Inst Rulebook by NCT &amp; NCT Inst WG </a:t>
              </a:r>
            </a:p>
          </p:txBody>
        </p:sp>
      </p:grpSp>
      <p:grpSp>
        <p:nvGrpSpPr>
          <p:cNvPr id="27" name="Grupp 26">
            <a:extLst>
              <a:ext uri="{FF2B5EF4-FFF2-40B4-BE49-F238E27FC236}">
                <a16:creationId xmlns:a16="http://schemas.microsoft.com/office/drawing/2014/main" id="{F4C299BC-DC28-DFD8-3813-98B10D468408}"/>
              </a:ext>
            </a:extLst>
          </p:cNvPr>
          <p:cNvGrpSpPr/>
          <p:nvPr/>
        </p:nvGrpSpPr>
        <p:grpSpPr>
          <a:xfrm>
            <a:off x="5784349" y="1221805"/>
            <a:ext cx="2701733" cy="1793705"/>
            <a:chOff x="7712464" y="1629072"/>
            <a:chExt cx="3602311" cy="2391607"/>
          </a:xfrm>
        </p:grpSpPr>
        <p:cxnSp>
          <p:nvCxnSpPr>
            <p:cNvPr id="11" name="Rak koppling 47">
              <a:extLst>
                <a:ext uri="{FF2B5EF4-FFF2-40B4-BE49-F238E27FC236}">
                  <a16:creationId xmlns:a16="http://schemas.microsoft.com/office/drawing/2014/main" id="{2268DE1C-CE09-F331-D965-6DC2C2636CE1}"/>
                </a:ext>
              </a:extLst>
            </p:cNvPr>
            <p:cNvCxnSpPr>
              <a:cxnSpLocks/>
            </p:cNvCxnSpPr>
            <p:nvPr/>
          </p:nvCxnSpPr>
          <p:spPr>
            <a:xfrm>
              <a:off x="9293528" y="1629072"/>
              <a:ext cx="0" cy="286040"/>
            </a:xfrm>
            <a:prstGeom prst="line">
              <a:avLst/>
            </a:prstGeom>
          </p:spPr>
          <p:style>
            <a:lnRef idx="2">
              <a:schemeClr val="dk1"/>
            </a:lnRef>
            <a:fillRef idx="0">
              <a:schemeClr val="dk1"/>
            </a:fillRef>
            <a:effectRef idx="1">
              <a:schemeClr val="dk1"/>
            </a:effectRef>
            <a:fontRef idx="minor">
              <a:schemeClr val="tx1"/>
            </a:fontRef>
          </p:style>
        </p:cxnSp>
        <p:sp>
          <p:nvSpPr>
            <p:cNvPr id="16" name="textruta 39">
              <a:extLst>
                <a:ext uri="{FF2B5EF4-FFF2-40B4-BE49-F238E27FC236}">
                  <a16:creationId xmlns:a16="http://schemas.microsoft.com/office/drawing/2014/main" id="{D60B782E-D2A8-39CF-2759-53A255C8C0AE}"/>
                </a:ext>
              </a:extLst>
            </p:cNvPr>
            <p:cNvSpPr txBox="1"/>
            <p:nvPr/>
          </p:nvSpPr>
          <p:spPr>
            <a:xfrm>
              <a:off x="8625692" y="1931236"/>
              <a:ext cx="1439241" cy="738664"/>
            </a:xfrm>
            <a:prstGeom prst="rect">
              <a:avLst/>
            </a:prstGeom>
            <a:noFill/>
          </p:spPr>
          <p:txBody>
            <a:bodyPr wrap="square" rtlCol="0">
              <a:spAutoFit/>
            </a:bodyPr>
            <a:lstStyle/>
            <a:p>
              <a:pPr algn="ctr"/>
              <a:r>
                <a:rPr lang="en-US" sz="750" u="sng"/>
                <a:t>TBD 2027:</a:t>
              </a:r>
            </a:p>
            <a:p>
              <a:pPr algn="ctr"/>
              <a:r>
                <a:rPr lang="en-US" sz="750"/>
                <a:t>SMC decision to publish version 2027 of NOLO Inst Scheme </a:t>
              </a:r>
            </a:p>
          </p:txBody>
        </p:sp>
        <p:sp>
          <p:nvSpPr>
            <p:cNvPr id="21" name="textruta 39">
              <a:extLst>
                <a:ext uri="{FF2B5EF4-FFF2-40B4-BE49-F238E27FC236}">
                  <a16:creationId xmlns:a16="http://schemas.microsoft.com/office/drawing/2014/main" id="{C6739B5B-3E4B-F3EE-BD0F-5D2665D1B3F3}"/>
                </a:ext>
              </a:extLst>
            </p:cNvPr>
            <p:cNvSpPr txBox="1"/>
            <p:nvPr/>
          </p:nvSpPr>
          <p:spPr>
            <a:xfrm>
              <a:off x="9875534" y="2509851"/>
              <a:ext cx="1439241" cy="584776"/>
            </a:xfrm>
            <a:prstGeom prst="rect">
              <a:avLst/>
            </a:prstGeom>
            <a:noFill/>
          </p:spPr>
          <p:txBody>
            <a:bodyPr wrap="square" rtlCol="0">
              <a:spAutoFit/>
            </a:bodyPr>
            <a:lstStyle/>
            <a:p>
              <a:pPr algn="ctr"/>
              <a:r>
                <a:rPr lang="en-US" sz="750" u="sng"/>
                <a:t>November 2027:</a:t>
              </a:r>
            </a:p>
            <a:p>
              <a:pPr algn="ctr"/>
              <a:r>
                <a:rPr lang="en-US" sz="750"/>
                <a:t>NOLO Inst v.2027 </a:t>
              </a:r>
            </a:p>
            <a:p>
              <a:pPr algn="ctr"/>
              <a:r>
                <a:rPr lang="en-US" sz="750"/>
                <a:t>in-effect </a:t>
              </a:r>
            </a:p>
          </p:txBody>
        </p:sp>
        <p:sp>
          <p:nvSpPr>
            <p:cNvPr id="22" name="Arrow: Pentagon 8">
              <a:extLst>
                <a:ext uri="{FF2B5EF4-FFF2-40B4-BE49-F238E27FC236}">
                  <a16:creationId xmlns:a16="http://schemas.microsoft.com/office/drawing/2014/main" id="{267C12BA-D949-457C-81F8-7E73C7AFE16B}"/>
                </a:ext>
              </a:extLst>
            </p:cNvPr>
            <p:cNvSpPr/>
            <p:nvPr/>
          </p:nvSpPr>
          <p:spPr>
            <a:xfrm>
              <a:off x="7712464" y="3527095"/>
              <a:ext cx="3010041" cy="493584"/>
            </a:xfrm>
            <a:prstGeom prst="homePlate">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800">
                  <a:solidFill>
                    <a:schemeClr val="tx1"/>
                  </a:solidFill>
                </a:rPr>
                <a:t>Phase 4: preparing NOLO Inst 2027 version </a:t>
              </a:r>
            </a:p>
          </p:txBody>
        </p:sp>
      </p:grpSp>
      <p:grpSp>
        <p:nvGrpSpPr>
          <p:cNvPr id="26" name="Grupp 25">
            <a:extLst>
              <a:ext uri="{FF2B5EF4-FFF2-40B4-BE49-F238E27FC236}">
                <a16:creationId xmlns:a16="http://schemas.microsoft.com/office/drawing/2014/main" id="{5731D0FB-44C1-3EE3-38C9-EA0052E5A108}"/>
              </a:ext>
            </a:extLst>
          </p:cNvPr>
          <p:cNvGrpSpPr/>
          <p:nvPr/>
        </p:nvGrpSpPr>
        <p:grpSpPr>
          <a:xfrm>
            <a:off x="2049696" y="1217380"/>
            <a:ext cx="6413549" cy="1813427"/>
            <a:chOff x="2732928" y="1623173"/>
            <a:chExt cx="8551398" cy="2417903"/>
          </a:xfrm>
        </p:grpSpPr>
        <p:sp>
          <p:nvSpPr>
            <p:cNvPr id="12" name="Arrow: Pentagon 11">
              <a:extLst>
                <a:ext uri="{FF2B5EF4-FFF2-40B4-BE49-F238E27FC236}">
                  <a16:creationId xmlns:a16="http://schemas.microsoft.com/office/drawing/2014/main" id="{B96C56CD-E319-8675-9E00-66D500B32654}"/>
                </a:ext>
              </a:extLst>
            </p:cNvPr>
            <p:cNvSpPr/>
            <p:nvPr/>
          </p:nvSpPr>
          <p:spPr>
            <a:xfrm>
              <a:off x="2732928" y="3646260"/>
              <a:ext cx="3577416" cy="394816"/>
            </a:xfrm>
            <a:prstGeom prst="homePlate">
              <a:avLst/>
            </a:prstGeom>
            <a:solidFill>
              <a:schemeClr val="accent3">
                <a:lumMod val="20000"/>
                <a:lumOff val="80000"/>
              </a:schemeClr>
            </a:solidFill>
            <a:ln>
              <a:solidFill>
                <a:schemeClr val="accent3">
                  <a:lumMod val="75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788"/>
                <a:t>In parallel: Follow EPC OCT Inst CM 2027</a:t>
              </a:r>
            </a:p>
          </p:txBody>
        </p:sp>
        <p:cxnSp>
          <p:nvCxnSpPr>
            <p:cNvPr id="13" name="Rak koppling 47">
              <a:extLst>
                <a:ext uri="{FF2B5EF4-FFF2-40B4-BE49-F238E27FC236}">
                  <a16:creationId xmlns:a16="http://schemas.microsoft.com/office/drawing/2014/main" id="{CE04CA4E-0280-680C-6F72-998D1C4D1E9E}"/>
                </a:ext>
              </a:extLst>
            </p:cNvPr>
            <p:cNvCxnSpPr>
              <a:cxnSpLocks/>
            </p:cNvCxnSpPr>
            <p:nvPr/>
          </p:nvCxnSpPr>
          <p:spPr>
            <a:xfrm>
              <a:off x="10627580" y="1623173"/>
              <a:ext cx="0" cy="286040"/>
            </a:xfrm>
            <a:prstGeom prst="line">
              <a:avLst/>
            </a:prstGeom>
          </p:spPr>
          <p:style>
            <a:lnRef idx="2">
              <a:schemeClr val="dk1"/>
            </a:lnRef>
            <a:fillRef idx="0">
              <a:schemeClr val="dk1"/>
            </a:fillRef>
            <a:effectRef idx="1">
              <a:schemeClr val="dk1"/>
            </a:effectRef>
            <a:fontRef idx="minor">
              <a:schemeClr val="tx1"/>
            </a:fontRef>
          </p:style>
        </p:cxnSp>
        <p:sp>
          <p:nvSpPr>
            <p:cNvPr id="14" name="textruta 39">
              <a:extLst>
                <a:ext uri="{FF2B5EF4-FFF2-40B4-BE49-F238E27FC236}">
                  <a16:creationId xmlns:a16="http://schemas.microsoft.com/office/drawing/2014/main" id="{64FBAFC1-1BED-76A6-6298-5EBF13EE880C}"/>
                </a:ext>
              </a:extLst>
            </p:cNvPr>
            <p:cNvSpPr txBox="1"/>
            <p:nvPr/>
          </p:nvSpPr>
          <p:spPr>
            <a:xfrm>
              <a:off x="9845085" y="1923914"/>
              <a:ext cx="1439241" cy="584776"/>
            </a:xfrm>
            <a:prstGeom prst="rect">
              <a:avLst/>
            </a:prstGeom>
            <a:noFill/>
          </p:spPr>
          <p:txBody>
            <a:bodyPr wrap="square" rtlCol="0">
              <a:spAutoFit/>
            </a:bodyPr>
            <a:lstStyle/>
            <a:p>
              <a:pPr algn="ctr"/>
              <a:r>
                <a:rPr lang="en-US" sz="750" u="sng">
                  <a:solidFill>
                    <a:schemeClr val="accent6">
                      <a:lumMod val="75000"/>
                    </a:schemeClr>
                  </a:solidFill>
                </a:rPr>
                <a:t>November 2027:</a:t>
              </a:r>
            </a:p>
            <a:p>
              <a:pPr algn="ctr"/>
              <a:r>
                <a:rPr lang="en-US" sz="750">
                  <a:solidFill>
                    <a:schemeClr val="accent6">
                      <a:lumMod val="75000"/>
                    </a:schemeClr>
                  </a:solidFill>
                </a:rPr>
                <a:t>EPC OCT Inst v.2027 </a:t>
              </a:r>
            </a:p>
            <a:p>
              <a:pPr algn="ctr"/>
              <a:r>
                <a:rPr lang="en-US" sz="750">
                  <a:solidFill>
                    <a:schemeClr val="accent6">
                      <a:lumMod val="75000"/>
                    </a:schemeClr>
                  </a:solidFill>
                </a:rPr>
                <a:t>in-effect </a:t>
              </a:r>
            </a:p>
          </p:txBody>
        </p:sp>
        <p:sp>
          <p:nvSpPr>
            <p:cNvPr id="23" name="textruta 39">
              <a:extLst>
                <a:ext uri="{FF2B5EF4-FFF2-40B4-BE49-F238E27FC236}">
                  <a16:creationId xmlns:a16="http://schemas.microsoft.com/office/drawing/2014/main" id="{853A0AE8-A2E7-BBD5-9CE2-894D23746E67}"/>
                </a:ext>
              </a:extLst>
            </p:cNvPr>
            <p:cNvSpPr txBox="1"/>
            <p:nvPr/>
          </p:nvSpPr>
          <p:spPr>
            <a:xfrm>
              <a:off x="7050782" y="2654825"/>
              <a:ext cx="1439241" cy="584776"/>
            </a:xfrm>
            <a:prstGeom prst="rect">
              <a:avLst/>
            </a:prstGeom>
            <a:noFill/>
          </p:spPr>
          <p:txBody>
            <a:bodyPr wrap="square" rtlCol="0">
              <a:spAutoFit/>
            </a:bodyPr>
            <a:lstStyle/>
            <a:p>
              <a:pPr algn="ctr"/>
              <a:r>
                <a:rPr lang="en-US" sz="750" u="sng">
                  <a:solidFill>
                    <a:schemeClr val="accent6">
                      <a:lumMod val="75000"/>
                    </a:schemeClr>
                  </a:solidFill>
                </a:rPr>
                <a:t>November 2026:</a:t>
              </a:r>
            </a:p>
            <a:p>
              <a:pPr algn="ctr"/>
              <a:r>
                <a:rPr lang="en-US" sz="750">
                  <a:solidFill>
                    <a:schemeClr val="accent6">
                      <a:lumMod val="75000"/>
                    </a:schemeClr>
                  </a:solidFill>
                </a:rPr>
                <a:t>EPC OCT Inst v.2027 </a:t>
              </a:r>
            </a:p>
            <a:p>
              <a:pPr algn="ctr"/>
              <a:r>
                <a:rPr lang="en-US" sz="750">
                  <a:solidFill>
                    <a:schemeClr val="accent6">
                      <a:lumMod val="75000"/>
                    </a:schemeClr>
                  </a:solidFill>
                </a:rPr>
                <a:t>Published</a:t>
              </a:r>
            </a:p>
          </p:txBody>
        </p:sp>
      </p:grpSp>
    </p:spTree>
    <p:extLst>
      <p:ext uri="{BB962C8B-B14F-4D97-AF65-F5344CB8AC3E}">
        <p14:creationId xmlns:p14="http://schemas.microsoft.com/office/powerpoint/2010/main" val="34168831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7603D9-3AB4-DCE5-0896-E5EF0DF40EFE}"/>
            </a:ext>
          </a:extLst>
        </p:cNvPr>
        <p:cNvGrpSpPr/>
        <p:nvPr/>
      </p:nvGrpSpPr>
      <p:grpSpPr>
        <a:xfrm>
          <a:off x="0" y="0"/>
          <a:ext cx="0" cy="0"/>
          <a:chOff x="0" y="0"/>
          <a:chExt cx="0" cy="0"/>
        </a:xfrm>
      </p:grpSpPr>
      <p:sp>
        <p:nvSpPr>
          <p:cNvPr id="2" name="Picture Placeholder 1">
            <a:extLst>
              <a:ext uri="{FF2B5EF4-FFF2-40B4-BE49-F238E27FC236}">
                <a16:creationId xmlns:a16="http://schemas.microsoft.com/office/drawing/2014/main" id="{98AF6A81-EA31-CEFE-46F5-B7A7D970D39F}"/>
              </a:ext>
            </a:extLst>
          </p:cNvPr>
          <p:cNvSpPr>
            <a:spLocks noGrp="1"/>
          </p:cNvSpPr>
          <p:nvPr>
            <p:ph type="pic" sz="quarter" idx="15"/>
          </p:nvPr>
        </p:nvSpPr>
        <p:spPr/>
        <p:txBody>
          <a:bodyPr/>
          <a:lstStyle/>
          <a:p>
            <a:endParaRPr lang="sv-SE"/>
          </a:p>
        </p:txBody>
      </p:sp>
      <p:sp>
        <p:nvSpPr>
          <p:cNvPr id="8" name="Rubrik 7">
            <a:extLst>
              <a:ext uri="{FF2B5EF4-FFF2-40B4-BE49-F238E27FC236}">
                <a16:creationId xmlns:a16="http://schemas.microsoft.com/office/drawing/2014/main" id="{9B07ADF9-2435-E31E-0279-B139CAD1A9DA}"/>
              </a:ext>
            </a:extLst>
          </p:cNvPr>
          <p:cNvSpPr>
            <a:spLocks noGrp="1"/>
          </p:cNvSpPr>
          <p:nvPr>
            <p:ph type="title"/>
          </p:nvPr>
        </p:nvSpPr>
        <p:spPr/>
        <p:txBody>
          <a:bodyPr/>
          <a:lstStyle/>
          <a:p>
            <a:r>
              <a:rPr lang="en-GB"/>
              <a:t>Suggested Agenda</a:t>
            </a:r>
          </a:p>
        </p:txBody>
      </p:sp>
      <p:sp>
        <p:nvSpPr>
          <p:cNvPr id="10" name="Platshållare för text 9">
            <a:extLst>
              <a:ext uri="{FF2B5EF4-FFF2-40B4-BE49-F238E27FC236}">
                <a16:creationId xmlns:a16="http://schemas.microsoft.com/office/drawing/2014/main" id="{D730F4F0-0732-BA91-9F8E-0A24C9E5BA0D}"/>
              </a:ext>
            </a:extLst>
          </p:cNvPr>
          <p:cNvSpPr>
            <a:spLocks noGrp="1"/>
          </p:cNvSpPr>
          <p:nvPr>
            <p:ph type="body" sz="quarter" idx="17"/>
          </p:nvPr>
        </p:nvSpPr>
        <p:spPr>
          <a:xfrm>
            <a:off x="381000" y="947738"/>
            <a:ext cx="4093842" cy="3487737"/>
          </a:xfrm>
        </p:spPr>
        <p:txBody>
          <a:bodyPr>
            <a:normAutofit fontScale="92500" lnSpcReduction="10000"/>
          </a:bodyPr>
          <a:lstStyle/>
          <a:p>
            <a:pPr marL="342900" indent="-342900">
              <a:buFont typeface="+mj-lt"/>
              <a:buAutoNum type="arabicPeriod"/>
            </a:pPr>
            <a:r>
              <a:rPr lang="en-GB" sz="1600"/>
              <a:t>Introduction </a:t>
            </a:r>
          </a:p>
          <a:p>
            <a:pPr marL="342900" indent="-342900">
              <a:buFont typeface="+mj-lt"/>
              <a:buAutoNum type="arabicPeriod"/>
            </a:pPr>
            <a:r>
              <a:rPr lang="en-GB" sz="1600"/>
              <a:t>Approval of Agenda</a:t>
            </a:r>
          </a:p>
          <a:p>
            <a:pPr marL="342900" indent="-342900">
              <a:buFont typeface="+mj-lt"/>
              <a:buAutoNum type="arabicPeriod"/>
            </a:pPr>
            <a:r>
              <a:rPr lang="en-GB" sz="1600"/>
              <a:t>Approval of last meeting’s minutes</a:t>
            </a:r>
          </a:p>
          <a:p>
            <a:pPr marL="342900" indent="-342900">
              <a:buFont typeface="+mj-lt"/>
              <a:buAutoNum type="arabicPeriod"/>
            </a:pPr>
            <a:r>
              <a:rPr lang="en-GB" sz="1600"/>
              <a:t>Appointment of minutes adjuster</a:t>
            </a:r>
          </a:p>
          <a:p>
            <a:pPr marL="342900" indent="-342900">
              <a:buFont typeface="+mj-lt"/>
              <a:buAutoNum type="arabicPeriod"/>
            </a:pPr>
            <a:r>
              <a:rPr lang="en-GB" sz="1600"/>
              <a:t>NPC General information</a:t>
            </a:r>
          </a:p>
          <a:p>
            <a:pPr marL="342900" indent="-342900">
              <a:buFont typeface="+mj-lt"/>
              <a:buAutoNum type="arabicPeriod"/>
            </a:pPr>
            <a:r>
              <a:rPr lang="en-GB" sz="1600"/>
              <a:t>Nordic community update - NO</a:t>
            </a:r>
          </a:p>
          <a:p>
            <a:pPr marL="342900" indent="-342900">
              <a:buFont typeface="+mj-lt"/>
              <a:buAutoNum type="arabicPeriod"/>
            </a:pPr>
            <a:r>
              <a:rPr lang="en-GB" sz="1600"/>
              <a:t>External speaker </a:t>
            </a:r>
          </a:p>
          <a:p>
            <a:pPr marL="342900" indent="-342900">
              <a:buFont typeface="+mj-lt"/>
              <a:buAutoNum type="arabicPeriod"/>
            </a:pPr>
            <a:r>
              <a:rPr lang="en-GB" sz="1600"/>
              <a:t>Nordic community update – SE and DK</a:t>
            </a:r>
          </a:p>
          <a:p>
            <a:pPr marL="0" indent="0">
              <a:buNone/>
            </a:pPr>
            <a:r>
              <a:rPr lang="en-GB" sz="1600" i="1"/>
              <a:t>Break</a:t>
            </a:r>
          </a:p>
          <a:p>
            <a:pPr marL="342900" indent="-342900">
              <a:buFont typeface="+mj-lt"/>
              <a:buAutoNum type="arabicPeriod" startAt="9"/>
            </a:pPr>
            <a:r>
              <a:rPr lang="en-GB" sz="1600"/>
              <a:t>NPC Verification of Payee</a:t>
            </a:r>
          </a:p>
          <a:p>
            <a:pPr marL="342900" indent="-342900">
              <a:buFont typeface="+mj-lt"/>
              <a:buAutoNum type="arabicPeriod" startAt="9"/>
            </a:pPr>
            <a:r>
              <a:rPr lang="en-GB" sz="1600"/>
              <a:t>NPC Payment Schemes</a:t>
            </a:r>
          </a:p>
          <a:p>
            <a:pPr marL="342900" indent="-342900">
              <a:buFont typeface="+mj-lt"/>
              <a:buAutoNum type="arabicPeriod" startAt="9"/>
            </a:pPr>
            <a:r>
              <a:rPr lang="en-GB" sz="1600" b="1"/>
              <a:t>Position papers </a:t>
            </a:r>
          </a:p>
          <a:p>
            <a:pPr marL="342900" indent="-342900">
              <a:buFont typeface="+mj-lt"/>
              <a:buAutoNum type="arabicPeriod" startAt="9"/>
            </a:pPr>
            <a:r>
              <a:rPr lang="en-GB" sz="1600"/>
              <a:t>NPC going forward </a:t>
            </a:r>
          </a:p>
          <a:p>
            <a:pPr marL="342900" indent="-342900">
              <a:buFont typeface="+mj-lt"/>
              <a:buAutoNum type="arabicPeriod" startAt="9"/>
            </a:pPr>
            <a:r>
              <a:rPr lang="en-GB" sz="1600"/>
              <a:t>Any other business </a:t>
            </a:r>
          </a:p>
          <a:p>
            <a:pPr marL="342900" indent="-342900">
              <a:buFont typeface="+mj-lt"/>
              <a:buAutoNum type="arabicPeriod" startAt="9"/>
            </a:pPr>
            <a:r>
              <a:rPr lang="en-GB" sz="1600"/>
              <a:t>Closing</a:t>
            </a:r>
          </a:p>
        </p:txBody>
      </p:sp>
      <p:sp>
        <p:nvSpPr>
          <p:cNvPr id="5" name="Platshållare för sidfot 4">
            <a:extLst>
              <a:ext uri="{FF2B5EF4-FFF2-40B4-BE49-F238E27FC236}">
                <a16:creationId xmlns:a16="http://schemas.microsoft.com/office/drawing/2014/main" id="{DBEB7F57-EBC1-AD2C-04AE-458E475BB84C}"/>
              </a:ext>
            </a:extLst>
          </p:cNvPr>
          <p:cNvSpPr>
            <a:spLocks noGrp="1"/>
          </p:cNvSpPr>
          <p:nvPr>
            <p:ph type="ftr" sz="quarter" idx="11"/>
          </p:nvPr>
        </p:nvSpPr>
        <p:spPr/>
        <p:txBody>
          <a:bodyPr/>
          <a:lstStyle/>
          <a:p>
            <a:r>
              <a:rPr lang="en-US"/>
              <a:t>Stakeholder Forum Agenda - Classification: External</a:t>
            </a:r>
            <a:endParaRPr lang="en-GB"/>
          </a:p>
        </p:txBody>
      </p:sp>
      <p:sp>
        <p:nvSpPr>
          <p:cNvPr id="6" name="Platshållare för datum 5">
            <a:extLst>
              <a:ext uri="{FF2B5EF4-FFF2-40B4-BE49-F238E27FC236}">
                <a16:creationId xmlns:a16="http://schemas.microsoft.com/office/drawing/2014/main" id="{1949DEF2-9689-B6A5-C398-4A3BAF326F2E}"/>
              </a:ext>
            </a:extLst>
          </p:cNvPr>
          <p:cNvSpPr>
            <a:spLocks noGrp="1"/>
          </p:cNvSpPr>
          <p:nvPr>
            <p:ph type="dt" sz="half" idx="10"/>
          </p:nvPr>
        </p:nvSpPr>
        <p:spPr/>
        <p:txBody>
          <a:bodyPr/>
          <a:lstStyle/>
          <a:p>
            <a:r>
              <a:rPr lang="sv-SE"/>
              <a:t>26/03/2026</a:t>
            </a:r>
            <a:endParaRPr lang="en-GB"/>
          </a:p>
        </p:txBody>
      </p:sp>
      <p:sp>
        <p:nvSpPr>
          <p:cNvPr id="7" name="Platshållare för bildnummer 6">
            <a:extLst>
              <a:ext uri="{FF2B5EF4-FFF2-40B4-BE49-F238E27FC236}">
                <a16:creationId xmlns:a16="http://schemas.microsoft.com/office/drawing/2014/main" id="{EE95865B-394B-3D5C-1387-F58D848B98DF}"/>
              </a:ext>
            </a:extLst>
          </p:cNvPr>
          <p:cNvSpPr>
            <a:spLocks noGrp="1"/>
          </p:cNvSpPr>
          <p:nvPr>
            <p:ph type="sldNum" sz="quarter" idx="12"/>
          </p:nvPr>
        </p:nvSpPr>
        <p:spPr/>
        <p:txBody>
          <a:bodyPr/>
          <a:lstStyle/>
          <a:p>
            <a:fld id="{394EE31B-4DFC-CF4D-9A18-3F5D4D7C7302}" type="slidenum">
              <a:rPr lang="en-GB" smtClean="0"/>
              <a:pPr/>
              <a:t>37</a:t>
            </a:fld>
            <a:endParaRPr lang="en-GB"/>
          </a:p>
        </p:txBody>
      </p:sp>
      <p:pic>
        <p:nvPicPr>
          <p:cNvPr id="11" name="Platshållare för bild 7" descr="En bild som visar person, inomhus, man, stående&#10;&#10;Automatiskt genererad beskrivning">
            <a:extLst>
              <a:ext uri="{FF2B5EF4-FFF2-40B4-BE49-F238E27FC236}">
                <a16:creationId xmlns:a16="http://schemas.microsoft.com/office/drawing/2014/main" id="{BD4B248E-CD4B-40FB-46E9-C96D30C5581B}"/>
              </a:ext>
            </a:extLst>
          </p:cNvPr>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a:xfrm>
            <a:off x="4572000" y="952574"/>
            <a:ext cx="4156148" cy="3289235"/>
          </a:xfrm>
          <a:prstGeom prst="rect">
            <a:avLst/>
          </a:prstGeom>
        </p:spPr>
      </p:pic>
    </p:spTree>
    <p:extLst>
      <p:ext uri="{BB962C8B-B14F-4D97-AF65-F5344CB8AC3E}">
        <p14:creationId xmlns:p14="http://schemas.microsoft.com/office/powerpoint/2010/main" val="27534669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F1D38BA-A6C9-FE2A-A477-65CABAB02710}"/>
              </a:ext>
            </a:extLst>
          </p:cNvPr>
          <p:cNvSpPr>
            <a:spLocks noGrp="1"/>
          </p:cNvSpPr>
          <p:nvPr>
            <p:ph type="title"/>
          </p:nvPr>
        </p:nvSpPr>
        <p:spPr/>
        <p:txBody>
          <a:bodyPr/>
          <a:lstStyle/>
          <a:p>
            <a:r>
              <a:rPr lang="en-US" noProof="0"/>
              <a:t>Purpose position paper </a:t>
            </a:r>
          </a:p>
        </p:txBody>
      </p:sp>
      <p:sp>
        <p:nvSpPr>
          <p:cNvPr id="3" name="Platshållare för text 2">
            <a:extLst>
              <a:ext uri="{FF2B5EF4-FFF2-40B4-BE49-F238E27FC236}">
                <a16:creationId xmlns:a16="http://schemas.microsoft.com/office/drawing/2014/main" id="{09CCD1C4-0F53-A92C-E70B-F42727497F7E}"/>
              </a:ext>
            </a:extLst>
          </p:cNvPr>
          <p:cNvSpPr>
            <a:spLocks noGrp="1"/>
          </p:cNvSpPr>
          <p:nvPr>
            <p:ph type="body" sz="quarter" idx="17"/>
          </p:nvPr>
        </p:nvSpPr>
        <p:spPr>
          <a:xfrm>
            <a:off x="380999" y="1105617"/>
            <a:ext cx="8160733" cy="3257612"/>
          </a:xfrm>
        </p:spPr>
        <p:txBody>
          <a:bodyPr/>
          <a:lstStyle/>
          <a:p>
            <a:r>
              <a:rPr lang="en-GB"/>
              <a:t>The Stakeholder Forum serves as the platform where end-users and suppliers can express their needs and viewpoints, ensuring they are included in the decision process for rulebook development.</a:t>
            </a:r>
          </a:p>
          <a:p>
            <a:endParaRPr lang="en-GB"/>
          </a:p>
          <a:p>
            <a:r>
              <a:rPr lang="en-GB"/>
              <a:t>The Forum gathers and consolidates comments and views from market participants into a single, unified position document “the position paper”</a:t>
            </a:r>
          </a:p>
          <a:p>
            <a:pPr marL="0" indent="0">
              <a:buNone/>
            </a:pPr>
            <a:endParaRPr lang="en-GB"/>
          </a:p>
          <a:p>
            <a:r>
              <a:rPr lang="en-GB"/>
              <a:t>The completed position paper is sent to the SMC, which must take the Forum’s views into account when evaluating Change Requests and Change Proposals for inclusion to the NCT &amp; NCT Inst schemes version 2027.</a:t>
            </a:r>
          </a:p>
        </p:txBody>
      </p:sp>
      <p:sp>
        <p:nvSpPr>
          <p:cNvPr id="4" name="Platshållare för sidfot 3">
            <a:extLst>
              <a:ext uri="{FF2B5EF4-FFF2-40B4-BE49-F238E27FC236}">
                <a16:creationId xmlns:a16="http://schemas.microsoft.com/office/drawing/2014/main" id="{64CE409E-44D3-1C8A-1A87-80FFBF18111B}"/>
              </a:ext>
            </a:extLst>
          </p:cNvPr>
          <p:cNvSpPr>
            <a:spLocks noGrp="1"/>
          </p:cNvSpPr>
          <p:nvPr>
            <p:ph type="ftr" sz="quarter" idx="11"/>
          </p:nvPr>
        </p:nvSpPr>
        <p:spPr/>
        <p:txBody>
          <a:bodyPr/>
          <a:lstStyle/>
          <a:p>
            <a:r>
              <a:rPr lang="en-US"/>
              <a:t>Stakeholder Forum Agenda - Classification: External</a:t>
            </a:r>
            <a:endParaRPr lang="sv-SE"/>
          </a:p>
        </p:txBody>
      </p:sp>
      <p:sp>
        <p:nvSpPr>
          <p:cNvPr id="5" name="Platshållare för datum 4">
            <a:extLst>
              <a:ext uri="{FF2B5EF4-FFF2-40B4-BE49-F238E27FC236}">
                <a16:creationId xmlns:a16="http://schemas.microsoft.com/office/drawing/2014/main" id="{2F35A1D2-4286-C024-0823-4C0C51CF4E99}"/>
              </a:ext>
            </a:extLst>
          </p:cNvPr>
          <p:cNvSpPr>
            <a:spLocks noGrp="1"/>
          </p:cNvSpPr>
          <p:nvPr>
            <p:ph type="dt" sz="half" idx="10"/>
          </p:nvPr>
        </p:nvSpPr>
        <p:spPr/>
        <p:txBody>
          <a:bodyPr/>
          <a:lstStyle/>
          <a:p>
            <a:r>
              <a:rPr lang="sv-SE"/>
              <a:t>26/03/2026</a:t>
            </a:r>
          </a:p>
        </p:txBody>
      </p:sp>
      <p:sp>
        <p:nvSpPr>
          <p:cNvPr id="6" name="Platshållare för bildnummer 5">
            <a:extLst>
              <a:ext uri="{FF2B5EF4-FFF2-40B4-BE49-F238E27FC236}">
                <a16:creationId xmlns:a16="http://schemas.microsoft.com/office/drawing/2014/main" id="{C22FBD97-73C3-5C97-94C1-40A662B38089}"/>
              </a:ext>
            </a:extLst>
          </p:cNvPr>
          <p:cNvSpPr>
            <a:spLocks noGrp="1"/>
          </p:cNvSpPr>
          <p:nvPr>
            <p:ph type="sldNum" sz="quarter" idx="12"/>
          </p:nvPr>
        </p:nvSpPr>
        <p:spPr/>
        <p:txBody>
          <a:bodyPr/>
          <a:lstStyle/>
          <a:p>
            <a:fld id="{394EE31B-4DFC-CF4D-9A18-3F5D4D7C7302}" type="slidenum">
              <a:rPr lang="sv-SE" smtClean="0"/>
              <a:pPr/>
              <a:t>38</a:t>
            </a:fld>
            <a:endParaRPr lang="sv-SE"/>
          </a:p>
        </p:txBody>
      </p:sp>
    </p:spTree>
    <p:extLst>
      <p:ext uri="{BB962C8B-B14F-4D97-AF65-F5344CB8AC3E}">
        <p14:creationId xmlns:p14="http://schemas.microsoft.com/office/powerpoint/2010/main" val="80933769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C3C76E3E-94EC-5C18-B44C-6100F5C43CAE}"/>
              </a:ext>
            </a:extLst>
          </p:cNvPr>
          <p:cNvSpPr/>
          <p:nvPr/>
        </p:nvSpPr>
        <p:spPr>
          <a:xfrm>
            <a:off x="95400" y="855610"/>
            <a:ext cx="8953200" cy="3648013"/>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67" name="Rektangel 66">
            <a:extLst>
              <a:ext uri="{FF2B5EF4-FFF2-40B4-BE49-F238E27FC236}">
                <a16:creationId xmlns:a16="http://schemas.microsoft.com/office/drawing/2014/main" id="{4486A474-3E43-4B7C-980C-D856F0EE40E5}"/>
              </a:ext>
            </a:extLst>
          </p:cNvPr>
          <p:cNvSpPr/>
          <p:nvPr/>
        </p:nvSpPr>
        <p:spPr>
          <a:xfrm>
            <a:off x="173559" y="1275941"/>
            <a:ext cx="8458314" cy="337952"/>
          </a:xfrm>
          <a:prstGeom prst="rect">
            <a:avLst/>
          </a:prstGeom>
          <a:solidFill>
            <a:schemeClr val="bg1">
              <a:lumMod val="85000"/>
            </a:schemeClr>
          </a:solidFill>
          <a:ln>
            <a:noFill/>
          </a:ln>
        </p:spPr>
        <p:style>
          <a:lnRef idx="1">
            <a:schemeClr val="dk1"/>
          </a:lnRef>
          <a:fillRef idx="2">
            <a:schemeClr val="dk1"/>
          </a:fillRef>
          <a:effectRef idx="1">
            <a:schemeClr val="dk1"/>
          </a:effectRef>
          <a:fontRef idx="minor">
            <a:schemeClr val="dk1"/>
          </a:fontRef>
        </p:style>
        <p:txBody>
          <a:bodyPr rtlCol="0" anchor="ctr"/>
          <a:lstStyle/>
          <a:p>
            <a:pPr algn="ctr" defTabSz="685732">
              <a:defRPr/>
            </a:pPr>
            <a:endParaRPr lang="en-US">
              <a:solidFill>
                <a:prstClr val="white">
                  <a:lumMod val="50000"/>
                </a:prstClr>
              </a:solidFill>
              <a:latin typeface="Calibri"/>
            </a:endParaRPr>
          </a:p>
        </p:txBody>
      </p:sp>
      <p:sp>
        <p:nvSpPr>
          <p:cNvPr id="8" name="Rubrik 7">
            <a:extLst>
              <a:ext uri="{FF2B5EF4-FFF2-40B4-BE49-F238E27FC236}">
                <a16:creationId xmlns:a16="http://schemas.microsoft.com/office/drawing/2014/main" id="{C1FF3025-3C90-457B-9F96-8CE19B50D531}"/>
              </a:ext>
            </a:extLst>
          </p:cNvPr>
          <p:cNvSpPr>
            <a:spLocks noGrp="1"/>
          </p:cNvSpPr>
          <p:nvPr>
            <p:ph type="title"/>
          </p:nvPr>
        </p:nvSpPr>
        <p:spPr>
          <a:xfrm>
            <a:off x="90009" y="261529"/>
            <a:ext cx="8851545" cy="481754"/>
          </a:xfrm>
        </p:spPr>
        <p:txBody>
          <a:bodyPr>
            <a:normAutofit/>
          </a:bodyPr>
          <a:lstStyle/>
          <a:p>
            <a:r>
              <a:rPr lang="en-US" sz="2400"/>
              <a:t>NPC Stakeholder Forum Timeline 2026 - Position papers</a:t>
            </a:r>
          </a:p>
        </p:txBody>
      </p:sp>
      <p:sp>
        <p:nvSpPr>
          <p:cNvPr id="4" name="Platshållare för sidfot 3">
            <a:extLst>
              <a:ext uri="{FF2B5EF4-FFF2-40B4-BE49-F238E27FC236}">
                <a16:creationId xmlns:a16="http://schemas.microsoft.com/office/drawing/2014/main" id="{D7FD7F98-AB14-4BB9-B40F-B3ABE7A7AC59}"/>
              </a:ext>
            </a:extLst>
          </p:cNvPr>
          <p:cNvSpPr>
            <a:spLocks noGrp="1"/>
          </p:cNvSpPr>
          <p:nvPr>
            <p:ph type="ftr" sz="quarter" idx="11"/>
          </p:nvPr>
        </p:nvSpPr>
        <p:spPr>
          <a:xfrm>
            <a:off x="5813003" y="4445302"/>
            <a:ext cx="2509889" cy="382813"/>
          </a:xfrm>
        </p:spPr>
        <p:txBody>
          <a:bodyPr/>
          <a:lstStyle/>
          <a:p>
            <a:pPr defTabSz="685732">
              <a:defRPr/>
            </a:pPr>
            <a:r>
              <a:rPr lang="en-US">
                <a:solidFill>
                  <a:srgbClr val="014E8F"/>
                </a:solidFill>
                <a:latin typeface="Calibri"/>
              </a:rPr>
              <a:t>Stakeholder Forum Agenda - Classification: External</a:t>
            </a:r>
            <a:endParaRPr lang="en-GB">
              <a:solidFill>
                <a:srgbClr val="014E8F"/>
              </a:solidFill>
              <a:latin typeface="Calibri"/>
            </a:endParaRPr>
          </a:p>
        </p:txBody>
      </p:sp>
      <p:sp>
        <p:nvSpPr>
          <p:cNvPr id="5" name="Platshållare för datum 4">
            <a:extLst>
              <a:ext uri="{FF2B5EF4-FFF2-40B4-BE49-F238E27FC236}">
                <a16:creationId xmlns:a16="http://schemas.microsoft.com/office/drawing/2014/main" id="{97773D12-C5EF-496C-9391-862D1A4EB5F7}"/>
              </a:ext>
            </a:extLst>
          </p:cNvPr>
          <p:cNvSpPr>
            <a:spLocks noGrp="1"/>
          </p:cNvSpPr>
          <p:nvPr>
            <p:ph type="dt" sz="half" idx="10"/>
          </p:nvPr>
        </p:nvSpPr>
        <p:spPr>
          <a:xfrm>
            <a:off x="4734105" y="4459493"/>
            <a:ext cx="1018558" cy="370949"/>
          </a:xfrm>
        </p:spPr>
        <p:txBody>
          <a:bodyPr/>
          <a:lstStyle/>
          <a:p>
            <a:pPr defTabSz="685732">
              <a:defRPr/>
            </a:pPr>
            <a:r>
              <a:rPr lang="sv-SE">
                <a:solidFill>
                  <a:srgbClr val="014E8F"/>
                </a:solidFill>
                <a:latin typeface="Calibri"/>
              </a:rPr>
              <a:t>26/03/2026</a:t>
            </a:r>
            <a:endParaRPr lang="en-GB">
              <a:solidFill>
                <a:srgbClr val="014E8F"/>
              </a:solidFill>
              <a:latin typeface="Calibri"/>
            </a:endParaRPr>
          </a:p>
        </p:txBody>
      </p:sp>
      <p:sp>
        <p:nvSpPr>
          <p:cNvPr id="6" name="Platshållare för bildnummer 5">
            <a:extLst>
              <a:ext uri="{FF2B5EF4-FFF2-40B4-BE49-F238E27FC236}">
                <a16:creationId xmlns:a16="http://schemas.microsoft.com/office/drawing/2014/main" id="{7C6F4C4E-A535-4115-B28D-7B28EF88A46D}"/>
              </a:ext>
            </a:extLst>
          </p:cNvPr>
          <p:cNvSpPr>
            <a:spLocks noGrp="1"/>
          </p:cNvSpPr>
          <p:nvPr>
            <p:ph type="sldNum" sz="quarter" idx="12"/>
          </p:nvPr>
        </p:nvSpPr>
        <p:spPr/>
        <p:txBody>
          <a:bodyPr/>
          <a:lstStyle/>
          <a:p>
            <a:pPr defTabSz="685732">
              <a:defRPr/>
            </a:pPr>
            <a:fld id="{394EE31B-4DFC-CF4D-9A18-3F5D4D7C7302}" type="slidenum">
              <a:rPr lang="en-GB">
                <a:solidFill>
                  <a:srgbClr val="014E8F"/>
                </a:solidFill>
                <a:latin typeface="Calibri"/>
              </a:rPr>
              <a:pPr defTabSz="685732">
                <a:defRPr/>
              </a:pPr>
              <a:t>39</a:t>
            </a:fld>
            <a:endParaRPr lang="en-GB">
              <a:solidFill>
                <a:srgbClr val="014E8F"/>
              </a:solidFill>
              <a:latin typeface="Calibri"/>
            </a:endParaRPr>
          </a:p>
        </p:txBody>
      </p:sp>
      <p:graphicFrame>
        <p:nvGraphicFramePr>
          <p:cNvPr id="10" name="Tabell 9">
            <a:extLst>
              <a:ext uri="{FF2B5EF4-FFF2-40B4-BE49-F238E27FC236}">
                <a16:creationId xmlns:a16="http://schemas.microsoft.com/office/drawing/2014/main" id="{5931BBBC-1F20-4516-8271-31792FCE06DA}"/>
              </a:ext>
            </a:extLst>
          </p:cNvPr>
          <p:cNvGraphicFramePr>
            <a:graphicFrameLocks noGrp="1"/>
          </p:cNvGraphicFramePr>
          <p:nvPr/>
        </p:nvGraphicFramePr>
        <p:xfrm>
          <a:off x="815538" y="921121"/>
          <a:ext cx="7837140" cy="276500"/>
        </p:xfrm>
        <a:graphic>
          <a:graphicData uri="http://schemas.openxmlformats.org/drawingml/2006/table">
            <a:tbl>
              <a:tblPr bandCol="1">
                <a:tableStyleId>{22838BEF-8BB2-4498-84A7-C5851F593DF1}</a:tableStyleId>
              </a:tblPr>
              <a:tblGrid>
                <a:gridCol w="677228">
                  <a:extLst>
                    <a:ext uri="{9D8B030D-6E8A-4147-A177-3AD203B41FA5}">
                      <a16:colId xmlns:a16="http://schemas.microsoft.com/office/drawing/2014/main" val="682200445"/>
                    </a:ext>
                  </a:extLst>
                </a:gridCol>
                <a:gridCol w="677228">
                  <a:extLst>
                    <a:ext uri="{9D8B030D-6E8A-4147-A177-3AD203B41FA5}">
                      <a16:colId xmlns:a16="http://schemas.microsoft.com/office/drawing/2014/main" val="3479512042"/>
                    </a:ext>
                  </a:extLst>
                </a:gridCol>
                <a:gridCol w="609230">
                  <a:extLst>
                    <a:ext uri="{9D8B030D-6E8A-4147-A177-3AD203B41FA5}">
                      <a16:colId xmlns:a16="http://schemas.microsoft.com/office/drawing/2014/main" val="1892769718"/>
                    </a:ext>
                  </a:extLst>
                </a:gridCol>
                <a:gridCol w="652606">
                  <a:extLst>
                    <a:ext uri="{9D8B030D-6E8A-4147-A177-3AD203B41FA5}">
                      <a16:colId xmlns:a16="http://schemas.microsoft.com/office/drawing/2014/main" val="3633279363"/>
                    </a:ext>
                  </a:extLst>
                </a:gridCol>
                <a:gridCol w="652606">
                  <a:extLst>
                    <a:ext uri="{9D8B030D-6E8A-4147-A177-3AD203B41FA5}">
                      <a16:colId xmlns:a16="http://schemas.microsoft.com/office/drawing/2014/main" val="1918578381"/>
                    </a:ext>
                  </a:extLst>
                </a:gridCol>
                <a:gridCol w="652606">
                  <a:extLst>
                    <a:ext uri="{9D8B030D-6E8A-4147-A177-3AD203B41FA5}">
                      <a16:colId xmlns:a16="http://schemas.microsoft.com/office/drawing/2014/main" val="1496539308"/>
                    </a:ext>
                  </a:extLst>
                </a:gridCol>
                <a:gridCol w="652606">
                  <a:extLst>
                    <a:ext uri="{9D8B030D-6E8A-4147-A177-3AD203B41FA5}">
                      <a16:colId xmlns:a16="http://schemas.microsoft.com/office/drawing/2014/main" val="1740507537"/>
                    </a:ext>
                  </a:extLst>
                </a:gridCol>
                <a:gridCol w="652606">
                  <a:extLst>
                    <a:ext uri="{9D8B030D-6E8A-4147-A177-3AD203B41FA5}">
                      <a16:colId xmlns:a16="http://schemas.microsoft.com/office/drawing/2014/main" val="1109368000"/>
                    </a:ext>
                  </a:extLst>
                </a:gridCol>
                <a:gridCol w="652606">
                  <a:extLst>
                    <a:ext uri="{9D8B030D-6E8A-4147-A177-3AD203B41FA5}">
                      <a16:colId xmlns:a16="http://schemas.microsoft.com/office/drawing/2014/main" val="2627804285"/>
                    </a:ext>
                  </a:extLst>
                </a:gridCol>
                <a:gridCol w="652606">
                  <a:extLst>
                    <a:ext uri="{9D8B030D-6E8A-4147-A177-3AD203B41FA5}">
                      <a16:colId xmlns:a16="http://schemas.microsoft.com/office/drawing/2014/main" val="2378076735"/>
                    </a:ext>
                  </a:extLst>
                </a:gridCol>
                <a:gridCol w="652606">
                  <a:extLst>
                    <a:ext uri="{9D8B030D-6E8A-4147-A177-3AD203B41FA5}">
                      <a16:colId xmlns:a16="http://schemas.microsoft.com/office/drawing/2014/main" val="3668057800"/>
                    </a:ext>
                  </a:extLst>
                </a:gridCol>
                <a:gridCol w="652606">
                  <a:extLst>
                    <a:ext uri="{9D8B030D-6E8A-4147-A177-3AD203B41FA5}">
                      <a16:colId xmlns:a16="http://schemas.microsoft.com/office/drawing/2014/main" val="2879865530"/>
                    </a:ext>
                  </a:extLst>
                </a:gridCol>
              </a:tblGrid>
              <a:tr h="276500">
                <a:tc>
                  <a:txBody>
                    <a:bodyPr/>
                    <a:lstStyle/>
                    <a:p>
                      <a:pPr lvl="0" algn="ctr">
                        <a:buNone/>
                      </a:pPr>
                      <a:r>
                        <a:rPr lang="en-GB" sz="1100" u="none" strike="noStrike" noProof="0">
                          <a:solidFill>
                            <a:schemeClr val="tx1"/>
                          </a:solidFill>
                          <a:effectLst/>
                        </a:rPr>
                        <a:t>Jan</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lvl="0" algn="ctr">
                        <a:buNone/>
                      </a:pPr>
                      <a:r>
                        <a:rPr lang="en-GB" sz="1100" u="none" strike="noStrike" noProof="0">
                          <a:solidFill>
                            <a:schemeClr val="tx1"/>
                          </a:solidFill>
                          <a:effectLst/>
                        </a:rPr>
                        <a:t>Feb</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lvl="0" algn="ctr">
                        <a:buNone/>
                      </a:pPr>
                      <a:r>
                        <a:rPr lang="en-GB" sz="1100" u="none" strike="noStrike" noProof="0">
                          <a:solidFill>
                            <a:schemeClr val="tx1"/>
                          </a:solidFill>
                          <a:effectLst/>
                        </a:rPr>
                        <a:t>Mar</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lvl="0" algn="ctr">
                        <a:buNone/>
                      </a:pPr>
                      <a:r>
                        <a:rPr lang="sv-SE" sz="1100" u="none" strike="noStrike" noProof="0">
                          <a:solidFill>
                            <a:schemeClr val="tx1"/>
                          </a:solidFill>
                          <a:effectLst/>
                        </a:rPr>
                        <a:t>A</a:t>
                      </a:r>
                      <a:r>
                        <a:rPr lang="en-GB" sz="1100" u="none" strike="noStrike" noProof="0">
                          <a:solidFill>
                            <a:schemeClr val="tx1"/>
                          </a:solidFill>
                          <a:effectLst/>
                        </a:rPr>
                        <a:t>pr</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lvl="0" algn="ctr">
                        <a:buNone/>
                      </a:pPr>
                      <a:r>
                        <a:rPr lang="sv-SE" sz="1100" u="none" strike="noStrike" noProof="0">
                          <a:solidFill>
                            <a:schemeClr val="tx1"/>
                          </a:solidFill>
                          <a:effectLst/>
                        </a:rPr>
                        <a:t>M</a:t>
                      </a:r>
                      <a:r>
                        <a:rPr lang="en-GB" sz="1100" u="none" strike="noStrike" noProof="0">
                          <a:solidFill>
                            <a:schemeClr val="tx1"/>
                          </a:solidFill>
                          <a:effectLst/>
                        </a:rPr>
                        <a:t>ay</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lvl="0" algn="ctr">
                        <a:buNone/>
                      </a:pPr>
                      <a:r>
                        <a:rPr lang="sv-SE" sz="1100" u="none" strike="noStrike" noProof="0">
                          <a:solidFill>
                            <a:schemeClr val="tx1"/>
                          </a:solidFill>
                          <a:effectLst/>
                        </a:rPr>
                        <a:t>J</a:t>
                      </a:r>
                      <a:r>
                        <a:rPr lang="en-GB" sz="1100" u="none" strike="noStrike" noProof="0">
                          <a:solidFill>
                            <a:schemeClr val="tx1"/>
                          </a:solidFill>
                          <a:effectLst/>
                        </a:rPr>
                        <a:t>un</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lvl="0" algn="ctr">
                        <a:buNone/>
                      </a:pPr>
                      <a:r>
                        <a:rPr lang="sv-SE" sz="1100" u="none" strike="noStrike" noProof="0">
                          <a:solidFill>
                            <a:schemeClr val="tx1"/>
                          </a:solidFill>
                          <a:effectLst/>
                        </a:rPr>
                        <a:t>J</a:t>
                      </a:r>
                      <a:r>
                        <a:rPr lang="en-GB" sz="1100" u="none" strike="noStrike" noProof="0" err="1">
                          <a:solidFill>
                            <a:schemeClr val="tx1"/>
                          </a:solidFill>
                          <a:effectLst/>
                        </a:rPr>
                        <a:t>ul</a:t>
                      </a:r>
                      <a:endParaRPr lang="en-GB" sz="1100" u="none" strike="noStrike" noProof="0">
                        <a:solidFill>
                          <a:schemeClr val="tx1"/>
                        </a:solidFill>
                        <a:effectLst/>
                      </a:endParaRP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lvl="0" algn="ctr">
                        <a:buNone/>
                      </a:pPr>
                      <a:r>
                        <a:rPr lang="en-GB" sz="1100" u="none" strike="noStrike" noProof="0">
                          <a:solidFill>
                            <a:schemeClr val="tx1"/>
                          </a:solidFill>
                          <a:effectLst/>
                        </a:rPr>
                        <a:t>Aug </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lvl="0" algn="ctr">
                        <a:buNone/>
                      </a:pPr>
                      <a:r>
                        <a:rPr lang="sv-SE" sz="1100" u="none" strike="noStrike" noProof="0">
                          <a:solidFill>
                            <a:schemeClr val="tx1"/>
                          </a:solidFill>
                          <a:effectLst/>
                        </a:rPr>
                        <a:t>Sep</a:t>
                      </a:r>
                      <a:endParaRPr lang="en-GB" sz="1100" u="none" strike="noStrike" noProof="0">
                        <a:solidFill>
                          <a:schemeClr val="tx1"/>
                        </a:solidFill>
                        <a:effectLst/>
                      </a:endParaRP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lvl="0" algn="ctr">
                        <a:buNone/>
                      </a:pPr>
                      <a:r>
                        <a:rPr lang="sv-SE" sz="1100" u="none" strike="noStrike" noProof="0">
                          <a:solidFill>
                            <a:schemeClr val="tx1"/>
                          </a:solidFill>
                          <a:effectLst/>
                        </a:rPr>
                        <a:t>Oct</a:t>
                      </a:r>
                      <a:endParaRPr lang="en-GB" sz="1100" u="none" strike="noStrike" noProof="0">
                        <a:solidFill>
                          <a:schemeClr val="tx1"/>
                        </a:solidFill>
                        <a:effectLst/>
                      </a:endParaRP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lvl="0" algn="ctr">
                        <a:buNone/>
                      </a:pPr>
                      <a:r>
                        <a:rPr lang="sv-SE" sz="1100" u="none" strike="noStrike" noProof="0">
                          <a:solidFill>
                            <a:schemeClr val="tx1"/>
                          </a:solidFill>
                          <a:effectLst/>
                        </a:rPr>
                        <a:t>Nov </a:t>
                      </a:r>
                      <a:endParaRPr lang="en-GB" sz="1100" u="none" strike="noStrike" noProof="0">
                        <a:solidFill>
                          <a:schemeClr val="tx1"/>
                        </a:solidFill>
                        <a:effectLst/>
                      </a:endParaRP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lvl="0" algn="ctr">
                        <a:buNone/>
                      </a:pPr>
                      <a:r>
                        <a:rPr lang="sv-SE" sz="1100" u="none" strike="noStrike" noProof="0">
                          <a:solidFill>
                            <a:schemeClr val="tx1"/>
                          </a:solidFill>
                          <a:effectLst/>
                        </a:rPr>
                        <a:t>Dec</a:t>
                      </a:r>
                      <a:endParaRPr lang="en-GB" sz="1100" u="none" strike="noStrike" noProof="0">
                        <a:solidFill>
                          <a:schemeClr val="tx1"/>
                        </a:solidFill>
                        <a:effectLst/>
                      </a:endParaRP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sp>
        <p:nvSpPr>
          <p:cNvPr id="17" name="OTLSHAPE_T_15d2be0220b84c62912bd3e31c0e3ac3_Title">
            <a:extLst>
              <a:ext uri="{FF2B5EF4-FFF2-40B4-BE49-F238E27FC236}">
                <a16:creationId xmlns:a16="http://schemas.microsoft.com/office/drawing/2014/main" id="{BAA3D059-06B8-456D-AE4E-3581B94D8E34}"/>
              </a:ext>
            </a:extLst>
          </p:cNvPr>
          <p:cNvSpPr txBox="1"/>
          <p:nvPr>
            <p:custDataLst>
              <p:tags r:id="rId1"/>
            </p:custDataLst>
          </p:nvPr>
        </p:nvSpPr>
        <p:spPr>
          <a:xfrm>
            <a:off x="245375" y="1380060"/>
            <a:ext cx="707125" cy="153888"/>
          </a:xfrm>
          <a:prstGeom prst="rect">
            <a:avLst/>
          </a:prstGeom>
          <a:noFill/>
        </p:spPr>
        <p:txBody>
          <a:bodyPr vert="horz" wrap="square" lIns="0" tIns="0" rIns="0" bIns="0" rtlCol="0" anchor="ctr" anchorCtr="0">
            <a:spAutoFit/>
          </a:bodyPr>
          <a:lstStyle/>
          <a:p>
            <a:pPr defTabSz="685732">
              <a:defRPr/>
            </a:pPr>
            <a:r>
              <a:rPr lang="en-US" sz="1000" b="1" spc="-12">
                <a:solidFill>
                  <a:srgbClr val="014E8F"/>
                </a:solidFill>
                <a:latin typeface="Calibri" panose="020F0502020204030204" pitchFamily="34" charset="0"/>
              </a:rPr>
              <a:t>NPC SMC</a:t>
            </a:r>
          </a:p>
        </p:txBody>
      </p:sp>
      <p:sp>
        <p:nvSpPr>
          <p:cNvPr id="58" name="OTLSHAPE_T_15d2be0220b84c62912bd3e31c0e3ac3_Title">
            <a:extLst>
              <a:ext uri="{FF2B5EF4-FFF2-40B4-BE49-F238E27FC236}">
                <a16:creationId xmlns:a16="http://schemas.microsoft.com/office/drawing/2014/main" id="{BAA3D059-06B8-456D-AE4E-3581B94D8E34}"/>
              </a:ext>
            </a:extLst>
          </p:cNvPr>
          <p:cNvSpPr txBox="1"/>
          <p:nvPr>
            <p:custDataLst>
              <p:tags r:id="rId2"/>
            </p:custDataLst>
          </p:nvPr>
        </p:nvSpPr>
        <p:spPr>
          <a:xfrm>
            <a:off x="238489" y="1706072"/>
            <a:ext cx="2073495" cy="153888"/>
          </a:xfrm>
          <a:prstGeom prst="rect">
            <a:avLst/>
          </a:prstGeom>
          <a:noFill/>
        </p:spPr>
        <p:txBody>
          <a:bodyPr vert="horz" wrap="square" lIns="0" tIns="0" rIns="0" bIns="0" rtlCol="0" anchor="ctr" anchorCtr="0">
            <a:spAutoFit/>
          </a:bodyPr>
          <a:lstStyle/>
          <a:p>
            <a:pPr defTabSz="685732">
              <a:defRPr/>
            </a:pPr>
            <a:r>
              <a:rPr lang="en-US" sz="1000" b="1" spc="-12">
                <a:solidFill>
                  <a:srgbClr val="014E8F"/>
                </a:solidFill>
                <a:latin typeface="Calibri" panose="020F0502020204030204" pitchFamily="34" charset="0"/>
              </a:rPr>
              <a:t>SHF </a:t>
            </a:r>
          </a:p>
        </p:txBody>
      </p:sp>
      <p:sp>
        <p:nvSpPr>
          <p:cNvPr id="124" name="Rektangel 123">
            <a:extLst>
              <a:ext uri="{FF2B5EF4-FFF2-40B4-BE49-F238E27FC236}">
                <a16:creationId xmlns:a16="http://schemas.microsoft.com/office/drawing/2014/main" id="{80F384D0-EF32-484C-B52B-BB48891A8E8C}"/>
              </a:ext>
            </a:extLst>
          </p:cNvPr>
          <p:cNvSpPr/>
          <p:nvPr/>
        </p:nvSpPr>
        <p:spPr>
          <a:xfrm>
            <a:off x="2672370" y="4666366"/>
            <a:ext cx="301935" cy="158585"/>
          </a:xfrm>
          <a:prstGeom prst="rect">
            <a:avLst/>
          </a:prstGeom>
        </p:spPr>
        <p:style>
          <a:lnRef idx="0">
            <a:schemeClr val="dk1"/>
          </a:lnRef>
          <a:fillRef idx="3">
            <a:schemeClr val="dk1"/>
          </a:fillRef>
          <a:effectRef idx="3">
            <a:schemeClr val="dk1"/>
          </a:effectRef>
          <a:fontRef idx="minor">
            <a:schemeClr val="lt1"/>
          </a:fontRef>
        </p:style>
        <p:txBody>
          <a:bodyPr lIns="0" rIns="0" rtlCol="0" anchor="ctr"/>
          <a:lstStyle/>
          <a:p>
            <a:pPr algn="ctr" defTabSz="457118">
              <a:defRPr/>
            </a:pPr>
            <a:endParaRPr lang="en-US" sz="700" i="1">
              <a:solidFill>
                <a:srgbClr val="014E8F"/>
              </a:solidFill>
              <a:latin typeface="Calibri"/>
            </a:endParaRPr>
          </a:p>
        </p:txBody>
      </p:sp>
      <p:sp>
        <p:nvSpPr>
          <p:cNvPr id="126" name="textruta 125">
            <a:extLst>
              <a:ext uri="{FF2B5EF4-FFF2-40B4-BE49-F238E27FC236}">
                <a16:creationId xmlns:a16="http://schemas.microsoft.com/office/drawing/2014/main" id="{1F78E6F1-1123-4330-AAD7-B5B2B36165A3}"/>
              </a:ext>
            </a:extLst>
          </p:cNvPr>
          <p:cNvSpPr txBox="1"/>
          <p:nvPr/>
        </p:nvSpPr>
        <p:spPr>
          <a:xfrm>
            <a:off x="2954583" y="4622546"/>
            <a:ext cx="1069524" cy="215444"/>
          </a:xfrm>
          <a:prstGeom prst="rect">
            <a:avLst/>
          </a:prstGeom>
          <a:noFill/>
        </p:spPr>
        <p:txBody>
          <a:bodyPr wrap="square" rtlCol="0" anchor="t">
            <a:spAutoFit/>
          </a:bodyPr>
          <a:lstStyle/>
          <a:p>
            <a:pPr defTabSz="685732">
              <a:defRPr/>
            </a:pPr>
            <a:r>
              <a:rPr lang="en-US" sz="800" i="1">
                <a:solidFill>
                  <a:srgbClr val="014E8F"/>
                </a:solidFill>
                <a:latin typeface="Calibri"/>
              </a:rPr>
              <a:t>SMC Meeting</a:t>
            </a:r>
          </a:p>
        </p:txBody>
      </p:sp>
      <p:sp>
        <p:nvSpPr>
          <p:cNvPr id="69" name="textruta 127">
            <a:extLst>
              <a:ext uri="{FF2B5EF4-FFF2-40B4-BE49-F238E27FC236}">
                <a16:creationId xmlns:a16="http://schemas.microsoft.com/office/drawing/2014/main" id="{9BC9582A-58FC-451D-A6EF-6EEA18227FA0}"/>
              </a:ext>
            </a:extLst>
          </p:cNvPr>
          <p:cNvSpPr txBox="1"/>
          <p:nvPr/>
        </p:nvSpPr>
        <p:spPr>
          <a:xfrm>
            <a:off x="1790583" y="4622546"/>
            <a:ext cx="771365" cy="215444"/>
          </a:xfrm>
          <a:prstGeom prst="rect">
            <a:avLst/>
          </a:prstGeom>
          <a:noFill/>
        </p:spPr>
        <p:txBody>
          <a:bodyPr wrap="none" rtlCol="0" anchor="t">
            <a:spAutoFit/>
          </a:bodyPr>
          <a:lstStyle/>
          <a:p>
            <a:pPr defTabSz="685732">
              <a:defRPr/>
            </a:pPr>
            <a:r>
              <a:rPr lang="en-GB" sz="800" i="1">
                <a:solidFill>
                  <a:srgbClr val="014E8F"/>
                </a:solidFill>
                <a:latin typeface="Calibri"/>
              </a:rPr>
              <a:t>SHF meetings </a:t>
            </a:r>
          </a:p>
        </p:txBody>
      </p:sp>
      <p:sp>
        <p:nvSpPr>
          <p:cNvPr id="70" name="Rektangel 123">
            <a:extLst>
              <a:ext uri="{FF2B5EF4-FFF2-40B4-BE49-F238E27FC236}">
                <a16:creationId xmlns:a16="http://schemas.microsoft.com/office/drawing/2014/main" id="{80F384D0-EF32-484C-B52B-BB48891A8E8C}"/>
              </a:ext>
            </a:extLst>
          </p:cNvPr>
          <p:cNvSpPr/>
          <p:nvPr/>
        </p:nvSpPr>
        <p:spPr>
          <a:xfrm>
            <a:off x="1508371" y="4669908"/>
            <a:ext cx="301935" cy="158585"/>
          </a:xfrm>
          <a:prstGeom prst="rect">
            <a:avLst/>
          </a:prstGeom>
        </p:spPr>
        <p:style>
          <a:lnRef idx="0">
            <a:schemeClr val="accent4"/>
          </a:lnRef>
          <a:fillRef idx="3">
            <a:schemeClr val="accent4"/>
          </a:fillRef>
          <a:effectRef idx="3">
            <a:schemeClr val="accent4"/>
          </a:effectRef>
          <a:fontRef idx="minor">
            <a:schemeClr val="lt1"/>
          </a:fontRef>
        </p:style>
        <p:txBody>
          <a:bodyPr lIns="0" rIns="0" rtlCol="0" anchor="ctr"/>
          <a:lstStyle/>
          <a:p>
            <a:pPr algn="ctr" defTabSz="457118">
              <a:defRPr/>
            </a:pPr>
            <a:endParaRPr lang="en-GB" sz="700" i="1">
              <a:solidFill>
                <a:srgbClr val="014E8F"/>
              </a:solidFill>
              <a:latin typeface="Calibri"/>
            </a:endParaRPr>
          </a:p>
        </p:txBody>
      </p:sp>
      <p:sp>
        <p:nvSpPr>
          <p:cNvPr id="77" name="Rektangel 76">
            <a:extLst>
              <a:ext uri="{FF2B5EF4-FFF2-40B4-BE49-F238E27FC236}">
                <a16:creationId xmlns:a16="http://schemas.microsoft.com/office/drawing/2014/main" id="{97617ACE-1129-4694-8FD2-A15CBEC2B462}"/>
              </a:ext>
            </a:extLst>
          </p:cNvPr>
          <p:cNvSpPr/>
          <p:nvPr/>
        </p:nvSpPr>
        <p:spPr>
          <a:xfrm>
            <a:off x="1838404" y="1336961"/>
            <a:ext cx="291600" cy="201600"/>
          </a:xfrm>
          <a:prstGeom prst="rect">
            <a:avLst/>
          </a:prstGeom>
        </p:spPr>
        <p:style>
          <a:lnRef idx="0">
            <a:schemeClr val="dk1"/>
          </a:lnRef>
          <a:fillRef idx="3">
            <a:schemeClr val="dk1"/>
          </a:fillRef>
          <a:effectRef idx="3">
            <a:schemeClr val="dk1"/>
          </a:effectRef>
          <a:fontRef idx="minor">
            <a:schemeClr val="lt1"/>
          </a:fontRef>
        </p:style>
        <p:txBody>
          <a:bodyPr lIns="0" rIns="0" rtlCol="0" anchor="ctr"/>
          <a:lstStyle/>
          <a:p>
            <a:pPr algn="ctr" defTabSz="457118"/>
            <a:r>
              <a:rPr lang="en-US" sz="900" i="1">
                <a:solidFill>
                  <a:schemeClr val="bg1"/>
                </a:solidFill>
                <a:latin typeface="Calibri"/>
              </a:rPr>
              <a:t>19/2</a:t>
            </a:r>
          </a:p>
        </p:txBody>
      </p:sp>
      <p:sp>
        <p:nvSpPr>
          <p:cNvPr id="132" name="Rektangel 131">
            <a:extLst>
              <a:ext uri="{FF2B5EF4-FFF2-40B4-BE49-F238E27FC236}">
                <a16:creationId xmlns:a16="http://schemas.microsoft.com/office/drawing/2014/main" id="{1797ED4C-3766-488E-8308-814E69FE04FD}"/>
              </a:ext>
            </a:extLst>
          </p:cNvPr>
          <p:cNvSpPr/>
          <p:nvPr/>
        </p:nvSpPr>
        <p:spPr>
          <a:xfrm>
            <a:off x="6200677" y="1664313"/>
            <a:ext cx="291600" cy="201600"/>
          </a:xfrm>
          <a:prstGeom prst="rect">
            <a:avLst/>
          </a:prstGeom>
        </p:spPr>
        <p:style>
          <a:lnRef idx="0">
            <a:schemeClr val="accent4"/>
          </a:lnRef>
          <a:fillRef idx="3">
            <a:schemeClr val="accent4"/>
          </a:fillRef>
          <a:effectRef idx="3">
            <a:schemeClr val="accent4"/>
          </a:effectRef>
          <a:fontRef idx="minor">
            <a:schemeClr val="lt1"/>
          </a:fontRef>
        </p:style>
        <p:txBody>
          <a:bodyPr lIns="0" rIns="0" rtlCol="0" anchor="ctr"/>
          <a:lstStyle/>
          <a:p>
            <a:pPr algn="ctr" defTabSz="457118"/>
            <a:r>
              <a:rPr lang="en-US" sz="900" i="1">
                <a:solidFill>
                  <a:schemeClr val="bg1"/>
                </a:solidFill>
                <a:latin typeface="Calibri"/>
              </a:rPr>
              <a:t>17/9</a:t>
            </a:r>
          </a:p>
        </p:txBody>
      </p:sp>
      <p:sp>
        <p:nvSpPr>
          <p:cNvPr id="31" name="Rektangel 30">
            <a:extLst>
              <a:ext uri="{FF2B5EF4-FFF2-40B4-BE49-F238E27FC236}">
                <a16:creationId xmlns:a16="http://schemas.microsoft.com/office/drawing/2014/main" id="{DCA744EE-DA13-C6B6-A8DE-A7541DB1EC31}"/>
              </a:ext>
            </a:extLst>
          </p:cNvPr>
          <p:cNvSpPr/>
          <p:nvPr/>
        </p:nvSpPr>
        <p:spPr>
          <a:xfrm>
            <a:off x="6286021" y="1321019"/>
            <a:ext cx="291600" cy="201600"/>
          </a:xfrm>
          <a:prstGeom prst="rect">
            <a:avLst/>
          </a:prstGeom>
        </p:spPr>
        <p:style>
          <a:lnRef idx="0">
            <a:schemeClr val="dk1"/>
          </a:lnRef>
          <a:fillRef idx="3">
            <a:schemeClr val="dk1"/>
          </a:fillRef>
          <a:effectRef idx="3">
            <a:schemeClr val="dk1"/>
          </a:effectRef>
          <a:fontRef idx="minor">
            <a:schemeClr val="lt1"/>
          </a:fontRef>
        </p:style>
        <p:txBody>
          <a:bodyPr lIns="0" rIns="0" rtlCol="0" anchor="ctr"/>
          <a:lstStyle/>
          <a:p>
            <a:pPr algn="ctr" defTabSz="457118"/>
            <a:r>
              <a:rPr lang="en-US" sz="900" i="1">
                <a:solidFill>
                  <a:schemeClr val="bg1"/>
                </a:solidFill>
                <a:latin typeface="Calibri"/>
              </a:rPr>
              <a:t>22/9</a:t>
            </a:r>
          </a:p>
        </p:txBody>
      </p:sp>
      <p:sp>
        <p:nvSpPr>
          <p:cNvPr id="32" name="Rektangel 31">
            <a:extLst>
              <a:ext uri="{FF2B5EF4-FFF2-40B4-BE49-F238E27FC236}">
                <a16:creationId xmlns:a16="http://schemas.microsoft.com/office/drawing/2014/main" id="{A6B438F0-DACD-6BD6-62C4-D798AA5D99AB}"/>
              </a:ext>
            </a:extLst>
          </p:cNvPr>
          <p:cNvSpPr/>
          <p:nvPr/>
        </p:nvSpPr>
        <p:spPr>
          <a:xfrm>
            <a:off x="7669763" y="1321019"/>
            <a:ext cx="291600" cy="201600"/>
          </a:xfrm>
          <a:prstGeom prst="rect">
            <a:avLst/>
          </a:prstGeom>
        </p:spPr>
        <p:style>
          <a:lnRef idx="0">
            <a:schemeClr val="dk1"/>
          </a:lnRef>
          <a:fillRef idx="3">
            <a:schemeClr val="dk1"/>
          </a:fillRef>
          <a:effectRef idx="3">
            <a:schemeClr val="dk1"/>
          </a:effectRef>
          <a:fontRef idx="minor">
            <a:schemeClr val="lt1"/>
          </a:fontRef>
        </p:style>
        <p:txBody>
          <a:bodyPr lIns="0" rIns="0" rtlCol="0" anchor="ctr"/>
          <a:lstStyle/>
          <a:p>
            <a:pPr algn="ctr" defTabSz="457118"/>
            <a:r>
              <a:rPr lang="en-US" sz="900" i="1">
                <a:solidFill>
                  <a:schemeClr val="bg1"/>
                </a:solidFill>
                <a:latin typeface="Calibri"/>
              </a:rPr>
              <a:t>19/11</a:t>
            </a:r>
          </a:p>
        </p:txBody>
      </p:sp>
      <p:sp>
        <p:nvSpPr>
          <p:cNvPr id="11" name="Rektangel 10">
            <a:extLst>
              <a:ext uri="{FF2B5EF4-FFF2-40B4-BE49-F238E27FC236}">
                <a16:creationId xmlns:a16="http://schemas.microsoft.com/office/drawing/2014/main" id="{1D0AA7CC-E12B-30A7-9C53-ABDA665D68E5}"/>
              </a:ext>
            </a:extLst>
          </p:cNvPr>
          <p:cNvSpPr/>
          <p:nvPr/>
        </p:nvSpPr>
        <p:spPr>
          <a:xfrm>
            <a:off x="2957460" y="1326031"/>
            <a:ext cx="291600" cy="201600"/>
          </a:xfrm>
          <a:prstGeom prst="rect">
            <a:avLst/>
          </a:prstGeom>
        </p:spPr>
        <p:style>
          <a:lnRef idx="0">
            <a:schemeClr val="dk1"/>
          </a:lnRef>
          <a:fillRef idx="3">
            <a:schemeClr val="dk1"/>
          </a:fillRef>
          <a:effectRef idx="3">
            <a:schemeClr val="dk1"/>
          </a:effectRef>
          <a:fontRef idx="minor">
            <a:schemeClr val="lt1"/>
          </a:fontRef>
        </p:style>
        <p:txBody>
          <a:bodyPr lIns="0" rIns="0" rtlCol="0" anchor="ctr"/>
          <a:lstStyle/>
          <a:p>
            <a:pPr algn="ctr" defTabSz="457118"/>
            <a:r>
              <a:rPr lang="en-US" sz="900" i="1">
                <a:solidFill>
                  <a:schemeClr val="bg1"/>
                </a:solidFill>
                <a:latin typeface="Calibri"/>
              </a:rPr>
              <a:t>14/4</a:t>
            </a:r>
          </a:p>
        </p:txBody>
      </p:sp>
      <p:sp>
        <p:nvSpPr>
          <p:cNvPr id="12" name="Rektangel 11">
            <a:extLst>
              <a:ext uri="{FF2B5EF4-FFF2-40B4-BE49-F238E27FC236}">
                <a16:creationId xmlns:a16="http://schemas.microsoft.com/office/drawing/2014/main" id="{4FF0BA83-D312-D6D9-B8A0-5D4CD97B6CC1}"/>
              </a:ext>
            </a:extLst>
          </p:cNvPr>
          <p:cNvSpPr/>
          <p:nvPr/>
        </p:nvSpPr>
        <p:spPr>
          <a:xfrm>
            <a:off x="4183409" y="1321875"/>
            <a:ext cx="291600" cy="201600"/>
          </a:xfrm>
          <a:prstGeom prst="rect">
            <a:avLst/>
          </a:prstGeom>
        </p:spPr>
        <p:style>
          <a:lnRef idx="0">
            <a:schemeClr val="dk1"/>
          </a:lnRef>
          <a:fillRef idx="3">
            <a:schemeClr val="dk1"/>
          </a:fillRef>
          <a:effectRef idx="3">
            <a:schemeClr val="dk1"/>
          </a:effectRef>
          <a:fontRef idx="minor">
            <a:schemeClr val="lt1"/>
          </a:fontRef>
        </p:style>
        <p:txBody>
          <a:bodyPr lIns="0" rIns="0" rtlCol="0" anchor="ctr"/>
          <a:lstStyle/>
          <a:p>
            <a:pPr algn="ctr" defTabSz="457118"/>
            <a:r>
              <a:rPr lang="en-US" sz="900" i="1">
                <a:solidFill>
                  <a:schemeClr val="bg1"/>
                </a:solidFill>
                <a:latin typeface="Calibri"/>
              </a:rPr>
              <a:t>11/6</a:t>
            </a:r>
          </a:p>
        </p:txBody>
      </p:sp>
      <p:sp>
        <p:nvSpPr>
          <p:cNvPr id="7" name="Rektangel 6">
            <a:extLst>
              <a:ext uri="{FF2B5EF4-FFF2-40B4-BE49-F238E27FC236}">
                <a16:creationId xmlns:a16="http://schemas.microsoft.com/office/drawing/2014/main" id="{F42B9190-136D-0DD7-5762-E21994C3C0DE}"/>
              </a:ext>
            </a:extLst>
          </p:cNvPr>
          <p:cNvSpPr/>
          <p:nvPr/>
        </p:nvSpPr>
        <p:spPr>
          <a:xfrm>
            <a:off x="2433787" y="1655561"/>
            <a:ext cx="291600" cy="201600"/>
          </a:xfrm>
          <a:prstGeom prst="rect">
            <a:avLst/>
          </a:prstGeom>
        </p:spPr>
        <p:style>
          <a:lnRef idx="0">
            <a:schemeClr val="accent4"/>
          </a:lnRef>
          <a:fillRef idx="3">
            <a:schemeClr val="accent4"/>
          </a:fillRef>
          <a:effectRef idx="3">
            <a:schemeClr val="accent4"/>
          </a:effectRef>
          <a:fontRef idx="minor">
            <a:schemeClr val="lt1"/>
          </a:fontRef>
        </p:style>
        <p:txBody>
          <a:bodyPr lIns="0" rIns="0" rtlCol="0" anchor="ctr"/>
          <a:lstStyle/>
          <a:p>
            <a:pPr algn="ctr" defTabSz="457118"/>
            <a:r>
              <a:rPr lang="en-US" sz="900" i="1">
                <a:solidFill>
                  <a:schemeClr val="bg1"/>
                </a:solidFill>
                <a:latin typeface="Calibri"/>
              </a:rPr>
              <a:t>26/3</a:t>
            </a:r>
          </a:p>
        </p:txBody>
      </p:sp>
      <p:sp>
        <p:nvSpPr>
          <p:cNvPr id="18" name="Rektangel 17">
            <a:extLst>
              <a:ext uri="{FF2B5EF4-FFF2-40B4-BE49-F238E27FC236}">
                <a16:creationId xmlns:a16="http://schemas.microsoft.com/office/drawing/2014/main" id="{F7B7316C-9F8E-2AFF-91F8-5643CD0A06DD}"/>
              </a:ext>
            </a:extLst>
          </p:cNvPr>
          <p:cNvSpPr/>
          <p:nvPr/>
        </p:nvSpPr>
        <p:spPr>
          <a:xfrm>
            <a:off x="4417380" y="1660987"/>
            <a:ext cx="291600" cy="201600"/>
          </a:xfrm>
          <a:prstGeom prst="rect">
            <a:avLst/>
          </a:prstGeom>
        </p:spPr>
        <p:style>
          <a:lnRef idx="0">
            <a:schemeClr val="accent4"/>
          </a:lnRef>
          <a:fillRef idx="3">
            <a:schemeClr val="accent4"/>
          </a:fillRef>
          <a:effectRef idx="3">
            <a:schemeClr val="accent4"/>
          </a:effectRef>
          <a:fontRef idx="minor">
            <a:schemeClr val="lt1"/>
          </a:fontRef>
        </p:style>
        <p:txBody>
          <a:bodyPr lIns="0" rIns="0" rtlCol="0" anchor="ctr"/>
          <a:lstStyle/>
          <a:p>
            <a:pPr algn="ctr" defTabSz="457118"/>
            <a:r>
              <a:rPr lang="en-US" sz="900" i="1">
                <a:solidFill>
                  <a:schemeClr val="bg1"/>
                </a:solidFill>
                <a:latin typeface="Calibri"/>
              </a:rPr>
              <a:t>23/6</a:t>
            </a:r>
          </a:p>
        </p:txBody>
      </p:sp>
      <p:sp>
        <p:nvSpPr>
          <p:cNvPr id="19" name="Pil: höger 15">
            <a:extLst>
              <a:ext uri="{FF2B5EF4-FFF2-40B4-BE49-F238E27FC236}">
                <a16:creationId xmlns:a16="http://schemas.microsoft.com/office/drawing/2014/main" id="{FEFB48FF-01E8-2234-6087-3C549C0AA74F}"/>
              </a:ext>
            </a:extLst>
          </p:cNvPr>
          <p:cNvSpPr/>
          <p:nvPr/>
        </p:nvSpPr>
        <p:spPr>
          <a:xfrm>
            <a:off x="3058428" y="2999022"/>
            <a:ext cx="3420910" cy="487089"/>
          </a:xfrm>
          <a:prstGeom prst="rightArrow">
            <a:avLst/>
          </a:prstGeom>
          <a:gradFill>
            <a:gsLst>
              <a:gs pos="0">
                <a:schemeClr val="tx2"/>
              </a:gs>
              <a:gs pos="99000">
                <a:schemeClr val="tx2">
                  <a:tint val="44500"/>
                  <a:satMod val="160000"/>
                </a:schemeClr>
              </a:gs>
              <a:gs pos="100000">
                <a:schemeClr val="tx2">
                  <a:tint val="23500"/>
                  <a:satMod val="160000"/>
                </a:schemeClr>
              </a:gs>
            </a:gsLst>
            <a:lin ang="10800000" scaled="1"/>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800"/>
              <a:t>SHF TF is drafting 1 position paper on the changes related to NCT and NCT Inst</a:t>
            </a:r>
          </a:p>
        </p:txBody>
      </p:sp>
      <p:sp>
        <p:nvSpPr>
          <p:cNvPr id="2" name="Rektangel 131">
            <a:extLst>
              <a:ext uri="{FF2B5EF4-FFF2-40B4-BE49-F238E27FC236}">
                <a16:creationId xmlns:a16="http://schemas.microsoft.com/office/drawing/2014/main" id="{6CFF167A-0246-F418-7DD9-C1D2C8CBD814}"/>
              </a:ext>
            </a:extLst>
          </p:cNvPr>
          <p:cNvSpPr/>
          <p:nvPr/>
        </p:nvSpPr>
        <p:spPr>
          <a:xfrm>
            <a:off x="7530886" y="1665460"/>
            <a:ext cx="291600" cy="201600"/>
          </a:xfrm>
          <a:prstGeom prst="rect">
            <a:avLst/>
          </a:prstGeom>
        </p:spPr>
        <p:style>
          <a:lnRef idx="0">
            <a:schemeClr val="accent4"/>
          </a:lnRef>
          <a:fillRef idx="3">
            <a:schemeClr val="accent4"/>
          </a:fillRef>
          <a:effectRef idx="3">
            <a:schemeClr val="accent4"/>
          </a:effectRef>
          <a:fontRef idx="minor">
            <a:schemeClr val="lt1"/>
          </a:fontRef>
        </p:style>
        <p:txBody>
          <a:bodyPr lIns="0" rIns="0" rtlCol="0" anchor="ctr"/>
          <a:lstStyle/>
          <a:p>
            <a:pPr algn="ctr" defTabSz="457118"/>
            <a:r>
              <a:rPr lang="en-US" sz="900" i="1">
                <a:solidFill>
                  <a:schemeClr val="bg1"/>
                </a:solidFill>
                <a:latin typeface="Calibri"/>
              </a:rPr>
              <a:t>10/11</a:t>
            </a:r>
          </a:p>
        </p:txBody>
      </p:sp>
      <p:sp>
        <p:nvSpPr>
          <p:cNvPr id="9" name="Isosceles Triangle 8">
            <a:extLst>
              <a:ext uri="{FF2B5EF4-FFF2-40B4-BE49-F238E27FC236}">
                <a16:creationId xmlns:a16="http://schemas.microsoft.com/office/drawing/2014/main" id="{AEF97A60-08FF-8F1A-9B61-8AC6BB026371}"/>
              </a:ext>
            </a:extLst>
          </p:cNvPr>
          <p:cNvSpPr/>
          <p:nvPr/>
        </p:nvSpPr>
        <p:spPr>
          <a:xfrm>
            <a:off x="6463147" y="1849432"/>
            <a:ext cx="174757" cy="200163"/>
          </a:xfrm>
          <a:prstGeom prst="triangle">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4F1C06B4-B26C-0611-B766-519386598E32}"/>
              </a:ext>
            </a:extLst>
          </p:cNvPr>
          <p:cNvSpPr txBox="1"/>
          <p:nvPr/>
        </p:nvSpPr>
        <p:spPr>
          <a:xfrm>
            <a:off x="6109092" y="2043051"/>
            <a:ext cx="948059" cy="584775"/>
          </a:xfrm>
          <a:prstGeom prst="rect">
            <a:avLst/>
          </a:prstGeom>
          <a:noFill/>
        </p:spPr>
        <p:txBody>
          <a:bodyPr wrap="square" rtlCol="0">
            <a:spAutoFit/>
          </a:bodyPr>
          <a:lstStyle/>
          <a:p>
            <a:pPr algn="ctr"/>
            <a:r>
              <a:rPr lang="en-US" sz="800"/>
              <a:t>22/9 SMC decision on 2025 CRs for NCT &amp; NCT Inst </a:t>
            </a:r>
          </a:p>
        </p:txBody>
      </p:sp>
      <p:sp>
        <p:nvSpPr>
          <p:cNvPr id="24" name="Isosceles Triangle 23">
            <a:extLst>
              <a:ext uri="{FF2B5EF4-FFF2-40B4-BE49-F238E27FC236}">
                <a16:creationId xmlns:a16="http://schemas.microsoft.com/office/drawing/2014/main" id="{005EC7C5-A96D-CA77-B761-D30599D11AB8}"/>
              </a:ext>
            </a:extLst>
          </p:cNvPr>
          <p:cNvSpPr/>
          <p:nvPr/>
        </p:nvSpPr>
        <p:spPr>
          <a:xfrm>
            <a:off x="7837844" y="1855976"/>
            <a:ext cx="196344" cy="195647"/>
          </a:xfrm>
          <a:prstGeom prst="triangle">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337DEB55-4C1D-FA2A-A0EF-4E9333CE7EA9}"/>
              </a:ext>
            </a:extLst>
          </p:cNvPr>
          <p:cNvSpPr txBox="1"/>
          <p:nvPr/>
        </p:nvSpPr>
        <p:spPr>
          <a:xfrm>
            <a:off x="7345121" y="2068022"/>
            <a:ext cx="1232484" cy="584775"/>
          </a:xfrm>
          <a:prstGeom prst="rect">
            <a:avLst/>
          </a:prstGeom>
          <a:noFill/>
        </p:spPr>
        <p:txBody>
          <a:bodyPr wrap="square" rtlCol="0">
            <a:spAutoFit/>
          </a:bodyPr>
          <a:lstStyle/>
          <a:p>
            <a:pPr algn="ctr"/>
            <a:r>
              <a:rPr lang="en-US" sz="800"/>
              <a:t>19/11 SMC decision to publish NCT &amp; NCT Inst 2027 version and NOLO Inst 2026 version </a:t>
            </a:r>
          </a:p>
        </p:txBody>
      </p:sp>
      <p:sp>
        <p:nvSpPr>
          <p:cNvPr id="26" name="Isosceles Triangle 25">
            <a:extLst>
              <a:ext uri="{FF2B5EF4-FFF2-40B4-BE49-F238E27FC236}">
                <a16:creationId xmlns:a16="http://schemas.microsoft.com/office/drawing/2014/main" id="{6EDC4A6A-441C-CBF2-2037-B457DE824831}"/>
              </a:ext>
            </a:extLst>
          </p:cNvPr>
          <p:cNvSpPr/>
          <p:nvPr/>
        </p:nvSpPr>
        <p:spPr>
          <a:xfrm>
            <a:off x="2478548" y="2482095"/>
            <a:ext cx="196344" cy="195647"/>
          </a:xfrm>
          <a:prstGeom prst="triangle">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p>
        </p:txBody>
      </p:sp>
      <p:sp>
        <p:nvSpPr>
          <p:cNvPr id="27" name="TextBox 26">
            <a:extLst>
              <a:ext uri="{FF2B5EF4-FFF2-40B4-BE49-F238E27FC236}">
                <a16:creationId xmlns:a16="http://schemas.microsoft.com/office/drawing/2014/main" id="{1A69ADC1-722B-D33D-C700-9FCE7E54C344}"/>
              </a:ext>
            </a:extLst>
          </p:cNvPr>
          <p:cNvSpPr txBox="1"/>
          <p:nvPr/>
        </p:nvSpPr>
        <p:spPr>
          <a:xfrm>
            <a:off x="1566216" y="2739668"/>
            <a:ext cx="1492211" cy="830997"/>
          </a:xfrm>
          <a:prstGeom prst="rect">
            <a:avLst/>
          </a:prstGeom>
          <a:noFill/>
        </p:spPr>
        <p:txBody>
          <a:bodyPr wrap="square" rtlCol="0">
            <a:spAutoFit/>
          </a:bodyPr>
          <a:lstStyle/>
          <a:p>
            <a:pPr algn="ctr"/>
            <a:r>
              <a:rPr lang="en-US" sz="800"/>
              <a:t>SHF assigns task force members to participate in the drafting of position paper for the changes in NCT &amp; NCT Inst rulebooks and for the NOLO Inst </a:t>
            </a:r>
          </a:p>
        </p:txBody>
      </p:sp>
      <p:sp>
        <p:nvSpPr>
          <p:cNvPr id="28" name="Isosceles Triangle 27">
            <a:extLst>
              <a:ext uri="{FF2B5EF4-FFF2-40B4-BE49-F238E27FC236}">
                <a16:creationId xmlns:a16="http://schemas.microsoft.com/office/drawing/2014/main" id="{299FE1EA-0617-BC3E-BBD6-218CCBABEE52}"/>
              </a:ext>
            </a:extLst>
          </p:cNvPr>
          <p:cNvSpPr/>
          <p:nvPr/>
        </p:nvSpPr>
        <p:spPr>
          <a:xfrm>
            <a:off x="4024107" y="1845688"/>
            <a:ext cx="196344" cy="195647"/>
          </a:xfrm>
          <a:prstGeom prst="triangle">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29" name="TextBox 28">
            <a:extLst>
              <a:ext uri="{FF2B5EF4-FFF2-40B4-BE49-F238E27FC236}">
                <a16:creationId xmlns:a16="http://schemas.microsoft.com/office/drawing/2014/main" id="{6F6F54EE-A568-36EB-438E-54043A487B32}"/>
              </a:ext>
            </a:extLst>
          </p:cNvPr>
          <p:cNvSpPr txBox="1"/>
          <p:nvPr/>
        </p:nvSpPr>
        <p:spPr>
          <a:xfrm>
            <a:off x="3535575" y="2078578"/>
            <a:ext cx="1198530" cy="707886"/>
          </a:xfrm>
          <a:prstGeom prst="rect">
            <a:avLst/>
          </a:prstGeom>
          <a:noFill/>
        </p:spPr>
        <p:txBody>
          <a:bodyPr wrap="square" rtlCol="0">
            <a:spAutoFit/>
          </a:bodyPr>
          <a:lstStyle/>
          <a:p>
            <a:pPr algn="ctr"/>
            <a:r>
              <a:rPr lang="en-US" sz="800"/>
              <a:t>Public consultations ends; </a:t>
            </a:r>
          </a:p>
          <a:p>
            <a:pPr algn="ctr"/>
            <a:r>
              <a:rPr lang="en-US" sz="800"/>
              <a:t> NCT &amp; NCT Inst June 3</a:t>
            </a:r>
            <a:r>
              <a:rPr lang="en-US" sz="800" baseline="30000"/>
              <a:t>rd</a:t>
            </a:r>
            <a:r>
              <a:rPr lang="en-US" sz="800"/>
              <a:t>  </a:t>
            </a:r>
          </a:p>
          <a:p>
            <a:pPr algn="ctr"/>
            <a:r>
              <a:rPr lang="en-US" sz="800"/>
              <a:t>NOLO Inst June 11</a:t>
            </a:r>
            <a:r>
              <a:rPr lang="en-US" sz="800" baseline="30000"/>
              <a:t>th</a:t>
            </a:r>
            <a:r>
              <a:rPr lang="en-US" sz="800"/>
              <a:t> </a:t>
            </a:r>
          </a:p>
          <a:p>
            <a:pPr algn="ctr"/>
            <a:endParaRPr lang="en-US" sz="800"/>
          </a:p>
        </p:txBody>
      </p:sp>
      <p:sp>
        <p:nvSpPr>
          <p:cNvPr id="34" name="Isosceles Triangle 33">
            <a:extLst>
              <a:ext uri="{FF2B5EF4-FFF2-40B4-BE49-F238E27FC236}">
                <a16:creationId xmlns:a16="http://schemas.microsoft.com/office/drawing/2014/main" id="{47A62624-4B3B-1CC1-12E8-25362B02C412}"/>
              </a:ext>
            </a:extLst>
          </p:cNvPr>
          <p:cNvSpPr/>
          <p:nvPr/>
        </p:nvSpPr>
        <p:spPr>
          <a:xfrm>
            <a:off x="6969775" y="2486235"/>
            <a:ext cx="196344" cy="195647"/>
          </a:xfrm>
          <a:prstGeom prst="triangle">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p>
        </p:txBody>
      </p:sp>
      <p:sp>
        <p:nvSpPr>
          <p:cNvPr id="35" name="TextBox 34">
            <a:extLst>
              <a:ext uri="{FF2B5EF4-FFF2-40B4-BE49-F238E27FC236}">
                <a16:creationId xmlns:a16="http://schemas.microsoft.com/office/drawing/2014/main" id="{7C65ECA3-7FC2-F940-4260-7F863CE78114}"/>
              </a:ext>
            </a:extLst>
          </p:cNvPr>
          <p:cNvSpPr txBox="1"/>
          <p:nvPr/>
        </p:nvSpPr>
        <p:spPr>
          <a:xfrm>
            <a:off x="6355189" y="2691043"/>
            <a:ext cx="1580827" cy="338554"/>
          </a:xfrm>
          <a:prstGeom prst="rect">
            <a:avLst/>
          </a:prstGeom>
          <a:noFill/>
        </p:spPr>
        <p:txBody>
          <a:bodyPr wrap="square" rtlCol="0">
            <a:spAutoFit/>
          </a:bodyPr>
          <a:lstStyle/>
          <a:p>
            <a:pPr algn="ctr"/>
            <a:r>
              <a:rPr lang="en-US" sz="800"/>
              <a:t>SHF has reached an agreement on the position papers</a:t>
            </a:r>
          </a:p>
        </p:txBody>
      </p:sp>
      <p:sp>
        <p:nvSpPr>
          <p:cNvPr id="20" name="Pil: höger 15">
            <a:extLst>
              <a:ext uri="{FF2B5EF4-FFF2-40B4-BE49-F238E27FC236}">
                <a16:creationId xmlns:a16="http://schemas.microsoft.com/office/drawing/2014/main" id="{9510B36A-FF79-8EBE-5096-30AA37126629}"/>
              </a:ext>
            </a:extLst>
          </p:cNvPr>
          <p:cNvSpPr/>
          <p:nvPr/>
        </p:nvSpPr>
        <p:spPr>
          <a:xfrm>
            <a:off x="3058428" y="3503745"/>
            <a:ext cx="3420910" cy="487089"/>
          </a:xfrm>
          <a:prstGeom prst="rightArrow">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08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800"/>
              <a:t>SHF TF is drafting a position for the NOLO Inst scheme </a:t>
            </a:r>
          </a:p>
        </p:txBody>
      </p:sp>
      <p:sp>
        <p:nvSpPr>
          <p:cNvPr id="13" name="Pil: höger 15">
            <a:extLst>
              <a:ext uri="{FF2B5EF4-FFF2-40B4-BE49-F238E27FC236}">
                <a16:creationId xmlns:a16="http://schemas.microsoft.com/office/drawing/2014/main" id="{CBE3841C-9E87-ADD7-6370-FB6FB27A3B00}"/>
              </a:ext>
            </a:extLst>
          </p:cNvPr>
          <p:cNvSpPr/>
          <p:nvPr/>
        </p:nvSpPr>
        <p:spPr>
          <a:xfrm>
            <a:off x="7669763" y="3659566"/>
            <a:ext cx="1373915" cy="895624"/>
          </a:xfrm>
          <a:prstGeom prst="rightArrow">
            <a:avLst/>
          </a:prstGeom>
          <a:gradFill>
            <a:gsLst>
              <a:gs pos="0">
                <a:schemeClr val="accent6">
                  <a:lumMod val="75000"/>
                </a:schemeClr>
              </a:gs>
              <a:gs pos="99000">
                <a:schemeClr val="tx2">
                  <a:tint val="44500"/>
                  <a:satMod val="160000"/>
                </a:schemeClr>
              </a:gs>
              <a:gs pos="100000">
                <a:schemeClr val="tx2">
                  <a:tint val="23500"/>
                  <a:satMod val="160000"/>
                </a:schemeClr>
              </a:gs>
            </a:gsLst>
            <a:lin ang="10800000" scaled="1"/>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800"/>
              <a:t>Q1/Q2 ‘27: </a:t>
            </a:r>
          </a:p>
          <a:p>
            <a:pPr algn="ctr"/>
            <a:r>
              <a:rPr lang="en-US" sz="800"/>
              <a:t>SHF TF is drafting a position for the NVOP scheme </a:t>
            </a:r>
          </a:p>
        </p:txBody>
      </p:sp>
    </p:spTree>
    <p:extLst>
      <p:ext uri="{BB962C8B-B14F-4D97-AF65-F5344CB8AC3E}">
        <p14:creationId xmlns:p14="http://schemas.microsoft.com/office/powerpoint/2010/main" val="31935962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C25F7C-3895-4CE9-060F-5AE531F505E2}"/>
            </a:ext>
          </a:extLst>
        </p:cNvPr>
        <p:cNvGrpSpPr/>
        <p:nvPr/>
      </p:nvGrpSpPr>
      <p:grpSpPr>
        <a:xfrm>
          <a:off x="0" y="0"/>
          <a:ext cx="0" cy="0"/>
          <a:chOff x="0" y="0"/>
          <a:chExt cx="0" cy="0"/>
        </a:xfrm>
      </p:grpSpPr>
      <p:sp>
        <p:nvSpPr>
          <p:cNvPr id="2" name="Picture Placeholder 1">
            <a:extLst>
              <a:ext uri="{FF2B5EF4-FFF2-40B4-BE49-F238E27FC236}">
                <a16:creationId xmlns:a16="http://schemas.microsoft.com/office/drawing/2014/main" id="{23734AB7-1CD7-E929-15E6-8E9C978DD47F}"/>
              </a:ext>
            </a:extLst>
          </p:cNvPr>
          <p:cNvSpPr>
            <a:spLocks noGrp="1"/>
          </p:cNvSpPr>
          <p:nvPr>
            <p:ph type="pic" sz="quarter" idx="15"/>
          </p:nvPr>
        </p:nvSpPr>
        <p:spPr/>
        <p:txBody>
          <a:bodyPr/>
          <a:lstStyle/>
          <a:p>
            <a:endParaRPr lang="sv-SE"/>
          </a:p>
        </p:txBody>
      </p:sp>
      <p:sp>
        <p:nvSpPr>
          <p:cNvPr id="8" name="Rubrik 7">
            <a:extLst>
              <a:ext uri="{FF2B5EF4-FFF2-40B4-BE49-F238E27FC236}">
                <a16:creationId xmlns:a16="http://schemas.microsoft.com/office/drawing/2014/main" id="{8D484C6D-1682-9A4C-CBA7-762C0FEF4D21}"/>
              </a:ext>
            </a:extLst>
          </p:cNvPr>
          <p:cNvSpPr>
            <a:spLocks noGrp="1"/>
          </p:cNvSpPr>
          <p:nvPr>
            <p:ph type="title"/>
          </p:nvPr>
        </p:nvSpPr>
        <p:spPr/>
        <p:txBody>
          <a:bodyPr/>
          <a:lstStyle/>
          <a:p>
            <a:r>
              <a:rPr lang="en-GB"/>
              <a:t>Suggested Agenda</a:t>
            </a:r>
          </a:p>
        </p:txBody>
      </p:sp>
      <p:sp>
        <p:nvSpPr>
          <p:cNvPr id="10" name="Platshållare för text 9">
            <a:extLst>
              <a:ext uri="{FF2B5EF4-FFF2-40B4-BE49-F238E27FC236}">
                <a16:creationId xmlns:a16="http://schemas.microsoft.com/office/drawing/2014/main" id="{CFDCBA5E-7C30-2805-AD72-24204C5B2341}"/>
              </a:ext>
            </a:extLst>
          </p:cNvPr>
          <p:cNvSpPr>
            <a:spLocks noGrp="1"/>
          </p:cNvSpPr>
          <p:nvPr>
            <p:ph type="body" sz="quarter" idx="17"/>
          </p:nvPr>
        </p:nvSpPr>
        <p:spPr>
          <a:xfrm>
            <a:off x="381000" y="947738"/>
            <a:ext cx="4093842" cy="3487737"/>
          </a:xfrm>
        </p:spPr>
        <p:txBody>
          <a:bodyPr>
            <a:normAutofit fontScale="92500" lnSpcReduction="10000"/>
          </a:bodyPr>
          <a:lstStyle/>
          <a:p>
            <a:pPr marL="342900" indent="-342900">
              <a:buFont typeface="+mj-lt"/>
              <a:buAutoNum type="arabicPeriod"/>
            </a:pPr>
            <a:r>
              <a:rPr lang="en-GB" sz="1600"/>
              <a:t>Introduction </a:t>
            </a:r>
          </a:p>
          <a:p>
            <a:pPr marL="342900" indent="-342900">
              <a:buFont typeface="+mj-lt"/>
              <a:buAutoNum type="arabicPeriod"/>
            </a:pPr>
            <a:r>
              <a:rPr lang="en-GB" sz="1600"/>
              <a:t>Approval of Agenda</a:t>
            </a:r>
          </a:p>
          <a:p>
            <a:pPr marL="342900" indent="-342900">
              <a:buFont typeface="+mj-lt"/>
              <a:buAutoNum type="arabicPeriod"/>
            </a:pPr>
            <a:r>
              <a:rPr lang="en-GB" sz="1600"/>
              <a:t>Approval of last meeting’s minutes</a:t>
            </a:r>
          </a:p>
          <a:p>
            <a:pPr marL="342900" indent="-342900">
              <a:buFont typeface="+mj-lt"/>
              <a:buAutoNum type="arabicPeriod"/>
            </a:pPr>
            <a:r>
              <a:rPr lang="en-GB" sz="1600"/>
              <a:t>Appointment of minutes adjuster</a:t>
            </a:r>
          </a:p>
          <a:p>
            <a:pPr marL="342900" indent="-342900">
              <a:buFont typeface="+mj-lt"/>
              <a:buAutoNum type="arabicPeriod"/>
            </a:pPr>
            <a:r>
              <a:rPr lang="en-GB" sz="1600" b="1"/>
              <a:t>NPC General information</a:t>
            </a:r>
          </a:p>
          <a:p>
            <a:pPr marL="342900" indent="-342900">
              <a:buFont typeface="+mj-lt"/>
              <a:buAutoNum type="arabicPeriod"/>
            </a:pPr>
            <a:r>
              <a:rPr lang="en-GB" sz="1600"/>
              <a:t>Nordic community update - NO</a:t>
            </a:r>
          </a:p>
          <a:p>
            <a:pPr marL="342900" indent="-342900">
              <a:buFont typeface="+mj-lt"/>
              <a:buAutoNum type="arabicPeriod"/>
            </a:pPr>
            <a:r>
              <a:rPr lang="en-GB" sz="1600"/>
              <a:t>External speaker </a:t>
            </a:r>
          </a:p>
          <a:p>
            <a:pPr marL="342900" indent="-342900">
              <a:buFont typeface="+mj-lt"/>
              <a:buAutoNum type="arabicPeriod"/>
            </a:pPr>
            <a:r>
              <a:rPr lang="en-GB" sz="1600"/>
              <a:t>Nordic community update – SE and DK</a:t>
            </a:r>
          </a:p>
          <a:p>
            <a:pPr marL="0" indent="0">
              <a:buNone/>
            </a:pPr>
            <a:r>
              <a:rPr lang="en-GB" sz="1600" i="1"/>
              <a:t>Break</a:t>
            </a:r>
          </a:p>
          <a:p>
            <a:pPr marL="342900" indent="-342900">
              <a:buFont typeface="+mj-lt"/>
              <a:buAutoNum type="arabicPeriod" startAt="9"/>
            </a:pPr>
            <a:r>
              <a:rPr lang="en-GB" sz="1600"/>
              <a:t>NPC Verification of Payee</a:t>
            </a:r>
          </a:p>
          <a:p>
            <a:pPr marL="342900" indent="-342900">
              <a:buFont typeface="+mj-lt"/>
              <a:buAutoNum type="arabicPeriod" startAt="9"/>
            </a:pPr>
            <a:r>
              <a:rPr lang="en-GB" sz="1600"/>
              <a:t>NPC Payment Schemes</a:t>
            </a:r>
          </a:p>
          <a:p>
            <a:pPr marL="342900" indent="-342900">
              <a:buFont typeface="+mj-lt"/>
              <a:buAutoNum type="arabicPeriod" startAt="9"/>
            </a:pPr>
            <a:r>
              <a:rPr lang="en-GB" sz="1600"/>
              <a:t>Position papers </a:t>
            </a:r>
          </a:p>
          <a:p>
            <a:pPr marL="342900" indent="-342900">
              <a:buFont typeface="+mj-lt"/>
              <a:buAutoNum type="arabicPeriod" startAt="9"/>
            </a:pPr>
            <a:r>
              <a:rPr lang="en-GB" sz="1600"/>
              <a:t>NPC going forward </a:t>
            </a:r>
          </a:p>
          <a:p>
            <a:pPr marL="342900" indent="-342900">
              <a:buFont typeface="+mj-lt"/>
              <a:buAutoNum type="arabicPeriod" startAt="9"/>
            </a:pPr>
            <a:r>
              <a:rPr lang="en-GB" sz="1600"/>
              <a:t>Any other business </a:t>
            </a:r>
          </a:p>
          <a:p>
            <a:pPr marL="342900" indent="-342900">
              <a:buFont typeface="+mj-lt"/>
              <a:buAutoNum type="arabicPeriod" startAt="9"/>
            </a:pPr>
            <a:r>
              <a:rPr lang="en-GB" sz="1600"/>
              <a:t>Closing</a:t>
            </a:r>
          </a:p>
        </p:txBody>
      </p:sp>
      <p:sp>
        <p:nvSpPr>
          <p:cNvPr id="5" name="Platshållare för sidfot 4">
            <a:extLst>
              <a:ext uri="{FF2B5EF4-FFF2-40B4-BE49-F238E27FC236}">
                <a16:creationId xmlns:a16="http://schemas.microsoft.com/office/drawing/2014/main" id="{80B24435-2402-3A13-6C0A-FB0CCD774608}"/>
              </a:ext>
            </a:extLst>
          </p:cNvPr>
          <p:cNvSpPr>
            <a:spLocks noGrp="1"/>
          </p:cNvSpPr>
          <p:nvPr>
            <p:ph type="ftr" sz="quarter" idx="11"/>
          </p:nvPr>
        </p:nvSpPr>
        <p:spPr/>
        <p:txBody>
          <a:bodyPr/>
          <a:lstStyle/>
          <a:p>
            <a:r>
              <a:rPr lang="en-US"/>
              <a:t>Stakeholder Forum Agenda - Classification: External</a:t>
            </a:r>
            <a:endParaRPr lang="en-GB"/>
          </a:p>
        </p:txBody>
      </p:sp>
      <p:sp>
        <p:nvSpPr>
          <p:cNvPr id="6" name="Platshållare för datum 5">
            <a:extLst>
              <a:ext uri="{FF2B5EF4-FFF2-40B4-BE49-F238E27FC236}">
                <a16:creationId xmlns:a16="http://schemas.microsoft.com/office/drawing/2014/main" id="{E3D77B08-2A5F-39CB-A27F-7E3A5A5B22A2}"/>
              </a:ext>
            </a:extLst>
          </p:cNvPr>
          <p:cNvSpPr>
            <a:spLocks noGrp="1"/>
          </p:cNvSpPr>
          <p:nvPr>
            <p:ph type="dt" sz="half" idx="10"/>
          </p:nvPr>
        </p:nvSpPr>
        <p:spPr/>
        <p:txBody>
          <a:bodyPr/>
          <a:lstStyle/>
          <a:p>
            <a:r>
              <a:rPr lang="sv-SE"/>
              <a:t>26/03/2026</a:t>
            </a:r>
            <a:endParaRPr lang="en-GB"/>
          </a:p>
        </p:txBody>
      </p:sp>
      <p:sp>
        <p:nvSpPr>
          <p:cNvPr id="7" name="Platshållare för bildnummer 6">
            <a:extLst>
              <a:ext uri="{FF2B5EF4-FFF2-40B4-BE49-F238E27FC236}">
                <a16:creationId xmlns:a16="http://schemas.microsoft.com/office/drawing/2014/main" id="{44E4E57E-576D-8CD5-1246-0E6C1EF49385}"/>
              </a:ext>
            </a:extLst>
          </p:cNvPr>
          <p:cNvSpPr>
            <a:spLocks noGrp="1"/>
          </p:cNvSpPr>
          <p:nvPr>
            <p:ph type="sldNum" sz="quarter" idx="12"/>
          </p:nvPr>
        </p:nvSpPr>
        <p:spPr/>
        <p:txBody>
          <a:bodyPr/>
          <a:lstStyle/>
          <a:p>
            <a:fld id="{394EE31B-4DFC-CF4D-9A18-3F5D4D7C7302}" type="slidenum">
              <a:rPr lang="en-GB" smtClean="0"/>
              <a:pPr/>
              <a:t>4</a:t>
            </a:fld>
            <a:endParaRPr lang="en-GB"/>
          </a:p>
        </p:txBody>
      </p:sp>
      <p:pic>
        <p:nvPicPr>
          <p:cNvPr id="11" name="Platshållare för bild 7" descr="En bild som visar person, inomhus, man, stående&#10;&#10;Automatiskt genererad beskrivning">
            <a:extLst>
              <a:ext uri="{FF2B5EF4-FFF2-40B4-BE49-F238E27FC236}">
                <a16:creationId xmlns:a16="http://schemas.microsoft.com/office/drawing/2014/main" id="{E1CB3016-2112-BAFC-D945-BC80CB79543C}"/>
              </a:ext>
            </a:extLst>
          </p:cNvPr>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a:xfrm>
            <a:off x="4572000" y="952574"/>
            <a:ext cx="4156148" cy="3289235"/>
          </a:xfrm>
          <a:prstGeom prst="rect">
            <a:avLst/>
          </a:prstGeom>
        </p:spPr>
      </p:pic>
    </p:spTree>
    <p:extLst>
      <p:ext uri="{BB962C8B-B14F-4D97-AF65-F5344CB8AC3E}">
        <p14:creationId xmlns:p14="http://schemas.microsoft.com/office/powerpoint/2010/main" val="212819907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7B8342F-50FB-6DF1-4E2A-9D6D6BA5E58A}"/>
              </a:ext>
            </a:extLst>
          </p:cNvPr>
          <p:cNvSpPr>
            <a:spLocks noGrp="1"/>
          </p:cNvSpPr>
          <p:nvPr>
            <p:ph type="title"/>
          </p:nvPr>
        </p:nvSpPr>
        <p:spPr/>
        <p:txBody>
          <a:bodyPr/>
          <a:lstStyle/>
          <a:p>
            <a:r>
              <a:rPr lang="en-US" noProof="0"/>
              <a:t>Suggested approach position papers </a:t>
            </a:r>
          </a:p>
        </p:txBody>
      </p:sp>
      <p:sp>
        <p:nvSpPr>
          <p:cNvPr id="3" name="Platshållare för text 2">
            <a:extLst>
              <a:ext uri="{FF2B5EF4-FFF2-40B4-BE49-F238E27FC236}">
                <a16:creationId xmlns:a16="http://schemas.microsoft.com/office/drawing/2014/main" id="{8E18E02C-EEAE-11E3-57BF-956389D8E7B6}"/>
              </a:ext>
            </a:extLst>
          </p:cNvPr>
          <p:cNvSpPr>
            <a:spLocks noGrp="1"/>
          </p:cNvSpPr>
          <p:nvPr>
            <p:ph type="body" sz="quarter" idx="17"/>
          </p:nvPr>
        </p:nvSpPr>
        <p:spPr>
          <a:xfrm>
            <a:off x="380999" y="1125721"/>
            <a:ext cx="8160733" cy="3257612"/>
          </a:xfrm>
        </p:spPr>
        <p:txBody>
          <a:bodyPr/>
          <a:lstStyle/>
          <a:p>
            <a:r>
              <a:rPr lang="en-US" sz="1800"/>
              <a:t>Meeting March 26 SHF discuss and agree on initial approach for position papers</a:t>
            </a:r>
          </a:p>
          <a:p>
            <a:pPr lvl="1"/>
            <a:r>
              <a:rPr lang="en-US" sz="1800"/>
              <a:t>NCT &amp; NCT Inst change requests for 2027</a:t>
            </a:r>
          </a:p>
          <a:p>
            <a:pPr lvl="1"/>
            <a:r>
              <a:rPr lang="en-US" sz="1800"/>
              <a:t>NOLO Inst scheme Rulebook 2026</a:t>
            </a:r>
          </a:p>
          <a:p>
            <a:pPr lvl="1" indent="-190500">
              <a:buFont typeface="Arial"/>
              <a:buChar char="•"/>
            </a:pPr>
            <a:r>
              <a:rPr lang="en-US" sz="1800"/>
              <a:t> Suggestion to set up 2 task forces, one for each position paper</a:t>
            </a:r>
          </a:p>
          <a:p>
            <a:pPr lvl="1"/>
            <a:r>
              <a:rPr lang="en-US" sz="1800"/>
              <a:t>Tack force 1 – NCT &amp; NCT Inst 2027 change requests</a:t>
            </a:r>
          </a:p>
          <a:p>
            <a:pPr lvl="1"/>
            <a:r>
              <a:rPr lang="en-US" sz="1800"/>
              <a:t>Task force 2 – NOLO Inst Rulebook </a:t>
            </a:r>
          </a:p>
          <a:p>
            <a:pPr lvl="1"/>
            <a:r>
              <a:rPr lang="en-US" sz="1800"/>
              <a:t>Can start the work by going through CRs and Rulebook </a:t>
            </a:r>
          </a:p>
          <a:p>
            <a:r>
              <a:rPr lang="en-US" sz="1800"/>
              <a:t>Meeting June 23 – discussion and information after input from public consultation</a:t>
            </a:r>
          </a:p>
          <a:p>
            <a:pPr lvl="1"/>
            <a:r>
              <a:rPr lang="en-US" sz="1800"/>
              <a:t>Task forces to send out first version of position paper </a:t>
            </a:r>
          </a:p>
          <a:p>
            <a:r>
              <a:rPr lang="en-US" sz="1800"/>
              <a:t>Meeting Sep 17 – SHF to agree on final version of position paper </a:t>
            </a:r>
          </a:p>
        </p:txBody>
      </p:sp>
      <p:sp>
        <p:nvSpPr>
          <p:cNvPr id="4" name="Platshållare för sidfot 3">
            <a:extLst>
              <a:ext uri="{FF2B5EF4-FFF2-40B4-BE49-F238E27FC236}">
                <a16:creationId xmlns:a16="http://schemas.microsoft.com/office/drawing/2014/main" id="{64C4FD4F-0244-DB72-4DDF-D7E7EFFFA384}"/>
              </a:ext>
            </a:extLst>
          </p:cNvPr>
          <p:cNvSpPr>
            <a:spLocks noGrp="1"/>
          </p:cNvSpPr>
          <p:nvPr>
            <p:ph type="ftr" sz="quarter" idx="11"/>
          </p:nvPr>
        </p:nvSpPr>
        <p:spPr/>
        <p:txBody>
          <a:bodyPr/>
          <a:lstStyle/>
          <a:p>
            <a:r>
              <a:rPr lang="en-US"/>
              <a:t>Stakeholder Forum Agenda - Classification: External</a:t>
            </a:r>
            <a:endParaRPr lang="sv-SE"/>
          </a:p>
        </p:txBody>
      </p:sp>
      <p:sp>
        <p:nvSpPr>
          <p:cNvPr id="5" name="Platshållare för datum 4">
            <a:extLst>
              <a:ext uri="{FF2B5EF4-FFF2-40B4-BE49-F238E27FC236}">
                <a16:creationId xmlns:a16="http://schemas.microsoft.com/office/drawing/2014/main" id="{4E60001E-7F00-D029-6204-55BA90CCBC76}"/>
              </a:ext>
            </a:extLst>
          </p:cNvPr>
          <p:cNvSpPr>
            <a:spLocks noGrp="1"/>
          </p:cNvSpPr>
          <p:nvPr>
            <p:ph type="dt" sz="half" idx="10"/>
          </p:nvPr>
        </p:nvSpPr>
        <p:spPr/>
        <p:txBody>
          <a:bodyPr/>
          <a:lstStyle/>
          <a:p>
            <a:r>
              <a:rPr lang="sv-SE"/>
              <a:t>26/03/2026</a:t>
            </a:r>
          </a:p>
        </p:txBody>
      </p:sp>
      <p:sp>
        <p:nvSpPr>
          <p:cNvPr id="6" name="Platshållare för bildnummer 5">
            <a:extLst>
              <a:ext uri="{FF2B5EF4-FFF2-40B4-BE49-F238E27FC236}">
                <a16:creationId xmlns:a16="http://schemas.microsoft.com/office/drawing/2014/main" id="{21F396EB-DAF1-DB0C-D64B-CAA51C943D86}"/>
              </a:ext>
            </a:extLst>
          </p:cNvPr>
          <p:cNvSpPr>
            <a:spLocks noGrp="1"/>
          </p:cNvSpPr>
          <p:nvPr>
            <p:ph type="sldNum" sz="quarter" idx="12"/>
          </p:nvPr>
        </p:nvSpPr>
        <p:spPr/>
        <p:txBody>
          <a:bodyPr/>
          <a:lstStyle/>
          <a:p>
            <a:fld id="{394EE31B-4DFC-CF4D-9A18-3F5D4D7C7302}" type="slidenum">
              <a:rPr lang="sv-SE" smtClean="0"/>
              <a:pPr/>
              <a:t>40</a:t>
            </a:fld>
            <a:endParaRPr lang="sv-SE"/>
          </a:p>
        </p:txBody>
      </p:sp>
    </p:spTree>
    <p:extLst>
      <p:ext uri="{BB962C8B-B14F-4D97-AF65-F5344CB8AC3E}">
        <p14:creationId xmlns:p14="http://schemas.microsoft.com/office/powerpoint/2010/main" val="388276955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B77B08-1E5F-33DB-AF90-77B8FA0C090E}"/>
            </a:ext>
          </a:extLst>
        </p:cNvPr>
        <p:cNvGrpSpPr/>
        <p:nvPr/>
      </p:nvGrpSpPr>
      <p:grpSpPr>
        <a:xfrm>
          <a:off x="0" y="0"/>
          <a:ext cx="0" cy="0"/>
          <a:chOff x="0" y="0"/>
          <a:chExt cx="0" cy="0"/>
        </a:xfrm>
      </p:grpSpPr>
      <p:sp>
        <p:nvSpPr>
          <p:cNvPr id="2" name="Rubrik 1">
            <a:extLst>
              <a:ext uri="{FF2B5EF4-FFF2-40B4-BE49-F238E27FC236}">
                <a16:creationId xmlns:a16="http://schemas.microsoft.com/office/drawing/2014/main" id="{4E4761DF-AB1A-33E8-EF13-111560ED3133}"/>
              </a:ext>
            </a:extLst>
          </p:cNvPr>
          <p:cNvSpPr>
            <a:spLocks noGrp="1"/>
          </p:cNvSpPr>
          <p:nvPr>
            <p:ph type="title"/>
          </p:nvPr>
        </p:nvSpPr>
        <p:spPr/>
        <p:txBody>
          <a:bodyPr/>
          <a:lstStyle/>
          <a:p>
            <a:r>
              <a:rPr lang="en-US" noProof="0"/>
              <a:t>Call to action</a:t>
            </a:r>
          </a:p>
        </p:txBody>
      </p:sp>
      <p:sp>
        <p:nvSpPr>
          <p:cNvPr id="3" name="Platshållare för text 2">
            <a:extLst>
              <a:ext uri="{FF2B5EF4-FFF2-40B4-BE49-F238E27FC236}">
                <a16:creationId xmlns:a16="http://schemas.microsoft.com/office/drawing/2014/main" id="{70F2C5F3-726F-4BF1-7D83-0C203C009F83}"/>
              </a:ext>
            </a:extLst>
          </p:cNvPr>
          <p:cNvSpPr>
            <a:spLocks noGrp="1"/>
          </p:cNvSpPr>
          <p:nvPr>
            <p:ph type="body" sz="quarter" idx="17"/>
          </p:nvPr>
        </p:nvSpPr>
        <p:spPr>
          <a:xfrm>
            <a:off x="380999" y="1125721"/>
            <a:ext cx="8160733" cy="3257612"/>
          </a:xfrm>
        </p:spPr>
        <p:txBody>
          <a:bodyPr/>
          <a:lstStyle/>
          <a:p>
            <a:pPr marL="0" indent="0">
              <a:buNone/>
            </a:pPr>
            <a:r>
              <a:rPr lang="en-US" sz="1800"/>
              <a:t>The position paper work will span over approx. 5 months and is important to give the SMC the stakeholder perspective. </a:t>
            </a:r>
          </a:p>
          <a:p>
            <a:pPr marL="0" indent="0">
              <a:buNone/>
            </a:pPr>
            <a:endParaRPr lang="en-US" sz="1800"/>
          </a:p>
          <a:p>
            <a:pPr marL="0" indent="0">
              <a:buNone/>
            </a:pPr>
            <a:r>
              <a:rPr lang="en-US" sz="1800"/>
              <a:t>Estimated time allocation to participate in a task force is: </a:t>
            </a:r>
            <a:r>
              <a:rPr lang="en-US" sz="1800" i="1"/>
              <a:t>10 hours</a:t>
            </a:r>
          </a:p>
          <a:p>
            <a:pPr marL="0" indent="0">
              <a:buNone/>
            </a:pPr>
            <a:endParaRPr lang="en-US" sz="1800"/>
          </a:p>
          <a:p>
            <a:pPr marL="0" indent="0">
              <a:buNone/>
            </a:pPr>
            <a:r>
              <a:rPr lang="en-US" sz="1800"/>
              <a:t>Estimated time allocation to lead a task force is: </a:t>
            </a:r>
            <a:r>
              <a:rPr lang="en-US" sz="1800" i="1"/>
              <a:t>12 hours</a:t>
            </a:r>
          </a:p>
          <a:p>
            <a:pPr marL="0" indent="0">
              <a:buNone/>
            </a:pPr>
            <a:endParaRPr lang="en-US" sz="1800"/>
          </a:p>
          <a:p>
            <a:pPr marL="0" indent="0">
              <a:buNone/>
            </a:pPr>
            <a:r>
              <a:rPr lang="en-US" sz="1800"/>
              <a:t>Please send a note to Isak Penttilä if you wish to participate in Task Force 1 and/or Task Force 2 by 2026-04-09.</a:t>
            </a:r>
          </a:p>
          <a:p>
            <a:pPr marL="0" indent="0">
              <a:buNone/>
            </a:pPr>
            <a:endParaRPr lang="en-US" sz="1800"/>
          </a:p>
          <a:p>
            <a:pPr marL="0" indent="0">
              <a:buNone/>
            </a:pPr>
            <a:r>
              <a:rPr lang="en-US" sz="1800"/>
              <a:t>Indicate in the note if you are willing to lead the task force. </a:t>
            </a:r>
          </a:p>
          <a:p>
            <a:pPr marL="0" indent="0">
              <a:buNone/>
            </a:pPr>
            <a:endParaRPr lang="en-US" sz="1800"/>
          </a:p>
        </p:txBody>
      </p:sp>
      <p:sp>
        <p:nvSpPr>
          <p:cNvPr id="4" name="Platshållare för sidfot 3">
            <a:extLst>
              <a:ext uri="{FF2B5EF4-FFF2-40B4-BE49-F238E27FC236}">
                <a16:creationId xmlns:a16="http://schemas.microsoft.com/office/drawing/2014/main" id="{1EA44FBA-4ED3-9828-9C49-1891F912E5CF}"/>
              </a:ext>
            </a:extLst>
          </p:cNvPr>
          <p:cNvSpPr>
            <a:spLocks noGrp="1"/>
          </p:cNvSpPr>
          <p:nvPr>
            <p:ph type="ftr" sz="quarter" idx="11"/>
          </p:nvPr>
        </p:nvSpPr>
        <p:spPr/>
        <p:txBody>
          <a:bodyPr/>
          <a:lstStyle/>
          <a:p>
            <a:r>
              <a:rPr lang="en-US"/>
              <a:t>Stakeholder Forum Agenda - Classification: External</a:t>
            </a:r>
            <a:endParaRPr lang="sv-SE"/>
          </a:p>
        </p:txBody>
      </p:sp>
      <p:sp>
        <p:nvSpPr>
          <p:cNvPr id="5" name="Platshållare för datum 4">
            <a:extLst>
              <a:ext uri="{FF2B5EF4-FFF2-40B4-BE49-F238E27FC236}">
                <a16:creationId xmlns:a16="http://schemas.microsoft.com/office/drawing/2014/main" id="{98F552CE-866A-3F62-7BF8-4788AF603295}"/>
              </a:ext>
            </a:extLst>
          </p:cNvPr>
          <p:cNvSpPr>
            <a:spLocks noGrp="1"/>
          </p:cNvSpPr>
          <p:nvPr>
            <p:ph type="dt" sz="half" idx="10"/>
          </p:nvPr>
        </p:nvSpPr>
        <p:spPr/>
        <p:txBody>
          <a:bodyPr/>
          <a:lstStyle/>
          <a:p>
            <a:r>
              <a:rPr lang="sv-SE"/>
              <a:t>26/03/2026</a:t>
            </a:r>
          </a:p>
        </p:txBody>
      </p:sp>
      <p:sp>
        <p:nvSpPr>
          <p:cNvPr id="6" name="Platshållare för bildnummer 5">
            <a:extLst>
              <a:ext uri="{FF2B5EF4-FFF2-40B4-BE49-F238E27FC236}">
                <a16:creationId xmlns:a16="http://schemas.microsoft.com/office/drawing/2014/main" id="{C1BEC183-5D50-86EC-9D7A-90E6B076B6D4}"/>
              </a:ext>
            </a:extLst>
          </p:cNvPr>
          <p:cNvSpPr>
            <a:spLocks noGrp="1"/>
          </p:cNvSpPr>
          <p:nvPr>
            <p:ph type="sldNum" sz="quarter" idx="12"/>
          </p:nvPr>
        </p:nvSpPr>
        <p:spPr/>
        <p:txBody>
          <a:bodyPr/>
          <a:lstStyle/>
          <a:p>
            <a:fld id="{394EE31B-4DFC-CF4D-9A18-3F5D4D7C7302}" type="slidenum">
              <a:rPr lang="sv-SE" smtClean="0"/>
              <a:pPr/>
              <a:t>41</a:t>
            </a:fld>
            <a:endParaRPr lang="sv-SE"/>
          </a:p>
        </p:txBody>
      </p:sp>
    </p:spTree>
    <p:extLst>
      <p:ext uri="{BB962C8B-B14F-4D97-AF65-F5344CB8AC3E}">
        <p14:creationId xmlns:p14="http://schemas.microsoft.com/office/powerpoint/2010/main" val="116004202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47FC7C-EE37-E79E-2D48-BCF8CC7F3A39}"/>
            </a:ext>
          </a:extLst>
        </p:cNvPr>
        <p:cNvGrpSpPr/>
        <p:nvPr/>
      </p:nvGrpSpPr>
      <p:grpSpPr>
        <a:xfrm>
          <a:off x="0" y="0"/>
          <a:ext cx="0" cy="0"/>
          <a:chOff x="0" y="0"/>
          <a:chExt cx="0" cy="0"/>
        </a:xfrm>
      </p:grpSpPr>
      <p:sp>
        <p:nvSpPr>
          <p:cNvPr id="2" name="Picture Placeholder 1">
            <a:extLst>
              <a:ext uri="{FF2B5EF4-FFF2-40B4-BE49-F238E27FC236}">
                <a16:creationId xmlns:a16="http://schemas.microsoft.com/office/drawing/2014/main" id="{340C8728-9D9D-E3C5-048C-C4C05374E0BF}"/>
              </a:ext>
            </a:extLst>
          </p:cNvPr>
          <p:cNvSpPr>
            <a:spLocks noGrp="1"/>
          </p:cNvSpPr>
          <p:nvPr>
            <p:ph type="pic" sz="quarter" idx="15"/>
          </p:nvPr>
        </p:nvSpPr>
        <p:spPr/>
        <p:txBody>
          <a:bodyPr/>
          <a:lstStyle/>
          <a:p>
            <a:endParaRPr lang="sv-SE"/>
          </a:p>
        </p:txBody>
      </p:sp>
      <p:sp>
        <p:nvSpPr>
          <p:cNvPr id="8" name="Rubrik 7">
            <a:extLst>
              <a:ext uri="{FF2B5EF4-FFF2-40B4-BE49-F238E27FC236}">
                <a16:creationId xmlns:a16="http://schemas.microsoft.com/office/drawing/2014/main" id="{5C86894D-F02B-D2EC-85B3-05DC6BAE4C0A}"/>
              </a:ext>
            </a:extLst>
          </p:cNvPr>
          <p:cNvSpPr>
            <a:spLocks noGrp="1"/>
          </p:cNvSpPr>
          <p:nvPr>
            <p:ph type="title"/>
          </p:nvPr>
        </p:nvSpPr>
        <p:spPr/>
        <p:txBody>
          <a:bodyPr/>
          <a:lstStyle/>
          <a:p>
            <a:r>
              <a:rPr lang="en-GB"/>
              <a:t>Suggested Agenda</a:t>
            </a:r>
          </a:p>
        </p:txBody>
      </p:sp>
      <p:sp>
        <p:nvSpPr>
          <p:cNvPr id="10" name="Platshållare för text 9">
            <a:extLst>
              <a:ext uri="{FF2B5EF4-FFF2-40B4-BE49-F238E27FC236}">
                <a16:creationId xmlns:a16="http://schemas.microsoft.com/office/drawing/2014/main" id="{D6FCB87C-4B86-5E32-1A81-F4E6A56CE014}"/>
              </a:ext>
            </a:extLst>
          </p:cNvPr>
          <p:cNvSpPr>
            <a:spLocks noGrp="1"/>
          </p:cNvSpPr>
          <p:nvPr>
            <p:ph type="body" sz="quarter" idx="17"/>
          </p:nvPr>
        </p:nvSpPr>
        <p:spPr>
          <a:xfrm>
            <a:off x="381000" y="947738"/>
            <a:ext cx="4093842" cy="3487737"/>
          </a:xfrm>
        </p:spPr>
        <p:txBody>
          <a:bodyPr>
            <a:normAutofit fontScale="92500" lnSpcReduction="10000"/>
          </a:bodyPr>
          <a:lstStyle/>
          <a:p>
            <a:pPr marL="342900" indent="-342900">
              <a:buFont typeface="+mj-lt"/>
              <a:buAutoNum type="arabicPeriod"/>
            </a:pPr>
            <a:r>
              <a:rPr lang="en-GB" sz="1600"/>
              <a:t>Introduction </a:t>
            </a:r>
          </a:p>
          <a:p>
            <a:pPr marL="342900" indent="-342900">
              <a:buFont typeface="+mj-lt"/>
              <a:buAutoNum type="arabicPeriod"/>
            </a:pPr>
            <a:r>
              <a:rPr lang="en-GB" sz="1600"/>
              <a:t>Approval of Agenda</a:t>
            </a:r>
          </a:p>
          <a:p>
            <a:pPr marL="342900" indent="-342900">
              <a:buFont typeface="+mj-lt"/>
              <a:buAutoNum type="arabicPeriod"/>
            </a:pPr>
            <a:r>
              <a:rPr lang="en-GB" sz="1600"/>
              <a:t>Approval of last meeting’s minutes</a:t>
            </a:r>
          </a:p>
          <a:p>
            <a:pPr marL="342900" indent="-342900">
              <a:buFont typeface="+mj-lt"/>
              <a:buAutoNum type="arabicPeriod"/>
            </a:pPr>
            <a:r>
              <a:rPr lang="en-GB" sz="1600"/>
              <a:t>Appointment of minutes adjuster</a:t>
            </a:r>
          </a:p>
          <a:p>
            <a:pPr marL="342900" indent="-342900">
              <a:buFont typeface="+mj-lt"/>
              <a:buAutoNum type="arabicPeriod"/>
            </a:pPr>
            <a:r>
              <a:rPr lang="en-GB" sz="1600"/>
              <a:t>NPC General information</a:t>
            </a:r>
          </a:p>
          <a:p>
            <a:pPr marL="342900" indent="-342900">
              <a:buFont typeface="+mj-lt"/>
              <a:buAutoNum type="arabicPeriod"/>
            </a:pPr>
            <a:r>
              <a:rPr lang="en-GB" sz="1600"/>
              <a:t>Nordic community update - NO</a:t>
            </a:r>
          </a:p>
          <a:p>
            <a:pPr marL="342900" indent="-342900">
              <a:buFont typeface="+mj-lt"/>
              <a:buAutoNum type="arabicPeriod"/>
            </a:pPr>
            <a:r>
              <a:rPr lang="en-GB" sz="1600"/>
              <a:t>External speaker </a:t>
            </a:r>
          </a:p>
          <a:p>
            <a:pPr marL="342900" indent="-342900">
              <a:buFont typeface="+mj-lt"/>
              <a:buAutoNum type="arabicPeriod"/>
            </a:pPr>
            <a:r>
              <a:rPr lang="en-GB" sz="1600"/>
              <a:t>Nordic community update – SE and DK</a:t>
            </a:r>
          </a:p>
          <a:p>
            <a:pPr marL="0" indent="0">
              <a:buNone/>
            </a:pPr>
            <a:r>
              <a:rPr lang="en-GB" sz="1600" i="1"/>
              <a:t>Break</a:t>
            </a:r>
          </a:p>
          <a:p>
            <a:pPr marL="342900" indent="-342900">
              <a:buFont typeface="+mj-lt"/>
              <a:buAutoNum type="arabicPeriod" startAt="9"/>
            </a:pPr>
            <a:r>
              <a:rPr lang="en-GB" sz="1600"/>
              <a:t>NPC Verification of Payee</a:t>
            </a:r>
          </a:p>
          <a:p>
            <a:pPr marL="342900" indent="-342900">
              <a:buFont typeface="+mj-lt"/>
              <a:buAutoNum type="arabicPeriod" startAt="9"/>
            </a:pPr>
            <a:r>
              <a:rPr lang="en-GB" sz="1600"/>
              <a:t>NPC Payment Schemes</a:t>
            </a:r>
          </a:p>
          <a:p>
            <a:pPr marL="342900" indent="-342900">
              <a:buFont typeface="+mj-lt"/>
              <a:buAutoNum type="arabicPeriod" startAt="9"/>
            </a:pPr>
            <a:r>
              <a:rPr lang="en-GB" sz="1600"/>
              <a:t>Position papers </a:t>
            </a:r>
          </a:p>
          <a:p>
            <a:pPr marL="342900" indent="-342900">
              <a:buFont typeface="+mj-lt"/>
              <a:buAutoNum type="arabicPeriod" startAt="9"/>
            </a:pPr>
            <a:r>
              <a:rPr lang="en-GB" sz="1600" b="1"/>
              <a:t>NPC going forward </a:t>
            </a:r>
          </a:p>
          <a:p>
            <a:pPr marL="342900" indent="-342900">
              <a:buFont typeface="+mj-lt"/>
              <a:buAutoNum type="arabicPeriod" startAt="9"/>
            </a:pPr>
            <a:r>
              <a:rPr lang="en-GB" sz="1600"/>
              <a:t>Any other business </a:t>
            </a:r>
          </a:p>
          <a:p>
            <a:pPr marL="342900" indent="-342900">
              <a:buFont typeface="+mj-lt"/>
              <a:buAutoNum type="arabicPeriod" startAt="9"/>
            </a:pPr>
            <a:r>
              <a:rPr lang="en-GB" sz="1600"/>
              <a:t>Closing</a:t>
            </a:r>
          </a:p>
        </p:txBody>
      </p:sp>
      <p:sp>
        <p:nvSpPr>
          <p:cNvPr id="5" name="Platshållare för sidfot 4">
            <a:extLst>
              <a:ext uri="{FF2B5EF4-FFF2-40B4-BE49-F238E27FC236}">
                <a16:creationId xmlns:a16="http://schemas.microsoft.com/office/drawing/2014/main" id="{C3EC8285-655E-65AE-54B6-9DE8C9FDAB5A}"/>
              </a:ext>
            </a:extLst>
          </p:cNvPr>
          <p:cNvSpPr>
            <a:spLocks noGrp="1"/>
          </p:cNvSpPr>
          <p:nvPr>
            <p:ph type="ftr" sz="quarter" idx="11"/>
          </p:nvPr>
        </p:nvSpPr>
        <p:spPr/>
        <p:txBody>
          <a:bodyPr/>
          <a:lstStyle/>
          <a:p>
            <a:r>
              <a:rPr lang="en-US"/>
              <a:t>Stakeholder Forum Agenda - Classification: External</a:t>
            </a:r>
            <a:endParaRPr lang="en-GB"/>
          </a:p>
        </p:txBody>
      </p:sp>
      <p:sp>
        <p:nvSpPr>
          <p:cNvPr id="6" name="Platshållare för datum 5">
            <a:extLst>
              <a:ext uri="{FF2B5EF4-FFF2-40B4-BE49-F238E27FC236}">
                <a16:creationId xmlns:a16="http://schemas.microsoft.com/office/drawing/2014/main" id="{8F9EA14A-A603-EA93-7813-17B01BD22D37}"/>
              </a:ext>
            </a:extLst>
          </p:cNvPr>
          <p:cNvSpPr>
            <a:spLocks noGrp="1"/>
          </p:cNvSpPr>
          <p:nvPr>
            <p:ph type="dt" sz="half" idx="10"/>
          </p:nvPr>
        </p:nvSpPr>
        <p:spPr/>
        <p:txBody>
          <a:bodyPr/>
          <a:lstStyle/>
          <a:p>
            <a:r>
              <a:rPr lang="sv-SE"/>
              <a:t>26/03/2026</a:t>
            </a:r>
            <a:endParaRPr lang="en-GB"/>
          </a:p>
        </p:txBody>
      </p:sp>
      <p:sp>
        <p:nvSpPr>
          <p:cNvPr id="7" name="Platshållare för bildnummer 6">
            <a:extLst>
              <a:ext uri="{FF2B5EF4-FFF2-40B4-BE49-F238E27FC236}">
                <a16:creationId xmlns:a16="http://schemas.microsoft.com/office/drawing/2014/main" id="{E60F52E1-95A6-E31F-70F0-986B0207E773}"/>
              </a:ext>
            </a:extLst>
          </p:cNvPr>
          <p:cNvSpPr>
            <a:spLocks noGrp="1"/>
          </p:cNvSpPr>
          <p:nvPr>
            <p:ph type="sldNum" sz="quarter" idx="12"/>
          </p:nvPr>
        </p:nvSpPr>
        <p:spPr/>
        <p:txBody>
          <a:bodyPr/>
          <a:lstStyle/>
          <a:p>
            <a:fld id="{394EE31B-4DFC-CF4D-9A18-3F5D4D7C7302}" type="slidenum">
              <a:rPr lang="en-GB" smtClean="0"/>
              <a:pPr/>
              <a:t>42</a:t>
            </a:fld>
            <a:endParaRPr lang="en-GB"/>
          </a:p>
        </p:txBody>
      </p:sp>
      <p:pic>
        <p:nvPicPr>
          <p:cNvPr id="11" name="Platshållare för bild 7" descr="En bild som visar person, inomhus, man, stående&#10;&#10;Automatiskt genererad beskrivning">
            <a:extLst>
              <a:ext uri="{FF2B5EF4-FFF2-40B4-BE49-F238E27FC236}">
                <a16:creationId xmlns:a16="http://schemas.microsoft.com/office/drawing/2014/main" id="{3D92F628-A013-27BF-C2B7-01A907B62ED1}"/>
              </a:ext>
            </a:extLst>
          </p:cNvPr>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a:xfrm>
            <a:off x="4572000" y="952574"/>
            <a:ext cx="4156148" cy="3289235"/>
          </a:xfrm>
          <a:prstGeom prst="rect">
            <a:avLst/>
          </a:prstGeom>
        </p:spPr>
      </p:pic>
    </p:spTree>
    <p:extLst>
      <p:ext uri="{BB962C8B-B14F-4D97-AF65-F5344CB8AC3E}">
        <p14:creationId xmlns:p14="http://schemas.microsoft.com/office/powerpoint/2010/main" val="34131605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014ABF-E1AC-163E-4883-08718C43AD9C}"/>
              </a:ext>
            </a:extLst>
          </p:cNvPr>
          <p:cNvSpPr>
            <a:spLocks noGrp="1"/>
          </p:cNvSpPr>
          <p:nvPr>
            <p:ph type="title"/>
          </p:nvPr>
        </p:nvSpPr>
        <p:spPr/>
        <p:txBody>
          <a:bodyPr>
            <a:normAutofit/>
          </a:bodyPr>
          <a:lstStyle/>
          <a:p>
            <a:r>
              <a:rPr lang="en-GB" noProof="0"/>
              <a:t>Workplan and Meetings</a:t>
            </a:r>
          </a:p>
        </p:txBody>
      </p:sp>
      <p:sp>
        <p:nvSpPr>
          <p:cNvPr id="3" name="Text Placeholder 2">
            <a:extLst>
              <a:ext uri="{FF2B5EF4-FFF2-40B4-BE49-F238E27FC236}">
                <a16:creationId xmlns:a16="http://schemas.microsoft.com/office/drawing/2014/main" id="{B011BD63-9A5E-D468-854A-B1E93217E902}"/>
              </a:ext>
            </a:extLst>
          </p:cNvPr>
          <p:cNvSpPr>
            <a:spLocks noGrp="1"/>
          </p:cNvSpPr>
          <p:nvPr>
            <p:ph type="body" sz="quarter" idx="17"/>
          </p:nvPr>
        </p:nvSpPr>
        <p:spPr>
          <a:xfrm>
            <a:off x="380999" y="1238250"/>
            <a:ext cx="4281343" cy="3257612"/>
          </a:xfrm>
        </p:spPr>
        <p:txBody>
          <a:bodyPr/>
          <a:lstStyle/>
          <a:p>
            <a:pPr marL="0" indent="0">
              <a:buNone/>
            </a:pPr>
            <a:r>
              <a:rPr lang="en-GB" b="1" noProof="0"/>
              <a:t>Stakeholder Forum meetings 2026</a:t>
            </a:r>
          </a:p>
          <a:p>
            <a:r>
              <a:rPr lang="en-GB" sz="1600" noProof="0">
                <a:solidFill>
                  <a:schemeClr val="bg1">
                    <a:lumMod val="50000"/>
                  </a:schemeClr>
                </a:solidFill>
              </a:rPr>
              <a:t>26 March, 13:00-16:00 (Stockholm &amp; Teams)</a:t>
            </a:r>
          </a:p>
          <a:p>
            <a:pPr lvl="1"/>
            <a:r>
              <a:rPr lang="en-GB" sz="1600" i="1" noProof="0">
                <a:solidFill>
                  <a:schemeClr val="bg1">
                    <a:lumMod val="50000"/>
                  </a:schemeClr>
                </a:solidFill>
              </a:rPr>
              <a:t>Kick-off position papers</a:t>
            </a:r>
          </a:p>
          <a:p>
            <a:r>
              <a:rPr lang="en-GB" sz="1600" noProof="0"/>
              <a:t>23 June, 13:00-15:30</a:t>
            </a:r>
          </a:p>
          <a:p>
            <a:pPr lvl="1"/>
            <a:r>
              <a:rPr lang="en-GB" sz="1600" b="1" i="1" noProof="0"/>
              <a:t>First draft of position papers ready to discuss</a:t>
            </a:r>
          </a:p>
          <a:p>
            <a:r>
              <a:rPr lang="en-GB" sz="1600" noProof="0"/>
              <a:t>17 September, 13:00-15:30</a:t>
            </a:r>
          </a:p>
          <a:p>
            <a:pPr lvl="1"/>
            <a:r>
              <a:rPr lang="en-GB" sz="1600" i="1" noProof="0"/>
              <a:t>Approval of position papers</a:t>
            </a:r>
          </a:p>
          <a:p>
            <a:r>
              <a:rPr lang="en-GB" sz="1600" noProof="0"/>
              <a:t>10 November, 13:00-15:30</a:t>
            </a:r>
          </a:p>
          <a:p>
            <a:pPr lvl="1"/>
            <a:r>
              <a:rPr lang="en-GB" sz="1600" noProof="0"/>
              <a:t>TBD</a:t>
            </a:r>
          </a:p>
        </p:txBody>
      </p:sp>
      <p:sp>
        <p:nvSpPr>
          <p:cNvPr id="4" name="Footer Placeholder 3">
            <a:extLst>
              <a:ext uri="{FF2B5EF4-FFF2-40B4-BE49-F238E27FC236}">
                <a16:creationId xmlns:a16="http://schemas.microsoft.com/office/drawing/2014/main" id="{7C3F655A-5F68-649A-FC5E-A075974E5236}"/>
              </a:ext>
            </a:extLst>
          </p:cNvPr>
          <p:cNvSpPr>
            <a:spLocks noGrp="1"/>
          </p:cNvSpPr>
          <p:nvPr>
            <p:ph type="ftr" sz="quarter" idx="11"/>
          </p:nvPr>
        </p:nvSpPr>
        <p:spPr/>
        <p:txBody>
          <a:bodyPr/>
          <a:lstStyle/>
          <a:p>
            <a:r>
              <a:rPr lang="en-US" noProof="0"/>
              <a:t>Stakeholder Forum Agenda - Classification: External</a:t>
            </a:r>
            <a:endParaRPr lang="en-GB" noProof="0"/>
          </a:p>
        </p:txBody>
      </p:sp>
      <p:sp>
        <p:nvSpPr>
          <p:cNvPr id="5" name="Date Placeholder 4">
            <a:extLst>
              <a:ext uri="{FF2B5EF4-FFF2-40B4-BE49-F238E27FC236}">
                <a16:creationId xmlns:a16="http://schemas.microsoft.com/office/drawing/2014/main" id="{7405FD94-F879-F110-3422-6FF29FDCE6BC}"/>
              </a:ext>
            </a:extLst>
          </p:cNvPr>
          <p:cNvSpPr>
            <a:spLocks noGrp="1"/>
          </p:cNvSpPr>
          <p:nvPr>
            <p:ph type="dt" sz="half" idx="10"/>
          </p:nvPr>
        </p:nvSpPr>
        <p:spPr/>
        <p:txBody>
          <a:bodyPr/>
          <a:lstStyle/>
          <a:p>
            <a:r>
              <a:rPr lang="sv-SE" noProof="0"/>
              <a:t>26/03/2026</a:t>
            </a:r>
            <a:endParaRPr lang="en-GB" noProof="0"/>
          </a:p>
        </p:txBody>
      </p:sp>
      <p:sp>
        <p:nvSpPr>
          <p:cNvPr id="6" name="Slide Number Placeholder 5">
            <a:extLst>
              <a:ext uri="{FF2B5EF4-FFF2-40B4-BE49-F238E27FC236}">
                <a16:creationId xmlns:a16="http://schemas.microsoft.com/office/drawing/2014/main" id="{73D61670-29C4-A735-08E6-CFCEA29D340D}"/>
              </a:ext>
            </a:extLst>
          </p:cNvPr>
          <p:cNvSpPr>
            <a:spLocks noGrp="1"/>
          </p:cNvSpPr>
          <p:nvPr>
            <p:ph type="sldNum" sz="quarter" idx="12"/>
          </p:nvPr>
        </p:nvSpPr>
        <p:spPr/>
        <p:txBody>
          <a:bodyPr/>
          <a:lstStyle/>
          <a:p>
            <a:fld id="{394EE31B-4DFC-CF4D-9A18-3F5D4D7C7302}" type="slidenum">
              <a:rPr lang="en-GB" noProof="0" smtClean="0"/>
              <a:pPr/>
              <a:t>43</a:t>
            </a:fld>
            <a:endParaRPr lang="en-GB" noProof="0"/>
          </a:p>
        </p:txBody>
      </p:sp>
      <p:sp>
        <p:nvSpPr>
          <p:cNvPr id="8" name="Text Placeholder 7">
            <a:extLst>
              <a:ext uri="{FF2B5EF4-FFF2-40B4-BE49-F238E27FC236}">
                <a16:creationId xmlns:a16="http://schemas.microsoft.com/office/drawing/2014/main" id="{FE483EB5-9878-0C9C-D733-C7DB947FC8FD}"/>
              </a:ext>
            </a:extLst>
          </p:cNvPr>
          <p:cNvSpPr>
            <a:spLocks noGrp="1"/>
          </p:cNvSpPr>
          <p:nvPr>
            <p:ph type="body" sz="quarter" idx="18"/>
          </p:nvPr>
        </p:nvSpPr>
        <p:spPr>
          <a:xfrm>
            <a:off x="5186680" y="1238250"/>
            <a:ext cx="3565208" cy="3208499"/>
          </a:xfrm>
        </p:spPr>
        <p:txBody>
          <a:bodyPr/>
          <a:lstStyle/>
          <a:p>
            <a:pPr marL="0" indent="0" algn="l" rtl="0" eaLnBrk="1" latinLnBrk="0" hangingPunct="1">
              <a:spcBef>
                <a:spcPts val="50"/>
              </a:spcBef>
              <a:buNone/>
            </a:pPr>
            <a:r>
              <a:rPr lang="en-GB" sz="2000" b="1" noProof="0">
                <a:solidFill>
                  <a:srgbClr val="014E8F"/>
                </a:solidFill>
                <a:effectLst/>
                <a:latin typeface="Calibri" panose="020F0502020204030204" pitchFamily="34" charset="0"/>
              </a:rPr>
              <a:t>Task </a:t>
            </a:r>
            <a:r>
              <a:rPr lang="en-GB" b="1">
                <a:solidFill>
                  <a:srgbClr val="014E8F"/>
                </a:solidFill>
                <a:latin typeface="Calibri" panose="020F0502020204030204" pitchFamily="34" charset="0"/>
              </a:rPr>
              <a:t>Forces </a:t>
            </a:r>
            <a:r>
              <a:rPr lang="en-GB" sz="2000" b="1" noProof="0">
                <a:solidFill>
                  <a:srgbClr val="014E8F"/>
                </a:solidFill>
                <a:effectLst/>
                <a:latin typeface="Calibri" panose="020F0502020204030204" pitchFamily="34" charset="0"/>
              </a:rPr>
              <a:t>Position Papers:</a:t>
            </a:r>
            <a:endParaRPr lang="en-GB" b="1">
              <a:solidFill>
                <a:srgbClr val="014E8F"/>
              </a:solidFill>
              <a:latin typeface="Calibri" panose="020F0502020204030204" pitchFamily="34" charset="0"/>
            </a:endParaRPr>
          </a:p>
          <a:p>
            <a:pPr marL="192024" indent="-192024" algn="l" rtl="0" eaLnBrk="1" latinLnBrk="0" hangingPunct="1">
              <a:spcBef>
                <a:spcPts val="50"/>
              </a:spcBef>
              <a:buFont typeface="Arial" panose="020B0604020202020204" pitchFamily="34" charset="0"/>
              <a:buChar char="•"/>
            </a:pPr>
            <a:r>
              <a:rPr lang="en-GB" sz="2000" noProof="0">
                <a:solidFill>
                  <a:srgbClr val="014E8F"/>
                </a:solidFill>
                <a:effectLst/>
                <a:latin typeface="Calibri" panose="020F0502020204030204" pitchFamily="34" charset="0"/>
              </a:rPr>
              <a:t> </a:t>
            </a:r>
            <a:r>
              <a:rPr lang="en-GB" sz="1600" noProof="0">
                <a:solidFill>
                  <a:srgbClr val="014E8F"/>
                </a:solidFill>
                <a:effectLst/>
                <a:latin typeface="Calibri" panose="020F0502020204030204" pitchFamily="34" charset="0"/>
              </a:rPr>
              <a:t>Changes to NCT and NCT Inst (2027)</a:t>
            </a:r>
          </a:p>
          <a:p>
            <a:pPr marL="192024" indent="-192024" algn="l" rtl="0" eaLnBrk="1" latinLnBrk="0" hangingPunct="1">
              <a:spcBef>
                <a:spcPts val="50"/>
              </a:spcBef>
              <a:buFont typeface="Arial" panose="020B0604020202020204" pitchFamily="34" charset="0"/>
              <a:buChar char="•"/>
            </a:pPr>
            <a:endParaRPr lang="en-GB">
              <a:solidFill>
                <a:srgbClr val="014E8F"/>
              </a:solidFill>
              <a:latin typeface="Calibri" panose="020F0502020204030204" pitchFamily="34" charset="0"/>
            </a:endParaRPr>
          </a:p>
          <a:p>
            <a:pPr marL="192024" indent="-192024" algn="l" rtl="0" eaLnBrk="1" latinLnBrk="0" hangingPunct="1">
              <a:spcBef>
                <a:spcPts val="50"/>
              </a:spcBef>
              <a:buFont typeface="Arial" panose="020B0604020202020204" pitchFamily="34" charset="0"/>
              <a:buChar char="•"/>
            </a:pPr>
            <a:r>
              <a:rPr lang="en-GB" sz="1600">
                <a:solidFill>
                  <a:srgbClr val="014E8F"/>
                </a:solidFill>
                <a:latin typeface="Calibri" panose="020F0502020204030204" pitchFamily="34" charset="0"/>
              </a:rPr>
              <a:t>NOLO Inst (2026)</a:t>
            </a:r>
            <a:endParaRPr lang="en-GB" sz="1600" i="1" noProof="0"/>
          </a:p>
        </p:txBody>
      </p:sp>
    </p:spTree>
    <p:extLst>
      <p:ext uri="{BB962C8B-B14F-4D97-AF65-F5344CB8AC3E}">
        <p14:creationId xmlns:p14="http://schemas.microsoft.com/office/powerpoint/2010/main" val="273673024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D794F9-883D-905F-DBCA-2F38E8D6459B}"/>
            </a:ext>
          </a:extLst>
        </p:cNvPr>
        <p:cNvGrpSpPr/>
        <p:nvPr/>
      </p:nvGrpSpPr>
      <p:grpSpPr>
        <a:xfrm>
          <a:off x="0" y="0"/>
          <a:ext cx="0" cy="0"/>
          <a:chOff x="0" y="0"/>
          <a:chExt cx="0" cy="0"/>
        </a:xfrm>
      </p:grpSpPr>
      <p:sp>
        <p:nvSpPr>
          <p:cNvPr id="2" name="Picture Placeholder 1">
            <a:extLst>
              <a:ext uri="{FF2B5EF4-FFF2-40B4-BE49-F238E27FC236}">
                <a16:creationId xmlns:a16="http://schemas.microsoft.com/office/drawing/2014/main" id="{5877954B-8017-A10D-0722-21E9D8B0A2D1}"/>
              </a:ext>
            </a:extLst>
          </p:cNvPr>
          <p:cNvSpPr>
            <a:spLocks noGrp="1"/>
          </p:cNvSpPr>
          <p:nvPr>
            <p:ph type="pic" sz="quarter" idx="15"/>
          </p:nvPr>
        </p:nvSpPr>
        <p:spPr/>
        <p:txBody>
          <a:bodyPr/>
          <a:lstStyle/>
          <a:p>
            <a:endParaRPr lang="sv-SE"/>
          </a:p>
        </p:txBody>
      </p:sp>
      <p:sp>
        <p:nvSpPr>
          <p:cNvPr id="8" name="Rubrik 7">
            <a:extLst>
              <a:ext uri="{FF2B5EF4-FFF2-40B4-BE49-F238E27FC236}">
                <a16:creationId xmlns:a16="http://schemas.microsoft.com/office/drawing/2014/main" id="{9E825A39-1BFF-DAC3-E124-FEC710045656}"/>
              </a:ext>
            </a:extLst>
          </p:cNvPr>
          <p:cNvSpPr>
            <a:spLocks noGrp="1"/>
          </p:cNvSpPr>
          <p:nvPr>
            <p:ph type="title"/>
          </p:nvPr>
        </p:nvSpPr>
        <p:spPr/>
        <p:txBody>
          <a:bodyPr/>
          <a:lstStyle/>
          <a:p>
            <a:r>
              <a:rPr lang="en-GB"/>
              <a:t>Suggested Agenda</a:t>
            </a:r>
          </a:p>
        </p:txBody>
      </p:sp>
      <p:sp>
        <p:nvSpPr>
          <p:cNvPr id="10" name="Platshållare för text 9">
            <a:extLst>
              <a:ext uri="{FF2B5EF4-FFF2-40B4-BE49-F238E27FC236}">
                <a16:creationId xmlns:a16="http://schemas.microsoft.com/office/drawing/2014/main" id="{4965367C-4097-D48D-B867-BA92982F6A36}"/>
              </a:ext>
            </a:extLst>
          </p:cNvPr>
          <p:cNvSpPr>
            <a:spLocks noGrp="1"/>
          </p:cNvSpPr>
          <p:nvPr>
            <p:ph type="body" sz="quarter" idx="17"/>
          </p:nvPr>
        </p:nvSpPr>
        <p:spPr>
          <a:xfrm>
            <a:off x="381000" y="947738"/>
            <a:ext cx="4093842" cy="3487737"/>
          </a:xfrm>
        </p:spPr>
        <p:txBody>
          <a:bodyPr>
            <a:normAutofit fontScale="92500" lnSpcReduction="10000"/>
          </a:bodyPr>
          <a:lstStyle/>
          <a:p>
            <a:pPr marL="342900" indent="-342900">
              <a:buFont typeface="+mj-lt"/>
              <a:buAutoNum type="arabicPeriod"/>
            </a:pPr>
            <a:r>
              <a:rPr lang="en-GB" sz="1600"/>
              <a:t>Introduction </a:t>
            </a:r>
          </a:p>
          <a:p>
            <a:pPr marL="342900" indent="-342900">
              <a:buFont typeface="+mj-lt"/>
              <a:buAutoNum type="arabicPeriod"/>
            </a:pPr>
            <a:r>
              <a:rPr lang="en-GB" sz="1600"/>
              <a:t>Approval of Agenda</a:t>
            </a:r>
          </a:p>
          <a:p>
            <a:pPr marL="342900" indent="-342900">
              <a:buFont typeface="+mj-lt"/>
              <a:buAutoNum type="arabicPeriod"/>
            </a:pPr>
            <a:r>
              <a:rPr lang="en-GB" sz="1600"/>
              <a:t>Approval of last meeting’s minutes</a:t>
            </a:r>
          </a:p>
          <a:p>
            <a:pPr marL="342900" indent="-342900">
              <a:buFont typeface="+mj-lt"/>
              <a:buAutoNum type="arabicPeriod"/>
            </a:pPr>
            <a:r>
              <a:rPr lang="en-GB" sz="1600"/>
              <a:t>Appointment of minutes adjuster</a:t>
            </a:r>
          </a:p>
          <a:p>
            <a:pPr marL="342900" indent="-342900">
              <a:buFont typeface="+mj-lt"/>
              <a:buAutoNum type="arabicPeriod"/>
            </a:pPr>
            <a:r>
              <a:rPr lang="en-GB" sz="1600"/>
              <a:t>NPC General information</a:t>
            </a:r>
          </a:p>
          <a:p>
            <a:pPr marL="342900" indent="-342900">
              <a:buFont typeface="+mj-lt"/>
              <a:buAutoNum type="arabicPeriod"/>
            </a:pPr>
            <a:r>
              <a:rPr lang="en-GB" sz="1600"/>
              <a:t>Nordic community update - NO</a:t>
            </a:r>
          </a:p>
          <a:p>
            <a:pPr marL="342900" indent="-342900">
              <a:buFont typeface="+mj-lt"/>
              <a:buAutoNum type="arabicPeriod"/>
            </a:pPr>
            <a:r>
              <a:rPr lang="en-GB" sz="1600"/>
              <a:t>External speaker </a:t>
            </a:r>
          </a:p>
          <a:p>
            <a:pPr marL="342900" indent="-342900">
              <a:buFont typeface="+mj-lt"/>
              <a:buAutoNum type="arabicPeriod"/>
            </a:pPr>
            <a:r>
              <a:rPr lang="en-GB" sz="1600"/>
              <a:t>Nordic community update – SE and DK</a:t>
            </a:r>
          </a:p>
          <a:p>
            <a:pPr marL="0" indent="0">
              <a:buNone/>
            </a:pPr>
            <a:r>
              <a:rPr lang="en-GB" sz="1600" i="1"/>
              <a:t>Break</a:t>
            </a:r>
          </a:p>
          <a:p>
            <a:pPr marL="342900" indent="-342900">
              <a:buFont typeface="+mj-lt"/>
              <a:buAutoNum type="arabicPeriod" startAt="9"/>
            </a:pPr>
            <a:r>
              <a:rPr lang="en-GB" sz="1600"/>
              <a:t>NPC Verification of Payee</a:t>
            </a:r>
          </a:p>
          <a:p>
            <a:pPr marL="342900" indent="-342900">
              <a:buFont typeface="+mj-lt"/>
              <a:buAutoNum type="arabicPeriod" startAt="9"/>
            </a:pPr>
            <a:r>
              <a:rPr lang="en-GB" sz="1600"/>
              <a:t>NPC Payment Schemes</a:t>
            </a:r>
          </a:p>
          <a:p>
            <a:pPr marL="342900" indent="-342900">
              <a:buFont typeface="+mj-lt"/>
              <a:buAutoNum type="arabicPeriod" startAt="9"/>
            </a:pPr>
            <a:r>
              <a:rPr lang="en-GB" sz="1600"/>
              <a:t>Position papers </a:t>
            </a:r>
          </a:p>
          <a:p>
            <a:pPr marL="342900" indent="-342900">
              <a:buFont typeface="+mj-lt"/>
              <a:buAutoNum type="arabicPeriod" startAt="9"/>
            </a:pPr>
            <a:r>
              <a:rPr lang="en-GB" sz="1600"/>
              <a:t>NPC going forward </a:t>
            </a:r>
          </a:p>
          <a:p>
            <a:pPr marL="342900" indent="-342900">
              <a:buFont typeface="+mj-lt"/>
              <a:buAutoNum type="arabicPeriod" startAt="9"/>
            </a:pPr>
            <a:r>
              <a:rPr lang="en-GB" sz="1600" b="1"/>
              <a:t>Any other business </a:t>
            </a:r>
          </a:p>
          <a:p>
            <a:pPr marL="342900" indent="-342900">
              <a:buFont typeface="+mj-lt"/>
              <a:buAutoNum type="arabicPeriod" startAt="9"/>
            </a:pPr>
            <a:r>
              <a:rPr lang="en-GB" sz="1600"/>
              <a:t>Closing</a:t>
            </a:r>
          </a:p>
        </p:txBody>
      </p:sp>
      <p:sp>
        <p:nvSpPr>
          <p:cNvPr id="5" name="Platshållare för sidfot 4">
            <a:extLst>
              <a:ext uri="{FF2B5EF4-FFF2-40B4-BE49-F238E27FC236}">
                <a16:creationId xmlns:a16="http://schemas.microsoft.com/office/drawing/2014/main" id="{08008570-9C1A-642C-A2EA-C1D7A1F5F347}"/>
              </a:ext>
            </a:extLst>
          </p:cNvPr>
          <p:cNvSpPr>
            <a:spLocks noGrp="1"/>
          </p:cNvSpPr>
          <p:nvPr>
            <p:ph type="ftr" sz="quarter" idx="11"/>
          </p:nvPr>
        </p:nvSpPr>
        <p:spPr/>
        <p:txBody>
          <a:bodyPr/>
          <a:lstStyle/>
          <a:p>
            <a:r>
              <a:rPr lang="en-US"/>
              <a:t>Stakeholder Forum Agenda - Classification: External</a:t>
            </a:r>
            <a:endParaRPr lang="en-GB"/>
          </a:p>
        </p:txBody>
      </p:sp>
      <p:sp>
        <p:nvSpPr>
          <p:cNvPr id="6" name="Platshållare för datum 5">
            <a:extLst>
              <a:ext uri="{FF2B5EF4-FFF2-40B4-BE49-F238E27FC236}">
                <a16:creationId xmlns:a16="http://schemas.microsoft.com/office/drawing/2014/main" id="{7BEA8F4E-4C3D-BFDA-8EB3-70D350535592}"/>
              </a:ext>
            </a:extLst>
          </p:cNvPr>
          <p:cNvSpPr>
            <a:spLocks noGrp="1"/>
          </p:cNvSpPr>
          <p:nvPr>
            <p:ph type="dt" sz="half" idx="10"/>
          </p:nvPr>
        </p:nvSpPr>
        <p:spPr/>
        <p:txBody>
          <a:bodyPr/>
          <a:lstStyle/>
          <a:p>
            <a:r>
              <a:rPr lang="sv-SE"/>
              <a:t>26/03/2026</a:t>
            </a:r>
            <a:endParaRPr lang="en-GB"/>
          </a:p>
        </p:txBody>
      </p:sp>
      <p:sp>
        <p:nvSpPr>
          <p:cNvPr id="7" name="Platshållare för bildnummer 6">
            <a:extLst>
              <a:ext uri="{FF2B5EF4-FFF2-40B4-BE49-F238E27FC236}">
                <a16:creationId xmlns:a16="http://schemas.microsoft.com/office/drawing/2014/main" id="{E83F7FF1-3418-AED0-ADAD-A392B07D552A}"/>
              </a:ext>
            </a:extLst>
          </p:cNvPr>
          <p:cNvSpPr>
            <a:spLocks noGrp="1"/>
          </p:cNvSpPr>
          <p:nvPr>
            <p:ph type="sldNum" sz="quarter" idx="12"/>
          </p:nvPr>
        </p:nvSpPr>
        <p:spPr/>
        <p:txBody>
          <a:bodyPr/>
          <a:lstStyle/>
          <a:p>
            <a:fld id="{394EE31B-4DFC-CF4D-9A18-3F5D4D7C7302}" type="slidenum">
              <a:rPr lang="en-GB" smtClean="0"/>
              <a:pPr/>
              <a:t>44</a:t>
            </a:fld>
            <a:endParaRPr lang="en-GB"/>
          </a:p>
        </p:txBody>
      </p:sp>
      <p:pic>
        <p:nvPicPr>
          <p:cNvPr id="11" name="Platshållare för bild 7" descr="En bild som visar person, inomhus, man, stående&#10;&#10;Automatiskt genererad beskrivning">
            <a:extLst>
              <a:ext uri="{FF2B5EF4-FFF2-40B4-BE49-F238E27FC236}">
                <a16:creationId xmlns:a16="http://schemas.microsoft.com/office/drawing/2014/main" id="{C5A6449D-CAF9-FB64-28B1-291B55341FC1}"/>
              </a:ext>
            </a:extLst>
          </p:cNvPr>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a:xfrm>
            <a:off x="4572000" y="952574"/>
            <a:ext cx="4156148" cy="3289235"/>
          </a:xfrm>
          <a:prstGeom prst="rect">
            <a:avLst/>
          </a:prstGeom>
        </p:spPr>
      </p:pic>
    </p:spTree>
    <p:extLst>
      <p:ext uri="{BB962C8B-B14F-4D97-AF65-F5344CB8AC3E}">
        <p14:creationId xmlns:p14="http://schemas.microsoft.com/office/powerpoint/2010/main" val="214352139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86C663-5A6E-52F6-67A4-BDA83BA46398}"/>
            </a:ext>
          </a:extLst>
        </p:cNvPr>
        <p:cNvGrpSpPr/>
        <p:nvPr/>
      </p:nvGrpSpPr>
      <p:grpSpPr>
        <a:xfrm>
          <a:off x="0" y="0"/>
          <a:ext cx="0" cy="0"/>
          <a:chOff x="0" y="0"/>
          <a:chExt cx="0" cy="0"/>
        </a:xfrm>
      </p:grpSpPr>
      <p:sp>
        <p:nvSpPr>
          <p:cNvPr id="2" name="Picture Placeholder 1">
            <a:extLst>
              <a:ext uri="{FF2B5EF4-FFF2-40B4-BE49-F238E27FC236}">
                <a16:creationId xmlns:a16="http://schemas.microsoft.com/office/drawing/2014/main" id="{5F880E7F-8514-66DA-1A54-49D944521105}"/>
              </a:ext>
            </a:extLst>
          </p:cNvPr>
          <p:cNvSpPr>
            <a:spLocks noGrp="1"/>
          </p:cNvSpPr>
          <p:nvPr>
            <p:ph type="pic" sz="quarter" idx="15"/>
          </p:nvPr>
        </p:nvSpPr>
        <p:spPr/>
        <p:txBody>
          <a:bodyPr/>
          <a:lstStyle/>
          <a:p>
            <a:endParaRPr lang="sv-SE"/>
          </a:p>
        </p:txBody>
      </p:sp>
      <p:sp>
        <p:nvSpPr>
          <p:cNvPr id="8" name="Rubrik 7">
            <a:extLst>
              <a:ext uri="{FF2B5EF4-FFF2-40B4-BE49-F238E27FC236}">
                <a16:creationId xmlns:a16="http://schemas.microsoft.com/office/drawing/2014/main" id="{BBFBBB3F-0EA2-5382-585A-83860F3D533D}"/>
              </a:ext>
            </a:extLst>
          </p:cNvPr>
          <p:cNvSpPr>
            <a:spLocks noGrp="1"/>
          </p:cNvSpPr>
          <p:nvPr>
            <p:ph type="title"/>
          </p:nvPr>
        </p:nvSpPr>
        <p:spPr/>
        <p:txBody>
          <a:bodyPr/>
          <a:lstStyle/>
          <a:p>
            <a:r>
              <a:rPr lang="en-GB"/>
              <a:t>Suggested Agenda</a:t>
            </a:r>
          </a:p>
        </p:txBody>
      </p:sp>
      <p:sp>
        <p:nvSpPr>
          <p:cNvPr id="10" name="Platshållare för text 9">
            <a:extLst>
              <a:ext uri="{FF2B5EF4-FFF2-40B4-BE49-F238E27FC236}">
                <a16:creationId xmlns:a16="http://schemas.microsoft.com/office/drawing/2014/main" id="{EF744E9A-0E4B-1C43-41CC-93FEC45CC86E}"/>
              </a:ext>
            </a:extLst>
          </p:cNvPr>
          <p:cNvSpPr>
            <a:spLocks noGrp="1"/>
          </p:cNvSpPr>
          <p:nvPr>
            <p:ph type="body" sz="quarter" idx="17"/>
          </p:nvPr>
        </p:nvSpPr>
        <p:spPr>
          <a:xfrm>
            <a:off x="381000" y="947738"/>
            <a:ext cx="4093842" cy="3487737"/>
          </a:xfrm>
        </p:spPr>
        <p:txBody>
          <a:bodyPr>
            <a:normAutofit fontScale="92500" lnSpcReduction="10000"/>
          </a:bodyPr>
          <a:lstStyle/>
          <a:p>
            <a:pPr marL="342900" indent="-342900">
              <a:buFont typeface="+mj-lt"/>
              <a:buAutoNum type="arabicPeriod"/>
            </a:pPr>
            <a:r>
              <a:rPr lang="en-GB" sz="1600"/>
              <a:t>Introduction </a:t>
            </a:r>
          </a:p>
          <a:p>
            <a:pPr marL="342900" indent="-342900">
              <a:buFont typeface="+mj-lt"/>
              <a:buAutoNum type="arabicPeriod"/>
            </a:pPr>
            <a:r>
              <a:rPr lang="en-GB" sz="1600"/>
              <a:t>Approval of Agenda</a:t>
            </a:r>
          </a:p>
          <a:p>
            <a:pPr marL="342900" indent="-342900">
              <a:buFont typeface="+mj-lt"/>
              <a:buAutoNum type="arabicPeriod"/>
            </a:pPr>
            <a:r>
              <a:rPr lang="en-GB" sz="1600"/>
              <a:t>Approval of last meeting’s minutes</a:t>
            </a:r>
          </a:p>
          <a:p>
            <a:pPr marL="342900" indent="-342900">
              <a:buFont typeface="+mj-lt"/>
              <a:buAutoNum type="arabicPeriod"/>
            </a:pPr>
            <a:r>
              <a:rPr lang="en-GB" sz="1600"/>
              <a:t>Appointment of minutes adjuster</a:t>
            </a:r>
          </a:p>
          <a:p>
            <a:pPr marL="342900" indent="-342900">
              <a:buFont typeface="+mj-lt"/>
              <a:buAutoNum type="arabicPeriod"/>
            </a:pPr>
            <a:r>
              <a:rPr lang="en-GB" sz="1600"/>
              <a:t>NPC General information</a:t>
            </a:r>
          </a:p>
          <a:p>
            <a:pPr marL="342900" indent="-342900">
              <a:buFont typeface="+mj-lt"/>
              <a:buAutoNum type="arabicPeriod"/>
            </a:pPr>
            <a:r>
              <a:rPr lang="en-GB" sz="1600"/>
              <a:t>Nordic community update - NO</a:t>
            </a:r>
          </a:p>
          <a:p>
            <a:pPr marL="342900" indent="-342900">
              <a:buFont typeface="+mj-lt"/>
              <a:buAutoNum type="arabicPeriod"/>
            </a:pPr>
            <a:r>
              <a:rPr lang="en-GB" sz="1600"/>
              <a:t>External speaker </a:t>
            </a:r>
          </a:p>
          <a:p>
            <a:pPr marL="342900" indent="-342900">
              <a:buFont typeface="+mj-lt"/>
              <a:buAutoNum type="arabicPeriod"/>
            </a:pPr>
            <a:r>
              <a:rPr lang="en-GB" sz="1600"/>
              <a:t>Nordic community update – SE and DK</a:t>
            </a:r>
          </a:p>
          <a:p>
            <a:pPr marL="0" indent="0">
              <a:buNone/>
            </a:pPr>
            <a:r>
              <a:rPr lang="en-GB" sz="1600" i="1"/>
              <a:t>Break</a:t>
            </a:r>
          </a:p>
          <a:p>
            <a:pPr marL="342900" indent="-342900">
              <a:buFont typeface="+mj-lt"/>
              <a:buAutoNum type="arabicPeriod" startAt="9"/>
            </a:pPr>
            <a:r>
              <a:rPr lang="en-GB" sz="1600"/>
              <a:t>NPC Verification of Payee</a:t>
            </a:r>
          </a:p>
          <a:p>
            <a:pPr marL="342900" indent="-342900">
              <a:buFont typeface="+mj-lt"/>
              <a:buAutoNum type="arabicPeriod" startAt="9"/>
            </a:pPr>
            <a:r>
              <a:rPr lang="en-GB" sz="1600"/>
              <a:t>NPC Payment Schemes</a:t>
            </a:r>
          </a:p>
          <a:p>
            <a:pPr marL="342900" indent="-342900">
              <a:buFont typeface="+mj-lt"/>
              <a:buAutoNum type="arabicPeriod" startAt="9"/>
            </a:pPr>
            <a:r>
              <a:rPr lang="en-GB" sz="1600"/>
              <a:t>Position papers </a:t>
            </a:r>
          </a:p>
          <a:p>
            <a:pPr marL="342900" indent="-342900">
              <a:buFont typeface="+mj-lt"/>
              <a:buAutoNum type="arabicPeriod" startAt="9"/>
            </a:pPr>
            <a:r>
              <a:rPr lang="en-GB" sz="1600"/>
              <a:t>NPC going forward </a:t>
            </a:r>
          </a:p>
          <a:p>
            <a:pPr marL="342900" indent="-342900">
              <a:buFont typeface="+mj-lt"/>
              <a:buAutoNum type="arabicPeriod" startAt="9"/>
            </a:pPr>
            <a:r>
              <a:rPr lang="en-GB" sz="1600"/>
              <a:t>Any other business </a:t>
            </a:r>
          </a:p>
          <a:p>
            <a:pPr marL="342900" indent="-342900">
              <a:buFont typeface="+mj-lt"/>
              <a:buAutoNum type="arabicPeriod" startAt="9"/>
            </a:pPr>
            <a:r>
              <a:rPr lang="en-GB" sz="1600" b="1"/>
              <a:t>Closing</a:t>
            </a:r>
          </a:p>
        </p:txBody>
      </p:sp>
      <p:sp>
        <p:nvSpPr>
          <p:cNvPr id="5" name="Platshållare för sidfot 4">
            <a:extLst>
              <a:ext uri="{FF2B5EF4-FFF2-40B4-BE49-F238E27FC236}">
                <a16:creationId xmlns:a16="http://schemas.microsoft.com/office/drawing/2014/main" id="{61BDD82D-A4EC-3843-F92F-31E2B06CFF1D}"/>
              </a:ext>
            </a:extLst>
          </p:cNvPr>
          <p:cNvSpPr>
            <a:spLocks noGrp="1"/>
          </p:cNvSpPr>
          <p:nvPr>
            <p:ph type="ftr" sz="quarter" idx="11"/>
          </p:nvPr>
        </p:nvSpPr>
        <p:spPr/>
        <p:txBody>
          <a:bodyPr/>
          <a:lstStyle/>
          <a:p>
            <a:r>
              <a:rPr lang="en-US"/>
              <a:t>Stakeholder Forum Agenda - Classification: External</a:t>
            </a:r>
            <a:endParaRPr lang="en-GB"/>
          </a:p>
        </p:txBody>
      </p:sp>
      <p:sp>
        <p:nvSpPr>
          <p:cNvPr id="6" name="Platshållare för datum 5">
            <a:extLst>
              <a:ext uri="{FF2B5EF4-FFF2-40B4-BE49-F238E27FC236}">
                <a16:creationId xmlns:a16="http://schemas.microsoft.com/office/drawing/2014/main" id="{6B8B9DF6-0109-6278-0F62-041F8B056039}"/>
              </a:ext>
            </a:extLst>
          </p:cNvPr>
          <p:cNvSpPr>
            <a:spLocks noGrp="1"/>
          </p:cNvSpPr>
          <p:nvPr>
            <p:ph type="dt" sz="half" idx="10"/>
          </p:nvPr>
        </p:nvSpPr>
        <p:spPr/>
        <p:txBody>
          <a:bodyPr/>
          <a:lstStyle/>
          <a:p>
            <a:r>
              <a:rPr lang="sv-SE"/>
              <a:t>26/03/2026</a:t>
            </a:r>
            <a:endParaRPr lang="en-GB"/>
          </a:p>
        </p:txBody>
      </p:sp>
      <p:sp>
        <p:nvSpPr>
          <p:cNvPr id="7" name="Platshållare för bildnummer 6">
            <a:extLst>
              <a:ext uri="{FF2B5EF4-FFF2-40B4-BE49-F238E27FC236}">
                <a16:creationId xmlns:a16="http://schemas.microsoft.com/office/drawing/2014/main" id="{2EE0E5BC-7F57-47F7-FF66-682DD421F736}"/>
              </a:ext>
            </a:extLst>
          </p:cNvPr>
          <p:cNvSpPr>
            <a:spLocks noGrp="1"/>
          </p:cNvSpPr>
          <p:nvPr>
            <p:ph type="sldNum" sz="quarter" idx="12"/>
          </p:nvPr>
        </p:nvSpPr>
        <p:spPr/>
        <p:txBody>
          <a:bodyPr/>
          <a:lstStyle/>
          <a:p>
            <a:fld id="{394EE31B-4DFC-CF4D-9A18-3F5D4D7C7302}" type="slidenum">
              <a:rPr lang="en-GB" smtClean="0"/>
              <a:pPr/>
              <a:t>45</a:t>
            </a:fld>
            <a:endParaRPr lang="en-GB"/>
          </a:p>
        </p:txBody>
      </p:sp>
      <p:pic>
        <p:nvPicPr>
          <p:cNvPr id="11" name="Platshållare för bild 7" descr="En bild som visar person, inomhus, man, stående&#10;&#10;Automatiskt genererad beskrivning">
            <a:extLst>
              <a:ext uri="{FF2B5EF4-FFF2-40B4-BE49-F238E27FC236}">
                <a16:creationId xmlns:a16="http://schemas.microsoft.com/office/drawing/2014/main" id="{2875D415-7B99-7B54-9DAD-36338597C600}"/>
              </a:ext>
            </a:extLst>
          </p:cNvPr>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a:xfrm>
            <a:off x="4572000" y="952574"/>
            <a:ext cx="4156148" cy="3289235"/>
          </a:xfrm>
          <a:prstGeom prst="rect">
            <a:avLst/>
          </a:prstGeom>
        </p:spPr>
      </p:pic>
    </p:spTree>
    <p:extLst>
      <p:ext uri="{BB962C8B-B14F-4D97-AF65-F5344CB8AC3E}">
        <p14:creationId xmlns:p14="http://schemas.microsoft.com/office/powerpoint/2010/main" val="90725270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tshållare för sidfot 4">
            <a:extLst>
              <a:ext uri="{FF2B5EF4-FFF2-40B4-BE49-F238E27FC236}">
                <a16:creationId xmlns:a16="http://schemas.microsoft.com/office/drawing/2014/main" id="{E4380688-72E6-4ADC-8A94-5F7111ACBC39}"/>
              </a:ext>
            </a:extLst>
          </p:cNvPr>
          <p:cNvSpPr>
            <a:spLocks noGrp="1"/>
          </p:cNvSpPr>
          <p:nvPr>
            <p:ph type="ftr" sz="quarter" idx="11"/>
          </p:nvPr>
        </p:nvSpPr>
        <p:spPr/>
        <p:txBody>
          <a:bodyPr/>
          <a:lstStyle/>
          <a:p>
            <a:pPr defTabSz="685800"/>
            <a:r>
              <a:rPr lang="en-US">
                <a:solidFill>
                  <a:prstClr val="white"/>
                </a:solidFill>
                <a:latin typeface="Calibri"/>
              </a:rPr>
              <a:t>Stakeholder Forum Agenda - Classification: External</a:t>
            </a:r>
            <a:endParaRPr lang="en-GB">
              <a:solidFill>
                <a:prstClr val="white"/>
              </a:solidFill>
              <a:latin typeface="Calibri"/>
            </a:endParaRPr>
          </a:p>
        </p:txBody>
      </p:sp>
      <p:sp>
        <p:nvSpPr>
          <p:cNvPr id="6" name="Platshållare för datum 5">
            <a:extLst>
              <a:ext uri="{FF2B5EF4-FFF2-40B4-BE49-F238E27FC236}">
                <a16:creationId xmlns:a16="http://schemas.microsoft.com/office/drawing/2014/main" id="{1A380910-7EBD-44FE-9672-417709035F4C}"/>
              </a:ext>
            </a:extLst>
          </p:cNvPr>
          <p:cNvSpPr>
            <a:spLocks noGrp="1"/>
          </p:cNvSpPr>
          <p:nvPr>
            <p:ph type="dt" sz="half" idx="10"/>
          </p:nvPr>
        </p:nvSpPr>
        <p:spPr/>
        <p:txBody>
          <a:bodyPr/>
          <a:lstStyle/>
          <a:p>
            <a:pPr defTabSz="685800"/>
            <a:r>
              <a:rPr lang="sv-SE">
                <a:solidFill>
                  <a:prstClr val="white"/>
                </a:solidFill>
                <a:latin typeface="Calibri"/>
              </a:rPr>
              <a:t>26/03/2026</a:t>
            </a:r>
            <a:endParaRPr lang="en-GB">
              <a:solidFill>
                <a:prstClr val="white"/>
              </a:solidFill>
              <a:latin typeface="Calibri"/>
            </a:endParaRPr>
          </a:p>
        </p:txBody>
      </p:sp>
      <p:sp>
        <p:nvSpPr>
          <p:cNvPr id="7" name="Platshållare för bildnummer 6">
            <a:extLst>
              <a:ext uri="{FF2B5EF4-FFF2-40B4-BE49-F238E27FC236}">
                <a16:creationId xmlns:a16="http://schemas.microsoft.com/office/drawing/2014/main" id="{0EE70446-92DE-4D65-94B5-B29E28E0FB0B}"/>
              </a:ext>
            </a:extLst>
          </p:cNvPr>
          <p:cNvSpPr>
            <a:spLocks noGrp="1"/>
          </p:cNvSpPr>
          <p:nvPr>
            <p:ph type="sldNum" sz="quarter" idx="12"/>
          </p:nvPr>
        </p:nvSpPr>
        <p:spPr/>
        <p:txBody>
          <a:bodyPr/>
          <a:lstStyle/>
          <a:p>
            <a:pPr defTabSz="685800"/>
            <a:fld id="{394EE31B-4DFC-CF4D-9A18-3F5D4D7C7302}" type="slidenum">
              <a:rPr lang="en-GB">
                <a:solidFill>
                  <a:prstClr val="white"/>
                </a:solidFill>
                <a:latin typeface="Calibri"/>
              </a:rPr>
              <a:pPr defTabSz="685800"/>
              <a:t>46</a:t>
            </a:fld>
            <a:endParaRPr lang="en-GB">
              <a:solidFill>
                <a:prstClr val="white"/>
              </a:solidFill>
              <a:latin typeface="Calibri"/>
            </a:endParaRPr>
          </a:p>
        </p:txBody>
      </p:sp>
      <p:sp>
        <p:nvSpPr>
          <p:cNvPr id="8" name="Platshållare för innehåll 5">
            <a:extLst>
              <a:ext uri="{FF2B5EF4-FFF2-40B4-BE49-F238E27FC236}">
                <a16:creationId xmlns:a16="http://schemas.microsoft.com/office/drawing/2014/main" id="{6F2B376F-1F8D-42E1-B38A-4F128745D326}"/>
              </a:ext>
            </a:extLst>
          </p:cNvPr>
          <p:cNvSpPr txBox="1">
            <a:spLocks/>
          </p:cNvSpPr>
          <p:nvPr/>
        </p:nvSpPr>
        <p:spPr>
          <a:xfrm>
            <a:off x="342700" y="755703"/>
            <a:ext cx="8370889" cy="4934627"/>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342900">
              <a:buNone/>
            </a:pPr>
            <a:endParaRPr lang="en-GB" sz="600">
              <a:solidFill>
                <a:prstClr val="white"/>
              </a:solidFill>
              <a:latin typeface="Calibri"/>
            </a:endParaRPr>
          </a:p>
          <a:p>
            <a:pPr marL="0" indent="0" defTabSz="342900">
              <a:buNone/>
            </a:pPr>
            <a:r>
              <a:rPr lang="en-GB" sz="1800">
                <a:solidFill>
                  <a:prstClr val="white"/>
                </a:solidFill>
                <a:latin typeface="Calibri"/>
              </a:rPr>
              <a:t>More information:</a:t>
            </a:r>
          </a:p>
          <a:p>
            <a:pPr marL="0" indent="0" defTabSz="342900">
              <a:buNone/>
            </a:pPr>
            <a:endParaRPr lang="en-GB" sz="800">
              <a:solidFill>
                <a:prstClr val="white"/>
              </a:solidFill>
              <a:latin typeface="Calibri"/>
            </a:endParaRPr>
          </a:p>
          <a:p>
            <a:pPr marL="0" indent="0" defTabSz="342900">
              <a:buNone/>
            </a:pPr>
            <a:r>
              <a:rPr lang="en-GB" sz="1400">
                <a:solidFill>
                  <a:prstClr val="white"/>
                </a:solidFill>
                <a:latin typeface="Calibri"/>
              </a:rPr>
              <a:t>Web: </a:t>
            </a:r>
            <a:r>
              <a:rPr lang="en-GB" sz="1400">
                <a:solidFill>
                  <a:prstClr val="white"/>
                </a:solidFill>
                <a:latin typeface="Calibri"/>
                <a:hlinkClick r:id="rId2">
                  <a:extLst>
                    <a:ext uri="{A12FA001-AC4F-418D-AE19-62706E023703}">
                      <ahyp:hlinkClr xmlns:ahyp="http://schemas.microsoft.com/office/drawing/2018/hyperlinkcolor" val="tx"/>
                    </a:ext>
                  </a:extLst>
                </a:hlinkClick>
              </a:rPr>
              <a:t>www.nordicpaymentscouncil.org</a:t>
            </a:r>
            <a:r>
              <a:rPr lang="en-GB" sz="1400">
                <a:solidFill>
                  <a:prstClr val="white"/>
                </a:solidFill>
                <a:latin typeface="Calibri"/>
              </a:rPr>
              <a:t> </a:t>
            </a:r>
          </a:p>
          <a:p>
            <a:pPr marL="0" indent="0" defTabSz="342900">
              <a:buNone/>
            </a:pPr>
            <a:r>
              <a:rPr lang="en-GB" sz="1400">
                <a:solidFill>
                  <a:prstClr val="white"/>
                </a:solidFill>
                <a:latin typeface="Calibri"/>
              </a:rPr>
              <a:t>E-mail: </a:t>
            </a:r>
            <a:r>
              <a:rPr lang="en-GB" sz="1400">
                <a:solidFill>
                  <a:prstClr val="white"/>
                </a:solidFill>
                <a:latin typeface="Calibri"/>
                <a:hlinkClick r:id="rId3">
                  <a:extLst>
                    <a:ext uri="{A12FA001-AC4F-418D-AE19-62706E023703}">
                      <ahyp:hlinkClr xmlns:ahyp="http://schemas.microsoft.com/office/drawing/2018/hyperlinkcolor" val="tx"/>
                    </a:ext>
                  </a:extLst>
                </a:hlinkClick>
              </a:rPr>
              <a:t>info@npcouncil.org</a:t>
            </a:r>
            <a:r>
              <a:rPr lang="en-GB" sz="1400">
                <a:solidFill>
                  <a:prstClr val="white"/>
                </a:solidFill>
                <a:latin typeface="Calibri"/>
              </a:rPr>
              <a:t>  </a:t>
            </a:r>
          </a:p>
          <a:p>
            <a:pPr marL="0" indent="0" defTabSz="342900">
              <a:buNone/>
            </a:pPr>
            <a:endParaRPr lang="en-GB" sz="1400">
              <a:solidFill>
                <a:prstClr val="white"/>
              </a:solidFill>
              <a:latin typeface="Calibri"/>
            </a:endParaRPr>
          </a:p>
          <a:p>
            <a:pPr marL="0" indent="0" defTabSz="342900">
              <a:buNone/>
            </a:pPr>
            <a:r>
              <a:rPr lang="en-GB" sz="1400" b="1">
                <a:solidFill>
                  <a:prstClr val="white"/>
                </a:solidFill>
                <a:latin typeface="Calibri"/>
              </a:rPr>
              <a:t>The NPC Secretariat</a:t>
            </a:r>
          </a:p>
          <a:p>
            <a:pPr marL="257175" indent="-257175" defTabSz="342900"/>
            <a:r>
              <a:rPr lang="en-GB" sz="1400">
                <a:solidFill>
                  <a:prstClr val="white"/>
                </a:solidFill>
                <a:latin typeface="Calibri"/>
              </a:rPr>
              <a:t>Secretary General:						Camilla Åkerman		</a:t>
            </a:r>
            <a:r>
              <a:rPr lang="en-GB" sz="1400" u="sng">
                <a:solidFill>
                  <a:prstClr val="white"/>
                </a:solidFill>
                <a:latin typeface="Calibri"/>
                <a:hlinkClick r:id="rId4">
                  <a:extLst>
                    <a:ext uri="{A12FA001-AC4F-418D-AE19-62706E023703}">
                      <ahyp:hlinkClr xmlns:ahyp="http://schemas.microsoft.com/office/drawing/2018/hyperlinkcolor" val="tx"/>
                    </a:ext>
                  </a:extLst>
                </a:hlinkClick>
              </a:rPr>
              <a:t>camilla.akerman@npcouncil.org</a:t>
            </a:r>
            <a:endParaRPr lang="en-GB" sz="1400">
              <a:solidFill>
                <a:prstClr val="white"/>
              </a:solidFill>
              <a:latin typeface="Calibri"/>
            </a:endParaRPr>
          </a:p>
          <a:p>
            <a:pPr marL="0" indent="0" defTabSz="342900">
              <a:buNone/>
            </a:pPr>
            <a:r>
              <a:rPr lang="en-GB" sz="1400">
                <a:solidFill>
                  <a:prstClr val="white"/>
                </a:solidFill>
                <a:latin typeface="Calibri"/>
              </a:rPr>
              <a:t>		</a:t>
            </a:r>
          </a:p>
          <a:p>
            <a:pPr marL="257175" indent="-257175" defTabSz="342900"/>
            <a:r>
              <a:rPr lang="en-GB" sz="1400">
                <a:solidFill>
                  <a:prstClr val="white"/>
                </a:solidFill>
                <a:latin typeface="Calibri"/>
              </a:rPr>
              <a:t>Scheme Manager NCT &amp; NCT Inst:			Maria Brogren 		</a:t>
            </a:r>
            <a:r>
              <a:rPr lang="en-GB" sz="1400">
                <a:solidFill>
                  <a:prstClr val="white"/>
                </a:solidFill>
                <a:latin typeface="Calibri"/>
                <a:hlinkClick r:id="rId5">
                  <a:extLst>
                    <a:ext uri="{A12FA001-AC4F-418D-AE19-62706E023703}">
                      <ahyp:hlinkClr xmlns:ahyp="http://schemas.microsoft.com/office/drawing/2018/hyperlinkcolor" val="tx"/>
                    </a:ext>
                  </a:extLst>
                </a:hlinkClick>
              </a:rPr>
              <a:t>maria.brogren@npcouncil.org</a:t>
            </a:r>
            <a:r>
              <a:rPr lang="en-GB" sz="1400">
                <a:solidFill>
                  <a:prstClr val="white"/>
                </a:solidFill>
                <a:latin typeface="Calibri"/>
              </a:rPr>
              <a:t> 	</a:t>
            </a:r>
          </a:p>
          <a:p>
            <a:pPr marL="257175" indent="-257175" defTabSz="342900"/>
            <a:endParaRPr lang="de-DE" sz="1400">
              <a:solidFill>
                <a:prstClr val="white"/>
              </a:solidFill>
              <a:latin typeface="Calibri"/>
            </a:endParaRPr>
          </a:p>
          <a:p>
            <a:pPr marL="257175" indent="-257175" defTabSz="342900"/>
            <a:r>
              <a:rPr lang="de-DE" sz="1400">
                <a:solidFill>
                  <a:prstClr val="white"/>
                </a:solidFill>
                <a:latin typeface="Calibri"/>
              </a:rPr>
              <a:t>Payment </a:t>
            </a:r>
            <a:r>
              <a:rPr lang="de-DE" sz="1400" err="1">
                <a:solidFill>
                  <a:prstClr val="white"/>
                </a:solidFill>
                <a:latin typeface="Calibri"/>
              </a:rPr>
              <a:t>Specialist</a:t>
            </a:r>
            <a:r>
              <a:rPr lang="de-DE" sz="1400">
                <a:solidFill>
                  <a:prstClr val="white"/>
                </a:solidFill>
                <a:latin typeface="Calibri"/>
              </a:rPr>
              <a:t>:						Johanna </a:t>
            </a:r>
            <a:r>
              <a:rPr lang="de-DE" sz="1400" err="1">
                <a:solidFill>
                  <a:prstClr val="white"/>
                </a:solidFill>
                <a:latin typeface="Calibri"/>
              </a:rPr>
              <a:t>Blomgren</a:t>
            </a:r>
            <a:r>
              <a:rPr lang="de-DE" sz="1400">
                <a:solidFill>
                  <a:prstClr val="white"/>
                </a:solidFill>
                <a:latin typeface="Calibri"/>
              </a:rPr>
              <a:t>		</a:t>
            </a:r>
            <a:r>
              <a:rPr lang="de-DE" sz="1400">
                <a:solidFill>
                  <a:prstClr val="white"/>
                </a:solidFill>
                <a:latin typeface="Calibri"/>
                <a:hlinkClick r:id="rId6">
                  <a:extLst>
                    <a:ext uri="{A12FA001-AC4F-418D-AE19-62706E023703}">
                      <ahyp:hlinkClr xmlns:ahyp="http://schemas.microsoft.com/office/drawing/2018/hyperlinkcolor" val="tx"/>
                    </a:ext>
                  </a:extLst>
                </a:hlinkClick>
              </a:rPr>
              <a:t>johanna.blomgren@npcouncil.org</a:t>
            </a:r>
            <a:r>
              <a:rPr lang="de-DE" sz="1400">
                <a:solidFill>
                  <a:prstClr val="white"/>
                </a:solidFill>
                <a:latin typeface="Calibri"/>
              </a:rPr>
              <a:t> </a:t>
            </a:r>
          </a:p>
          <a:p>
            <a:pPr marL="257175" indent="-257175" defTabSz="342900"/>
            <a:endParaRPr lang="de-DE" sz="1400">
              <a:solidFill>
                <a:prstClr val="white"/>
              </a:solidFill>
              <a:latin typeface="Calibri"/>
            </a:endParaRPr>
          </a:p>
          <a:p>
            <a:pPr marL="257175" indent="-257175" defTabSz="342900"/>
            <a:r>
              <a:rPr lang="de-DE" sz="1400">
                <a:solidFill>
                  <a:prstClr val="white"/>
                </a:solidFill>
                <a:latin typeface="Calibri"/>
              </a:rPr>
              <a:t>Scheme Manager NPC VOP:	                         Paulina Kudlacik		</a:t>
            </a:r>
            <a:r>
              <a:rPr lang="de-DE" sz="1400">
                <a:solidFill>
                  <a:prstClr val="white"/>
                </a:solidFill>
                <a:latin typeface="Calibri"/>
                <a:hlinkClick r:id="rId7">
                  <a:extLst>
                    <a:ext uri="{A12FA001-AC4F-418D-AE19-62706E023703}">
                      <ahyp:hlinkClr xmlns:ahyp="http://schemas.microsoft.com/office/drawing/2018/hyperlinkcolor" val="tx"/>
                    </a:ext>
                  </a:extLst>
                </a:hlinkClick>
              </a:rPr>
              <a:t>paulina.kudlacik@npcouncil.org</a:t>
            </a:r>
          </a:p>
          <a:p>
            <a:pPr marL="2914650" lvl="8" indent="-171450" defTabSz="342900"/>
            <a:endParaRPr lang="en-GB" sz="400">
              <a:solidFill>
                <a:prstClr val="white"/>
              </a:solidFill>
              <a:latin typeface="Calibri"/>
            </a:endParaRPr>
          </a:p>
        </p:txBody>
      </p:sp>
    </p:spTree>
    <p:extLst>
      <p:ext uri="{BB962C8B-B14F-4D97-AF65-F5344CB8AC3E}">
        <p14:creationId xmlns:p14="http://schemas.microsoft.com/office/powerpoint/2010/main" val="261689513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ounded Rectangle 6">
            <a:extLst>
              <a:ext uri="{FF2B5EF4-FFF2-40B4-BE49-F238E27FC236}">
                <a16:creationId xmlns:a16="http://schemas.microsoft.com/office/drawing/2014/main" id="{0833CF17-8615-45C7-B0CB-D8C70F6B44A0}"/>
              </a:ext>
            </a:extLst>
          </p:cNvPr>
          <p:cNvSpPr/>
          <p:nvPr/>
        </p:nvSpPr>
        <p:spPr>
          <a:xfrm>
            <a:off x="6742901" y="3303144"/>
            <a:ext cx="2088000" cy="482400"/>
          </a:xfrm>
          <a:prstGeom prst="roundRect">
            <a:avLst/>
          </a:prstGeom>
          <a:solidFill>
            <a:srgbClr val="4472C4">
              <a:lumMod val="40000"/>
              <a:lumOff val="60000"/>
            </a:srgbClr>
          </a:solidFill>
          <a:ln w="12700" cap="flat"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i="1" u="none" strike="noStrike" kern="0" cap="none" spc="0" normalizeH="0" baseline="0" noProof="0">
                <a:ln>
                  <a:noFill/>
                </a:ln>
                <a:solidFill>
                  <a:schemeClr val="accent1"/>
                </a:solidFill>
                <a:effectLst/>
                <a:uLnTx/>
                <a:uFillTx/>
                <a:latin typeface="Calibri" panose="020F0502020204030204"/>
                <a:ea typeface="Verdana" panose="020B0604030504040204" pitchFamily="34" charset="0"/>
                <a:cs typeface="Verdana" panose="020B0604030504040204" pitchFamily="34" charset="0"/>
              </a:rPr>
              <a:t>Norway</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0" i="1" u="none" strike="noStrike" kern="0" cap="none" spc="0" normalizeH="0" baseline="0" noProof="0">
                <a:ln>
                  <a:noFill/>
                </a:ln>
                <a:solidFill>
                  <a:schemeClr val="accent1"/>
                </a:solidFill>
                <a:effectLst/>
                <a:uLnTx/>
                <a:uFillTx/>
                <a:latin typeface="Calibri" panose="020F0502020204030204"/>
                <a:ea typeface="Verdana" panose="020B0604030504040204" pitchFamily="34" charset="0"/>
                <a:cs typeface="Verdana" panose="020B0604030504040204" pitchFamily="34" charset="0"/>
              </a:rPr>
              <a:t>Bits</a:t>
            </a:r>
            <a:endParaRPr kumimoji="0" lang="en-GB" sz="1050" b="1" i="1" u="none" strike="noStrike" kern="0" cap="none" spc="0" normalizeH="0" baseline="0" noProof="0">
              <a:ln>
                <a:noFill/>
              </a:ln>
              <a:solidFill>
                <a:schemeClr val="accent1"/>
              </a:solidFill>
              <a:effectLst/>
              <a:uLnTx/>
              <a:uFillTx/>
              <a:latin typeface="Calibri" panose="020F0502020204030204"/>
              <a:ea typeface="Verdana" panose="020B0604030504040204" pitchFamily="34" charset="0"/>
              <a:cs typeface="Verdana" panose="020B0604030504040204" pitchFamily="34" charset="0"/>
            </a:endParaRPr>
          </a:p>
        </p:txBody>
      </p:sp>
      <p:sp>
        <p:nvSpPr>
          <p:cNvPr id="30" name="Rubrik 29">
            <a:extLst>
              <a:ext uri="{FF2B5EF4-FFF2-40B4-BE49-F238E27FC236}">
                <a16:creationId xmlns:a16="http://schemas.microsoft.com/office/drawing/2014/main" id="{EDAB41A4-1A29-444B-8641-A2870B626C84}"/>
              </a:ext>
            </a:extLst>
          </p:cNvPr>
          <p:cNvSpPr>
            <a:spLocks noGrp="1"/>
          </p:cNvSpPr>
          <p:nvPr>
            <p:ph type="title"/>
          </p:nvPr>
        </p:nvSpPr>
        <p:spPr/>
        <p:txBody>
          <a:bodyPr/>
          <a:lstStyle/>
          <a:p>
            <a:r>
              <a:rPr lang="en-GB"/>
              <a:t>NPC Organisation</a:t>
            </a:r>
          </a:p>
        </p:txBody>
      </p:sp>
      <p:sp>
        <p:nvSpPr>
          <p:cNvPr id="4" name="Platshållare för sidfot 3">
            <a:extLst>
              <a:ext uri="{FF2B5EF4-FFF2-40B4-BE49-F238E27FC236}">
                <a16:creationId xmlns:a16="http://schemas.microsoft.com/office/drawing/2014/main" id="{5B67C1E1-15FD-44CF-8ACD-DE37E97952CB}"/>
              </a:ext>
            </a:extLst>
          </p:cNvPr>
          <p:cNvSpPr>
            <a:spLocks noGrp="1"/>
          </p:cNvSpPr>
          <p:nvPr>
            <p:ph type="ftr" sz="quarter" idx="11"/>
          </p:nvPr>
        </p:nvSpPr>
        <p:spPr/>
        <p:txBody>
          <a:bodyPr/>
          <a:lstStyle/>
          <a:p>
            <a:r>
              <a:rPr lang="en-US"/>
              <a:t>Stakeholder Forum Agenda - Classification: External</a:t>
            </a:r>
            <a:endParaRPr lang="en-GB"/>
          </a:p>
        </p:txBody>
      </p:sp>
      <p:sp>
        <p:nvSpPr>
          <p:cNvPr id="5" name="Platshållare för datum 4">
            <a:extLst>
              <a:ext uri="{FF2B5EF4-FFF2-40B4-BE49-F238E27FC236}">
                <a16:creationId xmlns:a16="http://schemas.microsoft.com/office/drawing/2014/main" id="{E03A183F-3D78-4B06-9EE4-921FFAF86C90}"/>
              </a:ext>
            </a:extLst>
          </p:cNvPr>
          <p:cNvSpPr>
            <a:spLocks noGrp="1"/>
          </p:cNvSpPr>
          <p:nvPr>
            <p:ph type="dt" sz="half" idx="10"/>
          </p:nvPr>
        </p:nvSpPr>
        <p:spPr/>
        <p:txBody>
          <a:bodyPr/>
          <a:lstStyle/>
          <a:p>
            <a:r>
              <a:rPr lang="sv-SE"/>
              <a:t>26/03/2026</a:t>
            </a:r>
            <a:endParaRPr lang="en-GB"/>
          </a:p>
        </p:txBody>
      </p:sp>
      <p:sp>
        <p:nvSpPr>
          <p:cNvPr id="6" name="Platshållare för bildnummer 5">
            <a:extLst>
              <a:ext uri="{FF2B5EF4-FFF2-40B4-BE49-F238E27FC236}">
                <a16:creationId xmlns:a16="http://schemas.microsoft.com/office/drawing/2014/main" id="{D96956F9-41F3-46B4-B7B7-84E57DA7AE5E}"/>
              </a:ext>
            </a:extLst>
          </p:cNvPr>
          <p:cNvSpPr>
            <a:spLocks noGrp="1"/>
          </p:cNvSpPr>
          <p:nvPr>
            <p:ph type="sldNum" sz="quarter" idx="12"/>
          </p:nvPr>
        </p:nvSpPr>
        <p:spPr/>
        <p:txBody>
          <a:bodyPr/>
          <a:lstStyle/>
          <a:p>
            <a:fld id="{394EE31B-4DFC-CF4D-9A18-3F5D4D7C7302}" type="slidenum">
              <a:rPr lang="en-GB" smtClean="0"/>
              <a:pPr/>
              <a:t>47</a:t>
            </a:fld>
            <a:endParaRPr lang="en-GB"/>
          </a:p>
        </p:txBody>
      </p:sp>
      <p:sp>
        <p:nvSpPr>
          <p:cNvPr id="7" name="Rounded Rectangle 6">
            <a:extLst>
              <a:ext uri="{FF2B5EF4-FFF2-40B4-BE49-F238E27FC236}">
                <a16:creationId xmlns:a16="http://schemas.microsoft.com/office/drawing/2014/main" id="{88BEC5BC-6543-4AA5-A203-2575EA315148}"/>
              </a:ext>
            </a:extLst>
          </p:cNvPr>
          <p:cNvSpPr/>
          <p:nvPr/>
        </p:nvSpPr>
        <p:spPr>
          <a:xfrm>
            <a:off x="3484418" y="1475741"/>
            <a:ext cx="2721600" cy="468000"/>
          </a:xfrm>
          <a:prstGeom prst="roundRect">
            <a:avLst/>
          </a:prstGeom>
          <a:solidFill>
            <a:schemeClr val="tx1"/>
          </a:solidFill>
          <a:ln w="12700" cap="flat"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prstClr val="white"/>
                </a:solidFill>
                <a:effectLst/>
                <a:uLnTx/>
                <a:uFillTx/>
                <a:latin typeface="Calibri" panose="020F0502020204030204"/>
                <a:ea typeface="Verdana" panose="020B0604030504040204" pitchFamily="34" charset="0"/>
                <a:cs typeface="Verdana" panose="020B0604030504040204" pitchFamily="34" charset="0"/>
              </a:rPr>
              <a:t>NPC Board</a:t>
            </a:r>
          </a:p>
        </p:txBody>
      </p:sp>
      <p:cxnSp>
        <p:nvCxnSpPr>
          <p:cNvPr id="8" name="Elbow Connector 42">
            <a:extLst>
              <a:ext uri="{FF2B5EF4-FFF2-40B4-BE49-F238E27FC236}">
                <a16:creationId xmlns:a16="http://schemas.microsoft.com/office/drawing/2014/main" id="{2F38FE36-D061-4CEA-A3C3-573B3AA352D8}"/>
              </a:ext>
            </a:extLst>
          </p:cNvPr>
          <p:cNvCxnSpPr>
            <a:cxnSpLocks/>
            <a:endCxn id="12" idx="0"/>
          </p:cNvCxnSpPr>
          <p:nvPr/>
        </p:nvCxnSpPr>
        <p:spPr>
          <a:xfrm rot="10800000" flipV="1">
            <a:off x="3617887" y="3303144"/>
            <a:ext cx="1227330" cy="124848"/>
          </a:xfrm>
          <a:prstGeom prst="bentConnector2">
            <a:avLst/>
          </a:prstGeom>
          <a:noFill/>
          <a:ln w="6350" cap="flat" cmpd="sng" algn="ctr">
            <a:solidFill>
              <a:srgbClr val="4472C4"/>
            </a:solidFill>
            <a:prstDash val="solid"/>
            <a:miter lim="800000"/>
            <a:tailEnd type="triangle"/>
          </a:ln>
          <a:effectLst/>
        </p:spPr>
      </p:cxnSp>
      <p:sp>
        <p:nvSpPr>
          <p:cNvPr id="9" name="Rounded Rectangle 82">
            <a:extLst>
              <a:ext uri="{FF2B5EF4-FFF2-40B4-BE49-F238E27FC236}">
                <a16:creationId xmlns:a16="http://schemas.microsoft.com/office/drawing/2014/main" id="{B17201D5-F10F-486D-83DB-DF98C86EC20C}"/>
              </a:ext>
            </a:extLst>
          </p:cNvPr>
          <p:cNvSpPr/>
          <p:nvPr/>
        </p:nvSpPr>
        <p:spPr>
          <a:xfrm>
            <a:off x="3484418" y="839063"/>
            <a:ext cx="2721600" cy="468000"/>
          </a:xfrm>
          <a:prstGeom prst="roundRect">
            <a:avLst/>
          </a:prstGeom>
          <a:solidFill>
            <a:schemeClr val="tx1"/>
          </a:solidFill>
          <a:ln w="12700" cap="flat"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prstClr val="white"/>
                </a:solidFill>
                <a:effectLst/>
                <a:uLnTx/>
                <a:uFillTx/>
                <a:latin typeface="Calibri" panose="020F0502020204030204"/>
                <a:ea typeface="Verdana" panose="020B0604030504040204" pitchFamily="34" charset="0"/>
                <a:cs typeface="Verdana" panose="020B0604030504040204" pitchFamily="34" charset="0"/>
              </a:rPr>
              <a:t>General Assembly</a:t>
            </a:r>
            <a:endParaRPr kumimoji="0" lang="en-GB" sz="14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 name="Rounded Rectangle 52">
            <a:extLst>
              <a:ext uri="{FF2B5EF4-FFF2-40B4-BE49-F238E27FC236}">
                <a16:creationId xmlns:a16="http://schemas.microsoft.com/office/drawing/2014/main" id="{5C684DF7-6242-4292-9C6F-B86F21EA4266}"/>
              </a:ext>
            </a:extLst>
          </p:cNvPr>
          <p:cNvSpPr/>
          <p:nvPr/>
        </p:nvSpPr>
        <p:spPr>
          <a:xfrm>
            <a:off x="3484418" y="2749096"/>
            <a:ext cx="2721600" cy="468000"/>
          </a:xfrm>
          <a:prstGeom prst="roundRect">
            <a:avLst/>
          </a:prstGeom>
          <a:solidFill>
            <a:schemeClr val="tx1"/>
          </a:solidFill>
          <a:ln w="12700" cap="flat"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prstClr val="white"/>
                </a:solidFill>
                <a:effectLst/>
                <a:uLnTx/>
                <a:uFillTx/>
                <a:latin typeface="Calibri" panose="020F0502020204030204"/>
                <a:ea typeface="Verdana" panose="020B0604030504040204" pitchFamily="34" charset="0"/>
                <a:cs typeface="Verdana" panose="020B0604030504040204" pitchFamily="34" charset="0"/>
              </a:rPr>
              <a:t>Scheme Management Committee </a:t>
            </a:r>
          </a:p>
        </p:txBody>
      </p:sp>
      <p:cxnSp>
        <p:nvCxnSpPr>
          <p:cNvPr id="11" name="Rak pilkoppling 10">
            <a:extLst>
              <a:ext uri="{FF2B5EF4-FFF2-40B4-BE49-F238E27FC236}">
                <a16:creationId xmlns:a16="http://schemas.microsoft.com/office/drawing/2014/main" id="{E143AE2D-AC02-441D-BEEB-EF43D0848B0E}"/>
              </a:ext>
            </a:extLst>
          </p:cNvPr>
          <p:cNvCxnSpPr>
            <a:cxnSpLocks/>
            <a:stCxn id="9" idx="2"/>
            <a:endCxn id="7" idx="0"/>
          </p:cNvCxnSpPr>
          <p:nvPr/>
        </p:nvCxnSpPr>
        <p:spPr>
          <a:xfrm>
            <a:off x="4845218" y="1307063"/>
            <a:ext cx="0" cy="168678"/>
          </a:xfrm>
          <a:prstGeom prst="straightConnector1">
            <a:avLst/>
          </a:prstGeom>
          <a:noFill/>
          <a:ln w="6350" cap="flat" cmpd="sng" algn="ctr">
            <a:solidFill>
              <a:srgbClr val="4472C4"/>
            </a:solidFill>
            <a:prstDash val="solid"/>
            <a:miter lim="800000"/>
            <a:tailEnd type="triangle"/>
          </a:ln>
          <a:effectLst/>
        </p:spPr>
      </p:cxnSp>
      <p:sp>
        <p:nvSpPr>
          <p:cNvPr id="12" name="Rounded Rectangle 44">
            <a:extLst>
              <a:ext uri="{FF2B5EF4-FFF2-40B4-BE49-F238E27FC236}">
                <a16:creationId xmlns:a16="http://schemas.microsoft.com/office/drawing/2014/main" id="{EC076F13-7547-4211-B1F4-AAC67115304E}"/>
              </a:ext>
            </a:extLst>
          </p:cNvPr>
          <p:cNvSpPr/>
          <p:nvPr/>
        </p:nvSpPr>
        <p:spPr>
          <a:xfrm>
            <a:off x="2888887" y="3427992"/>
            <a:ext cx="1458000" cy="469435"/>
          </a:xfrm>
          <a:prstGeom prst="roundRect">
            <a:avLst/>
          </a:prstGeom>
          <a:solidFill>
            <a:schemeClr val="tx1"/>
          </a:solidFill>
          <a:ln w="12700" cap="flat"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00"/>
            <a:r>
              <a:rPr lang="en-GB" sz="1100" kern="0">
                <a:solidFill>
                  <a:schemeClr val="bg1"/>
                </a:solidFill>
                <a:latin typeface="Calibri" panose="020F0502020204030204"/>
                <a:ea typeface="Verdana"/>
              </a:rPr>
              <a:t>Risk Management Support Group</a:t>
            </a:r>
            <a:endParaRPr lang="en-GB" sz="1100" kern="0">
              <a:solidFill>
                <a:schemeClr val="bg1"/>
              </a:solidFill>
              <a:latin typeface="Calibri" panose="020F0502020204030204"/>
              <a:ea typeface="Verdana"/>
              <a:cs typeface="Calibri"/>
            </a:endParaRPr>
          </a:p>
        </p:txBody>
      </p:sp>
      <p:sp>
        <p:nvSpPr>
          <p:cNvPr id="15" name="Rounded Rectangle 52">
            <a:extLst>
              <a:ext uri="{FF2B5EF4-FFF2-40B4-BE49-F238E27FC236}">
                <a16:creationId xmlns:a16="http://schemas.microsoft.com/office/drawing/2014/main" id="{A820502E-C690-47CB-941A-60CFB560569E}"/>
              </a:ext>
            </a:extLst>
          </p:cNvPr>
          <p:cNvSpPr/>
          <p:nvPr/>
        </p:nvSpPr>
        <p:spPr>
          <a:xfrm>
            <a:off x="2901796" y="4043082"/>
            <a:ext cx="1224000" cy="517747"/>
          </a:xfrm>
          <a:prstGeom prst="roundRect">
            <a:avLst/>
          </a:prstGeom>
          <a:solidFill>
            <a:schemeClr val="tx1"/>
          </a:solidFill>
          <a:ln w="12700" cap="flat"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u="none" strike="noStrike" kern="0" cap="none" spc="0" normalizeH="0" baseline="0" noProof="0">
                <a:ln>
                  <a:noFill/>
                </a:ln>
                <a:solidFill>
                  <a:schemeClr val="bg1"/>
                </a:solidFill>
                <a:effectLst/>
                <a:uLnTx/>
                <a:uFillTx/>
                <a:latin typeface="Calibri" panose="020F0502020204030204"/>
                <a:ea typeface="Verdana"/>
                <a:cs typeface="Verdana"/>
              </a:rPr>
              <a:t>NCT &amp; NCT Ins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u="none" strike="noStrike" kern="0" cap="none" spc="0" normalizeH="0" baseline="0" noProof="0">
                <a:ln>
                  <a:noFill/>
                </a:ln>
                <a:solidFill>
                  <a:schemeClr val="bg1"/>
                </a:solidFill>
                <a:effectLst/>
                <a:uLnTx/>
                <a:uFillTx/>
                <a:latin typeface="Calibri" panose="020F0502020204030204"/>
                <a:ea typeface="Verdana"/>
                <a:cs typeface="Verdana"/>
              </a:rPr>
              <a:t>Working Group</a:t>
            </a:r>
            <a:endParaRPr lang="en-GB" sz="1100" b="0" u="none" strike="noStrike" kern="0" cap="none" spc="0" normalizeH="0" baseline="0" noProof="0">
              <a:ln>
                <a:noFill/>
              </a:ln>
              <a:solidFill>
                <a:schemeClr val="bg1"/>
              </a:solidFill>
              <a:effectLst/>
              <a:uLnTx/>
              <a:uFillTx/>
              <a:latin typeface="Calibri" panose="020F0502020204030204"/>
              <a:ea typeface="Verdana"/>
              <a:cs typeface="Verdana"/>
            </a:endParaRPr>
          </a:p>
        </p:txBody>
      </p:sp>
      <p:cxnSp>
        <p:nvCxnSpPr>
          <p:cNvPr id="17" name="Rak pilkoppling 16">
            <a:extLst>
              <a:ext uri="{FF2B5EF4-FFF2-40B4-BE49-F238E27FC236}">
                <a16:creationId xmlns:a16="http://schemas.microsoft.com/office/drawing/2014/main" id="{FFA79C76-3CBB-448D-B5AA-E3E2CFF7434D}"/>
              </a:ext>
            </a:extLst>
          </p:cNvPr>
          <p:cNvCxnSpPr>
            <a:cxnSpLocks/>
            <a:stCxn id="7" idx="2"/>
            <a:endCxn id="22" idx="0"/>
          </p:cNvCxnSpPr>
          <p:nvPr/>
        </p:nvCxnSpPr>
        <p:spPr>
          <a:xfrm>
            <a:off x="4845218" y="1943741"/>
            <a:ext cx="1" cy="168678"/>
          </a:xfrm>
          <a:prstGeom prst="straightConnector1">
            <a:avLst/>
          </a:prstGeom>
          <a:noFill/>
          <a:ln w="6350" cap="flat" cmpd="sng" algn="ctr">
            <a:solidFill>
              <a:srgbClr val="4472C4"/>
            </a:solidFill>
            <a:prstDash val="solid"/>
            <a:miter lim="800000"/>
            <a:tailEnd type="triangle"/>
          </a:ln>
          <a:effectLst/>
        </p:spPr>
      </p:cxnSp>
      <p:cxnSp>
        <p:nvCxnSpPr>
          <p:cNvPr id="18" name="Rak pilkoppling 17">
            <a:extLst>
              <a:ext uri="{FF2B5EF4-FFF2-40B4-BE49-F238E27FC236}">
                <a16:creationId xmlns:a16="http://schemas.microsoft.com/office/drawing/2014/main" id="{312B2E84-9739-47D4-B071-7E70BDBFF9C6}"/>
              </a:ext>
            </a:extLst>
          </p:cNvPr>
          <p:cNvCxnSpPr>
            <a:cxnSpLocks/>
            <a:stCxn id="22" idx="2"/>
            <a:endCxn id="10" idx="0"/>
          </p:cNvCxnSpPr>
          <p:nvPr/>
        </p:nvCxnSpPr>
        <p:spPr>
          <a:xfrm flipH="1">
            <a:off x="4845218" y="2580419"/>
            <a:ext cx="1" cy="168677"/>
          </a:xfrm>
          <a:prstGeom prst="straightConnector1">
            <a:avLst/>
          </a:prstGeom>
          <a:noFill/>
          <a:ln w="6350" cap="flat" cmpd="sng" algn="ctr">
            <a:solidFill>
              <a:srgbClr val="4472C4"/>
            </a:solidFill>
            <a:prstDash val="solid"/>
            <a:miter lim="800000"/>
            <a:tailEnd type="triangle"/>
          </a:ln>
          <a:effectLst/>
        </p:spPr>
      </p:cxnSp>
      <p:sp>
        <p:nvSpPr>
          <p:cNvPr id="19" name="Rounded Rectangle 82">
            <a:extLst>
              <a:ext uri="{FF2B5EF4-FFF2-40B4-BE49-F238E27FC236}">
                <a16:creationId xmlns:a16="http://schemas.microsoft.com/office/drawing/2014/main" id="{16CC80EF-1D27-404C-85E7-A65C8D9DF593}"/>
              </a:ext>
            </a:extLst>
          </p:cNvPr>
          <p:cNvSpPr/>
          <p:nvPr/>
        </p:nvSpPr>
        <p:spPr>
          <a:xfrm>
            <a:off x="683568" y="2734457"/>
            <a:ext cx="2721600" cy="485033"/>
          </a:xfrm>
          <a:prstGeom prst="roundRect">
            <a:avLst/>
          </a:prstGeom>
          <a:ln>
            <a:no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00"/>
            <a:r>
              <a:rPr lang="en-GB" b="1" kern="0">
                <a:solidFill>
                  <a:prstClr val="white"/>
                </a:solidFill>
                <a:latin typeface="Calibri" panose="020F0502020204030204"/>
                <a:ea typeface="Verdana" panose="020B0604030504040204" pitchFamily="34" charset="0"/>
              </a:rPr>
              <a:t>Stakeholder Forum</a:t>
            </a:r>
          </a:p>
        </p:txBody>
      </p:sp>
      <p:cxnSp>
        <p:nvCxnSpPr>
          <p:cNvPr id="21" name="Elbow Connector 42">
            <a:extLst>
              <a:ext uri="{FF2B5EF4-FFF2-40B4-BE49-F238E27FC236}">
                <a16:creationId xmlns:a16="http://schemas.microsoft.com/office/drawing/2014/main" id="{3D285DC0-8808-4A67-861A-7920EC30BA6D}"/>
              </a:ext>
            </a:extLst>
          </p:cNvPr>
          <p:cNvCxnSpPr>
            <a:cxnSpLocks/>
            <a:stCxn id="7" idx="3"/>
            <a:endCxn id="25" idx="1"/>
          </p:cNvCxnSpPr>
          <p:nvPr/>
        </p:nvCxnSpPr>
        <p:spPr>
          <a:xfrm>
            <a:off x="6206018" y="1709741"/>
            <a:ext cx="323123" cy="746912"/>
          </a:xfrm>
          <a:prstGeom prst="bentConnector3">
            <a:avLst>
              <a:gd name="adj1" fmla="val 50000"/>
            </a:avLst>
          </a:prstGeom>
          <a:noFill/>
          <a:ln w="6350" cap="flat" cmpd="sng" algn="ctr">
            <a:solidFill>
              <a:srgbClr val="4472C4"/>
            </a:solidFill>
            <a:prstDash val="solid"/>
            <a:miter lim="800000"/>
            <a:headEnd type="triangle"/>
            <a:tailEnd type="triangle"/>
          </a:ln>
          <a:effectLst/>
        </p:spPr>
      </p:cxnSp>
      <p:sp>
        <p:nvSpPr>
          <p:cNvPr id="22" name="Rounded Rectangle 8">
            <a:extLst>
              <a:ext uri="{FF2B5EF4-FFF2-40B4-BE49-F238E27FC236}">
                <a16:creationId xmlns:a16="http://schemas.microsoft.com/office/drawing/2014/main" id="{7EE87EC6-683A-459C-B9D1-A23357020AB3}"/>
              </a:ext>
            </a:extLst>
          </p:cNvPr>
          <p:cNvSpPr/>
          <p:nvPr/>
        </p:nvSpPr>
        <p:spPr>
          <a:xfrm>
            <a:off x="3808520" y="2112419"/>
            <a:ext cx="2073397" cy="468000"/>
          </a:xfrm>
          <a:prstGeom prst="roundRect">
            <a:avLst/>
          </a:prstGeom>
          <a:solidFill>
            <a:schemeClr val="tx1"/>
          </a:solidFill>
          <a:ln w="12700" cap="flat"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prstClr val="white"/>
                </a:solidFill>
                <a:effectLst/>
                <a:uLnTx/>
                <a:uFillTx/>
                <a:latin typeface="Calibri" panose="020F0502020204030204"/>
                <a:ea typeface="Verdana" panose="020B0604030504040204" pitchFamily="34" charset="0"/>
                <a:cs typeface="+mn-cs"/>
              </a:rPr>
              <a:t>Secretaria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a:ln>
                  <a:noFill/>
                </a:ln>
                <a:solidFill>
                  <a:prstClr val="white"/>
                </a:solidFill>
                <a:effectLst/>
                <a:uLnTx/>
                <a:uFillTx/>
                <a:latin typeface="Calibri" panose="020F0502020204030204"/>
                <a:ea typeface="Verdana" panose="020B0604030504040204" pitchFamily="34" charset="0"/>
                <a:cs typeface="+mn-cs"/>
              </a:rPr>
              <a:t>Incl. Compliance &amp; Adherence</a:t>
            </a:r>
          </a:p>
        </p:txBody>
      </p:sp>
      <p:sp>
        <p:nvSpPr>
          <p:cNvPr id="25" name="Rounded Rectangle 6">
            <a:extLst>
              <a:ext uri="{FF2B5EF4-FFF2-40B4-BE49-F238E27FC236}">
                <a16:creationId xmlns:a16="http://schemas.microsoft.com/office/drawing/2014/main" id="{D703BBC0-20FE-47A4-9914-BC4A5CA53CD2}"/>
              </a:ext>
            </a:extLst>
          </p:cNvPr>
          <p:cNvSpPr/>
          <p:nvPr/>
        </p:nvSpPr>
        <p:spPr>
          <a:xfrm>
            <a:off x="6529141" y="1020666"/>
            <a:ext cx="2515521" cy="2871973"/>
          </a:xfrm>
          <a:prstGeom prst="roundRect">
            <a:avLst/>
          </a:prstGeom>
          <a:noFill/>
          <a:ln w="12700" cap="flat" cmpd="sng" algn="ctr">
            <a:solidFill>
              <a:sysClr val="windowText" lastClr="000000"/>
            </a:solidFill>
            <a:prstDash val="solid"/>
            <a:miter lim="800000"/>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50" b="1" i="1" u="none" strike="noStrike" kern="0" cap="none" spc="0" normalizeH="0" baseline="0" noProof="0">
                <a:ln>
                  <a:noFill/>
                </a:ln>
                <a:effectLst/>
                <a:uLnTx/>
                <a:uFillTx/>
                <a:latin typeface="Calibri" panose="020F0502020204030204"/>
                <a:ea typeface="Verdana" panose="020B0604030504040204" pitchFamily="34" charset="0"/>
                <a:cs typeface="Verdana" panose="020B0604030504040204" pitchFamily="34" charset="0"/>
              </a:rPr>
              <a:t>Founding Members – representatives in the Board and in working groups. Assisting</a:t>
            </a:r>
            <a:r>
              <a:rPr lang="en-GB" sz="1050" b="1" i="1" kern="0">
                <a:latin typeface="Calibri" panose="020F0502020204030204"/>
                <a:ea typeface="Verdana" panose="020B0604030504040204" pitchFamily="34" charset="0"/>
                <a:cs typeface="Verdana" panose="020B0604030504040204" pitchFamily="34" charset="0"/>
              </a:rPr>
              <a:t> the NPC with local expertise. </a:t>
            </a:r>
            <a:endParaRPr kumimoji="0" lang="en-GB" sz="1050" b="1" i="1" u="none" strike="noStrike" kern="0" cap="none" spc="0" normalizeH="0" baseline="0" noProof="0">
              <a:ln>
                <a:noFill/>
              </a:ln>
              <a:effectLst/>
              <a:uLnTx/>
              <a:uFillTx/>
              <a:latin typeface="Calibri" panose="020F0502020204030204"/>
              <a:ea typeface="Verdana" panose="020B0604030504040204" pitchFamily="34" charset="0"/>
              <a:cs typeface="Verdana" panose="020B0604030504040204" pitchFamily="34" charset="0"/>
            </a:endParaRPr>
          </a:p>
        </p:txBody>
      </p:sp>
      <p:sp>
        <p:nvSpPr>
          <p:cNvPr id="26" name="Rounded Rectangle 6">
            <a:extLst>
              <a:ext uri="{FF2B5EF4-FFF2-40B4-BE49-F238E27FC236}">
                <a16:creationId xmlns:a16="http://schemas.microsoft.com/office/drawing/2014/main" id="{E41AAB43-FB42-4FEB-9FD2-1AB61C3865B5}"/>
              </a:ext>
            </a:extLst>
          </p:cNvPr>
          <p:cNvSpPr/>
          <p:nvPr/>
        </p:nvSpPr>
        <p:spPr>
          <a:xfrm>
            <a:off x="6742901" y="2768809"/>
            <a:ext cx="2088000" cy="482400"/>
          </a:xfrm>
          <a:prstGeom prst="roundRect">
            <a:avLst/>
          </a:prstGeom>
          <a:solidFill>
            <a:schemeClr val="tx1"/>
          </a:solidFill>
          <a:ln w="12700" cap="flat"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i="1" u="none" strike="noStrike" kern="0" cap="none" spc="0" normalizeH="0" baseline="0" noProof="0">
                <a:ln>
                  <a:noFill/>
                </a:ln>
                <a:solidFill>
                  <a:srgbClr val="FFFF00"/>
                </a:solidFill>
                <a:effectLst/>
                <a:uLnTx/>
                <a:uFillTx/>
                <a:latin typeface="Calibri" panose="020F0502020204030204"/>
                <a:ea typeface="Verdana" panose="020B0604030504040204" pitchFamily="34" charset="0"/>
                <a:cs typeface="Verdana" panose="020B0604030504040204" pitchFamily="34" charset="0"/>
              </a:rPr>
              <a:t>Swede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0" i="1" u="none" strike="noStrike" kern="0" cap="none" spc="0" normalizeH="0" baseline="0" noProof="0">
                <a:ln>
                  <a:noFill/>
                </a:ln>
                <a:solidFill>
                  <a:srgbClr val="FFFF00"/>
                </a:solidFill>
                <a:effectLst/>
                <a:uLnTx/>
                <a:uFillTx/>
                <a:latin typeface="Calibri" panose="020F0502020204030204"/>
                <a:ea typeface="Verdana" panose="020B0604030504040204" pitchFamily="34" charset="0"/>
                <a:cs typeface="Verdana" panose="020B0604030504040204" pitchFamily="34" charset="0"/>
              </a:rPr>
              <a:t>Finance Sweden</a:t>
            </a:r>
          </a:p>
        </p:txBody>
      </p:sp>
      <p:sp>
        <p:nvSpPr>
          <p:cNvPr id="28" name="Rounded Rectangle 6">
            <a:extLst>
              <a:ext uri="{FF2B5EF4-FFF2-40B4-BE49-F238E27FC236}">
                <a16:creationId xmlns:a16="http://schemas.microsoft.com/office/drawing/2014/main" id="{83452981-41AB-4B8A-9455-DB4B04047E1A}"/>
              </a:ext>
            </a:extLst>
          </p:cNvPr>
          <p:cNvSpPr/>
          <p:nvPr/>
        </p:nvSpPr>
        <p:spPr>
          <a:xfrm>
            <a:off x="6742901" y="1700139"/>
            <a:ext cx="2088000" cy="482400"/>
          </a:xfrm>
          <a:prstGeom prst="roundRect">
            <a:avLst/>
          </a:prstGeom>
          <a:solidFill>
            <a:schemeClr val="accent1"/>
          </a:solidFill>
          <a:ln w="12700" cap="flat"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i="1" u="none" strike="noStrike" kern="0" cap="none" spc="0" normalizeH="0" baseline="0" noProof="0">
                <a:ln>
                  <a:noFill/>
                </a:ln>
                <a:solidFill>
                  <a:prstClr val="white"/>
                </a:solidFill>
                <a:effectLst/>
                <a:uLnTx/>
                <a:uFillTx/>
                <a:latin typeface="Calibri" panose="020F0502020204030204"/>
                <a:ea typeface="Verdana" panose="020B0604030504040204" pitchFamily="34" charset="0"/>
                <a:cs typeface="Verdana" panose="020B0604030504040204" pitchFamily="34" charset="0"/>
              </a:rPr>
              <a:t>Denmark</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0" i="1" u="none" strike="noStrike" kern="0" cap="none" spc="0" normalizeH="0" baseline="0" noProof="0">
                <a:ln>
                  <a:noFill/>
                </a:ln>
                <a:solidFill>
                  <a:prstClr val="white"/>
                </a:solidFill>
                <a:effectLst/>
                <a:uLnTx/>
                <a:uFillTx/>
                <a:latin typeface="Calibri" panose="020F0502020204030204"/>
                <a:ea typeface="Verdana" panose="020B0604030504040204" pitchFamily="34" charset="0"/>
                <a:cs typeface="Verdana" panose="020B0604030504040204" pitchFamily="34" charset="0"/>
              </a:rPr>
              <a:t>Finance Denmark</a:t>
            </a:r>
            <a:endParaRPr kumimoji="0" lang="en-GB" sz="1050" b="1" i="1" u="none" strike="noStrike" kern="0" cap="none" spc="0" normalizeH="0" baseline="0" noProof="0">
              <a:ln>
                <a:noFill/>
              </a:ln>
              <a:solidFill>
                <a:prstClr val="white"/>
              </a:solidFill>
              <a:effectLst/>
              <a:uLnTx/>
              <a:uFillTx/>
              <a:latin typeface="Calibri" panose="020F0502020204030204"/>
              <a:ea typeface="Verdana" panose="020B0604030504040204" pitchFamily="34" charset="0"/>
              <a:cs typeface="Verdana" panose="020B0604030504040204" pitchFamily="34" charset="0"/>
            </a:endParaRPr>
          </a:p>
        </p:txBody>
      </p:sp>
      <p:sp>
        <p:nvSpPr>
          <p:cNvPr id="29" name="Rounded Rectangle 6">
            <a:extLst>
              <a:ext uri="{FF2B5EF4-FFF2-40B4-BE49-F238E27FC236}">
                <a16:creationId xmlns:a16="http://schemas.microsoft.com/office/drawing/2014/main" id="{FCD1A0C3-E81D-4D25-BF5D-C29EB4DCBB79}"/>
              </a:ext>
            </a:extLst>
          </p:cNvPr>
          <p:cNvSpPr/>
          <p:nvPr/>
        </p:nvSpPr>
        <p:spPr>
          <a:xfrm>
            <a:off x="6742901" y="2234474"/>
            <a:ext cx="2088000" cy="482400"/>
          </a:xfrm>
          <a:prstGeom prst="roundRect">
            <a:avLst/>
          </a:prstGeom>
          <a:solidFill>
            <a:sysClr val="window" lastClr="FFFFFF"/>
          </a:solidFill>
          <a:ln w="12700" cap="flat" cmpd="sng" algn="ctr">
            <a:solidFill>
              <a:schemeClr val="tx1"/>
            </a:solid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i="1" u="none" strike="noStrike" kern="0" cap="none" spc="0" normalizeH="0" baseline="0" noProof="0">
                <a:ln>
                  <a:noFill/>
                </a:ln>
                <a:effectLst/>
                <a:uLnTx/>
                <a:uFillTx/>
                <a:latin typeface="Calibri" panose="020F0502020204030204"/>
                <a:ea typeface="Verdana" panose="020B0604030504040204" pitchFamily="34" charset="0"/>
                <a:cs typeface="Verdana" panose="020B0604030504040204" pitchFamily="34" charset="0"/>
              </a:rPr>
              <a:t>Finlan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0" i="1" u="none" strike="noStrike" kern="0" cap="none" spc="0" normalizeH="0" baseline="0" noProof="0">
                <a:ln>
                  <a:noFill/>
                </a:ln>
                <a:effectLst/>
                <a:uLnTx/>
                <a:uFillTx/>
                <a:latin typeface="Calibri" panose="020F0502020204030204"/>
                <a:ea typeface="Verdana" panose="020B0604030504040204" pitchFamily="34" charset="0"/>
                <a:cs typeface="Verdana" panose="020B0604030504040204" pitchFamily="34" charset="0"/>
              </a:rPr>
              <a:t>Finance Finland</a:t>
            </a:r>
            <a:endParaRPr kumimoji="0" lang="en-GB" sz="1050" b="1" i="1" u="none" strike="noStrike" kern="0" cap="none" spc="0" normalizeH="0" baseline="0" noProof="0">
              <a:ln>
                <a:noFill/>
              </a:ln>
              <a:effectLst/>
              <a:uLnTx/>
              <a:uFillTx/>
              <a:latin typeface="Calibri" panose="020F0502020204030204"/>
              <a:ea typeface="Verdana" panose="020B0604030504040204" pitchFamily="34" charset="0"/>
              <a:cs typeface="Verdana" panose="020B0604030504040204" pitchFamily="34" charset="0"/>
            </a:endParaRPr>
          </a:p>
        </p:txBody>
      </p:sp>
      <p:sp>
        <p:nvSpPr>
          <p:cNvPr id="38" name="Rounded Rectangle 6">
            <a:extLst>
              <a:ext uri="{FF2B5EF4-FFF2-40B4-BE49-F238E27FC236}">
                <a16:creationId xmlns:a16="http://schemas.microsoft.com/office/drawing/2014/main" id="{FA679925-F67B-4F57-A730-B925FF7ADDE3}"/>
              </a:ext>
            </a:extLst>
          </p:cNvPr>
          <p:cNvSpPr/>
          <p:nvPr/>
        </p:nvSpPr>
        <p:spPr>
          <a:xfrm>
            <a:off x="766368" y="1475741"/>
            <a:ext cx="2556000" cy="468000"/>
          </a:xfrm>
          <a:prstGeom prst="roundRect">
            <a:avLst/>
          </a:prstGeom>
          <a:solidFill>
            <a:schemeClr val="tx1"/>
          </a:solidFill>
          <a:ln w="12700" cap="flat"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400" b="1" kern="0">
                <a:solidFill>
                  <a:prstClr val="white"/>
                </a:solidFill>
                <a:latin typeface="Calibri" panose="020F0502020204030204"/>
                <a:ea typeface="Verdana" panose="020B0604030504040204" pitchFamily="34" charset="0"/>
                <a:cs typeface="Verdana" panose="020B0604030504040204" pitchFamily="34" charset="0"/>
              </a:rPr>
              <a:t>Nominating Committee</a:t>
            </a:r>
            <a:endParaRPr kumimoji="0" lang="en-GB" sz="1400" b="1" i="0" u="none" strike="noStrike" kern="0" cap="none" spc="0" normalizeH="0" baseline="0" noProof="0">
              <a:ln>
                <a:noFill/>
              </a:ln>
              <a:solidFill>
                <a:prstClr val="white"/>
              </a:solidFill>
              <a:effectLst/>
              <a:uLnTx/>
              <a:uFillTx/>
              <a:latin typeface="Calibri" panose="020F0502020204030204"/>
              <a:ea typeface="Verdana" panose="020B0604030504040204" pitchFamily="34" charset="0"/>
              <a:cs typeface="Verdana" panose="020B0604030504040204" pitchFamily="34" charset="0"/>
            </a:endParaRPr>
          </a:p>
        </p:txBody>
      </p:sp>
      <p:cxnSp>
        <p:nvCxnSpPr>
          <p:cNvPr id="39" name="Elbow Connector 42">
            <a:extLst>
              <a:ext uri="{FF2B5EF4-FFF2-40B4-BE49-F238E27FC236}">
                <a16:creationId xmlns:a16="http://schemas.microsoft.com/office/drawing/2014/main" id="{E7E25B7E-200C-49C4-9260-78030B1C4EB9}"/>
              </a:ext>
            </a:extLst>
          </p:cNvPr>
          <p:cNvCxnSpPr>
            <a:cxnSpLocks/>
            <a:stCxn id="9" idx="2"/>
            <a:endCxn id="38" idx="0"/>
          </p:cNvCxnSpPr>
          <p:nvPr/>
        </p:nvCxnSpPr>
        <p:spPr>
          <a:xfrm rot="5400000">
            <a:off x="3360454" y="-9023"/>
            <a:ext cx="168678" cy="2800850"/>
          </a:xfrm>
          <a:prstGeom prst="bentConnector3">
            <a:avLst>
              <a:gd name="adj1" fmla="val 35447"/>
            </a:avLst>
          </a:prstGeom>
          <a:noFill/>
          <a:ln w="6350" cap="flat" cmpd="sng" algn="ctr">
            <a:solidFill>
              <a:srgbClr val="4472C4"/>
            </a:solidFill>
            <a:prstDash val="solid"/>
            <a:miter lim="800000"/>
            <a:tailEnd type="triangle"/>
          </a:ln>
          <a:effectLst/>
        </p:spPr>
      </p:cxnSp>
      <p:sp>
        <p:nvSpPr>
          <p:cNvPr id="31" name="Rounded Rectangle 44">
            <a:extLst>
              <a:ext uri="{FF2B5EF4-FFF2-40B4-BE49-F238E27FC236}">
                <a16:creationId xmlns:a16="http://schemas.microsoft.com/office/drawing/2014/main" id="{6BB9CE2F-DD7D-420B-87B4-4261D3282AE4}"/>
              </a:ext>
            </a:extLst>
          </p:cNvPr>
          <p:cNvSpPr/>
          <p:nvPr/>
        </p:nvSpPr>
        <p:spPr>
          <a:xfrm>
            <a:off x="1350306" y="3427992"/>
            <a:ext cx="1458000" cy="469435"/>
          </a:xfrm>
          <a:prstGeom prst="roundRect">
            <a:avLst/>
          </a:prstGeom>
          <a:solidFill>
            <a:schemeClr val="tx1"/>
          </a:solidFill>
          <a:ln w="12700" cap="flat"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00"/>
            <a:r>
              <a:rPr lang="en-GB" sz="1100" kern="0">
                <a:solidFill>
                  <a:schemeClr val="bg1"/>
                </a:solidFill>
                <a:latin typeface="Calibri" panose="020F0502020204030204"/>
                <a:ea typeface="Verdana"/>
              </a:rPr>
              <a:t>Legal Support Group</a:t>
            </a:r>
            <a:endParaRPr lang="en-GB" sz="1100" kern="0">
              <a:solidFill>
                <a:schemeClr val="bg1"/>
              </a:solidFill>
              <a:latin typeface="Calibri" panose="020F0502020204030204"/>
              <a:ea typeface="Verdana"/>
              <a:cs typeface="Calibri"/>
            </a:endParaRPr>
          </a:p>
        </p:txBody>
      </p:sp>
      <p:cxnSp>
        <p:nvCxnSpPr>
          <p:cNvPr id="34" name="Elbow Connector 42">
            <a:extLst>
              <a:ext uri="{FF2B5EF4-FFF2-40B4-BE49-F238E27FC236}">
                <a16:creationId xmlns:a16="http://schemas.microsoft.com/office/drawing/2014/main" id="{7EDCC50D-6907-41BD-B723-2148A600AD77}"/>
              </a:ext>
            </a:extLst>
          </p:cNvPr>
          <p:cNvCxnSpPr>
            <a:cxnSpLocks/>
            <a:endCxn id="31" idx="0"/>
          </p:cNvCxnSpPr>
          <p:nvPr/>
        </p:nvCxnSpPr>
        <p:spPr>
          <a:xfrm rot="5400000">
            <a:off x="3359208" y="1941982"/>
            <a:ext cx="206108" cy="2765912"/>
          </a:xfrm>
          <a:prstGeom prst="bentConnector3">
            <a:avLst>
              <a:gd name="adj1" fmla="val 38090"/>
            </a:avLst>
          </a:prstGeom>
          <a:noFill/>
          <a:ln w="6350" cap="flat" cmpd="sng" algn="ctr">
            <a:solidFill>
              <a:srgbClr val="4472C4"/>
            </a:solidFill>
            <a:prstDash val="solid"/>
            <a:miter lim="800000"/>
            <a:tailEnd type="triangle"/>
          </a:ln>
          <a:effectLst/>
        </p:spPr>
      </p:cxnSp>
      <p:sp>
        <p:nvSpPr>
          <p:cNvPr id="36" name="Rounded Rectangle 52">
            <a:extLst>
              <a:ext uri="{FF2B5EF4-FFF2-40B4-BE49-F238E27FC236}">
                <a16:creationId xmlns:a16="http://schemas.microsoft.com/office/drawing/2014/main" id="{14596A4A-ABEA-4F77-9D19-AFD4FC49E386}"/>
              </a:ext>
            </a:extLst>
          </p:cNvPr>
          <p:cNvSpPr/>
          <p:nvPr/>
        </p:nvSpPr>
        <p:spPr>
          <a:xfrm>
            <a:off x="5496465" y="4048248"/>
            <a:ext cx="1224000" cy="517747"/>
          </a:xfrm>
          <a:prstGeom prst="roundRect">
            <a:avLst/>
          </a:prstGeom>
          <a:solidFill>
            <a:schemeClr val="tx1"/>
          </a:solidFill>
          <a:ln w="12700" cap="flat"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00"/>
            <a:r>
              <a:rPr lang="en-GB" sz="1100" kern="0">
                <a:solidFill>
                  <a:schemeClr val="bg1"/>
                </a:solidFill>
                <a:latin typeface="Calibri" panose="020F0502020204030204"/>
                <a:ea typeface="Verdana"/>
              </a:rPr>
              <a:t>NVOP</a:t>
            </a:r>
          </a:p>
          <a:p>
            <a:pPr algn="ctr" defTabSz="914400"/>
            <a:r>
              <a:rPr lang="en-GB" sz="1100" kern="0">
                <a:solidFill>
                  <a:schemeClr val="bg1"/>
                </a:solidFill>
                <a:latin typeface="Calibri" panose="020F0502020204030204"/>
                <a:ea typeface="Verdana"/>
              </a:rPr>
              <a:t>Working Group</a:t>
            </a:r>
          </a:p>
        </p:txBody>
      </p:sp>
      <p:cxnSp>
        <p:nvCxnSpPr>
          <p:cNvPr id="55" name="Elbow Connector 42">
            <a:extLst>
              <a:ext uri="{FF2B5EF4-FFF2-40B4-BE49-F238E27FC236}">
                <a16:creationId xmlns:a16="http://schemas.microsoft.com/office/drawing/2014/main" id="{C90FEEF1-E41A-4883-8662-85C8AA810A61}"/>
              </a:ext>
            </a:extLst>
          </p:cNvPr>
          <p:cNvCxnSpPr>
            <a:cxnSpLocks/>
          </p:cNvCxnSpPr>
          <p:nvPr/>
        </p:nvCxnSpPr>
        <p:spPr>
          <a:xfrm>
            <a:off x="4845217" y="3930485"/>
            <a:ext cx="1263248" cy="103402"/>
          </a:xfrm>
          <a:prstGeom prst="bentConnector2">
            <a:avLst/>
          </a:prstGeom>
          <a:noFill/>
          <a:ln w="6350" cap="flat" cmpd="sng" algn="ctr">
            <a:solidFill>
              <a:srgbClr val="4472C4"/>
            </a:solidFill>
            <a:prstDash val="solid"/>
            <a:miter lim="800000"/>
            <a:tailEnd type="triangle"/>
          </a:ln>
          <a:effectLst/>
        </p:spPr>
      </p:cxnSp>
      <p:cxnSp>
        <p:nvCxnSpPr>
          <p:cNvPr id="56" name="Elbow Connector 42">
            <a:extLst>
              <a:ext uri="{FF2B5EF4-FFF2-40B4-BE49-F238E27FC236}">
                <a16:creationId xmlns:a16="http://schemas.microsoft.com/office/drawing/2014/main" id="{586E9756-335E-497F-B4D5-7D99F17A66A7}"/>
              </a:ext>
            </a:extLst>
          </p:cNvPr>
          <p:cNvCxnSpPr>
            <a:cxnSpLocks/>
            <a:stCxn id="10" idx="2"/>
            <a:endCxn id="15" idx="0"/>
          </p:cNvCxnSpPr>
          <p:nvPr/>
        </p:nvCxnSpPr>
        <p:spPr>
          <a:xfrm rot="5400000">
            <a:off x="3766514" y="2964378"/>
            <a:ext cx="825986" cy="1331422"/>
          </a:xfrm>
          <a:prstGeom prst="bentConnector3">
            <a:avLst>
              <a:gd name="adj1" fmla="val 86515"/>
            </a:avLst>
          </a:prstGeom>
          <a:noFill/>
          <a:ln w="6350" cap="flat" cmpd="sng" algn="ctr">
            <a:solidFill>
              <a:srgbClr val="4472C4"/>
            </a:solidFill>
            <a:prstDash val="solid"/>
            <a:miter lim="800000"/>
            <a:tailEnd type="triangle"/>
          </a:ln>
          <a:effectLst/>
        </p:spPr>
      </p:cxnSp>
      <p:sp>
        <p:nvSpPr>
          <p:cNvPr id="2" name="Rounded Rectangle 82">
            <a:extLst>
              <a:ext uri="{FF2B5EF4-FFF2-40B4-BE49-F238E27FC236}">
                <a16:creationId xmlns:a16="http://schemas.microsoft.com/office/drawing/2014/main" id="{F7A6539D-886B-839B-63E6-735DB185BDC4}"/>
              </a:ext>
            </a:extLst>
          </p:cNvPr>
          <p:cNvSpPr/>
          <p:nvPr/>
        </p:nvSpPr>
        <p:spPr>
          <a:xfrm>
            <a:off x="683568" y="2095386"/>
            <a:ext cx="2721600" cy="485033"/>
          </a:xfrm>
          <a:prstGeom prst="roundRect">
            <a:avLst/>
          </a:prstGeom>
          <a:noFill/>
          <a:ln>
            <a:solidFill>
              <a:schemeClr val="accent5"/>
            </a:solidFill>
            <a:prstDash val="dash"/>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00"/>
            <a:r>
              <a:rPr lang="en-GB" b="1" kern="0">
                <a:solidFill>
                  <a:schemeClr val="accent5"/>
                </a:solidFill>
                <a:latin typeface="Calibri" panose="020F0502020204030204"/>
                <a:ea typeface="Verdana" panose="020B0604030504040204" pitchFamily="34" charset="0"/>
              </a:rPr>
              <a:t>CSM Forum</a:t>
            </a:r>
          </a:p>
        </p:txBody>
      </p:sp>
    </p:spTree>
    <p:extLst>
      <p:ext uri="{BB962C8B-B14F-4D97-AF65-F5344CB8AC3E}">
        <p14:creationId xmlns:p14="http://schemas.microsoft.com/office/powerpoint/2010/main" val="25930104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AD07DF9-2796-245E-7679-38F2DED25A79}"/>
              </a:ext>
            </a:extLst>
          </p:cNvPr>
          <p:cNvPicPr>
            <a:picLocks noChangeAspect="1"/>
          </p:cNvPicPr>
          <p:nvPr/>
        </p:nvPicPr>
        <p:blipFill>
          <a:blip r:embed="rId2"/>
          <a:stretch>
            <a:fillRect/>
          </a:stretch>
        </p:blipFill>
        <p:spPr>
          <a:xfrm>
            <a:off x="6169720" y="1238250"/>
            <a:ext cx="2582168" cy="1303994"/>
          </a:xfrm>
          <a:prstGeom prst="rect">
            <a:avLst/>
          </a:prstGeom>
          <a:noFill/>
          <a:effectLst>
            <a:outerShdw blurRad="50800" dist="38100" dir="2700000" algn="tl" rotWithShape="0">
              <a:prstClr val="black">
                <a:alpha val="40000"/>
              </a:prstClr>
            </a:outerShdw>
          </a:effectLst>
        </p:spPr>
      </p:pic>
      <p:sp>
        <p:nvSpPr>
          <p:cNvPr id="3" name="Title 2">
            <a:extLst>
              <a:ext uri="{FF2B5EF4-FFF2-40B4-BE49-F238E27FC236}">
                <a16:creationId xmlns:a16="http://schemas.microsoft.com/office/drawing/2014/main" id="{18C691F2-5FEE-6E76-2CE7-70521FEFEBBC}"/>
              </a:ext>
            </a:extLst>
          </p:cNvPr>
          <p:cNvSpPr>
            <a:spLocks noGrp="1"/>
          </p:cNvSpPr>
          <p:nvPr>
            <p:ph type="title"/>
          </p:nvPr>
        </p:nvSpPr>
        <p:spPr>
          <a:xfrm>
            <a:off x="380999" y="231140"/>
            <a:ext cx="8370889" cy="793918"/>
          </a:xfrm>
        </p:spPr>
        <p:txBody>
          <a:bodyPr anchor="t">
            <a:normAutofit/>
          </a:bodyPr>
          <a:lstStyle/>
          <a:p>
            <a:r>
              <a:rPr lang="sv-SE"/>
              <a:t>NPC Vision and Strategy 2026-2029</a:t>
            </a:r>
          </a:p>
        </p:txBody>
      </p:sp>
      <p:sp>
        <p:nvSpPr>
          <p:cNvPr id="14" name="Text Placeholder 3">
            <a:extLst>
              <a:ext uri="{FF2B5EF4-FFF2-40B4-BE49-F238E27FC236}">
                <a16:creationId xmlns:a16="http://schemas.microsoft.com/office/drawing/2014/main" id="{9FF8F68E-3306-201D-0858-3DC5EDB467A6}"/>
              </a:ext>
            </a:extLst>
          </p:cNvPr>
          <p:cNvSpPr>
            <a:spLocks noGrp="1"/>
          </p:cNvSpPr>
          <p:nvPr>
            <p:ph type="body" sz="quarter" idx="17"/>
          </p:nvPr>
        </p:nvSpPr>
        <p:spPr>
          <a:xfrm>
            <a:off x="312418" y="1139190"/>
            <a:ext cx="5688932" cy="2507273"/>
          </a:xfrm>
        </p:spPr>
        <p:txBody>
          <a:bodyPr/>
          <a:lstStyle/>
          <a:p>
            <a:pPr marL="0" indent="0">
              <a:buNone/>
            </a:pPr>
            <a:r>
              <a:rPr lang="en-US" sz="1600" b="1"/>
              <a:t>NPC Strategy 2026–2029 – Key Priorities</a:t>
            </a:r>
          </a:p>
          <a:p>
            <a:r>
              <a:rPr lang="en-US" sz="1400" b="1"/>
              <a:t>Full rollout of NCT and NCT Inst</a:t>
            </a:r>
            <a:r>
              <a:rPr lang="en-US" sz="1400"/>
              <a:t> across all scheme currencies by 2029</a:t>
            </a:r>
          </a:p>
          <a:p>
            <a:r>
              <a:rPr lang="en-US" sz="1400" b="1"/>
              <a:t>Launch of NPC Verification of Payee </a:t>
            </a:r>
            <a:r>
              <a:rPr lang="en-US" sz="1400"/>
              <a:t>to strengthen compliance and fraud prevention </a:t>
            </a:r>
          </a:p>
          <a:p>
            <a:r>
              <a:rPr lang="en-US" sz="1400" b="1"/>
              <a:t>Launch of NPC One‑Leg Out Instant Credit Transfer </a:t>
            </a:r>
            <a:r>
              <a:rPr lang="en-US" sz="1400"/>
              <a:t>to support cross‑border payments</a:t>
            </a:r>
          </a:p>
          <a:p>
            <a:r>
              <a:rPr lang="en-US" sz="1400" b="1"/>
              <a:t>High‑quality operation and maintenance </a:t>
            </a:r>
            <a:r>
              <a:rPr lang="en-US" sz="1400"/>
              <a:t>of existing schemes, aligned with SEPA and Nordic needs</a:t>
            </a:r>
          </a:p>
          <a:p>
            <a:pPr lvl="0"/>
            <a:r>
              <a:rPr lang="en-GB" sz="1400" b="1"/>
              <a:t>Strong member engagement and collaboration </a:t>
            </a:r>
            <a:r>
              <a:rPr lang="en-GB" sz="1400"/>
              <a:t>with Clearing and Settlement Mechanisms (CSMs), Routing and/or Verification Mechanisms (RVMs), and stakeholders</a:t>
            </a:r>
            <a:endParaRPr lang="sv-SE" sz="1400"/>
          </a:p>
          <a:p>
            <a:r>
              <a:rPr lang="en-US" sz="1400" b="1"/>
              <a:t>Enhanced anti‑fraud capabilities </a:t>
            </a:r>
            <a:r>
              <a:rPr lang="en-US" sz="1400"/>
              <a:t>across all NPC schemes</a:t>
            </a:r>
          </a:p>
        </p:txBody>
      </p:sp>
      <p:sp>
        <p:nvSpPr>
          <p:cNvPr id="5" name="Footer Placeholder 4">
            <a:extLst>
              <a:ext uri="{FF2B5EF4-FFF2-40B4-BE49-F238E27FC236}">
                <a16:creationId xmlns:a16="http://schemas.microsoft.com/office/drawing/2014/main" id="{96F2EA8C-D2A8-8BC1-C65A-DC094B052419}"/>
              </a:ext>
            </a:extLst>
          </p:cNvPr>
          <p:cNvSpPr>
            <a:spLocks noGrp="1"/>
          </p:cNvSpPr>
          <p:nvPr>
            <p:ph type="ftr" sz="quarter" idx="11"/>
          </p:nvPr>
        </p:nvSpPr>
        <p:spPr>
          <a:xfrm>
            <a:off x="5824413" y="4483997"/>
            <a:ext cx="2509889" cy="382813"/>
          </a:xfrm>
        </p:spPr>
        <p:txBody>
          <a:bodyPr anchor="b">
            <a:normAutofit/>
          </a:bodyPr>
          <a:lstStyle/>
          <a:p>
            <a:pPr>
              <a:spcAft>
                <a:spcPts val="600"/>
              </a:spcAft>
            </a:pPr>
            <a:r>
              <a:rPr lang="en-US"/>
              <a:t>Stakeholder Forum Agenda - Classification: External</a:t>
            </a:r>
            <a:endParaRPr lang="sv-SE"/>
          </a:p>
        </p:txBody>
      </p:sp>
      <p:sp>
        <p:nvSpPr>
          <p:cNvPr id="6" name="Date Placeholder 5">
            <a:extLst>
              <a:ext uri="{FF2B5EF4-FFF2-40B4-BE49-F238E27FC236}">
                <a16:creationId xmlns:a16="http://schemas.microsoft.com/office/drawing/2014/main" id="{D534A315-5806-F838-3FE7-9838D6E41F2C}"/>
              </a:ext>
            </a:extLst>
          </p:cNvPr>
          <p:cNvSpPr>
            <a:spLocks noGrp="1"/>
          </p:cNvSpPr>
          <p:nvPr>
            <p:ph type="dt" sz="half" idx="10"/>
          </p:nvPr>
        </p:nvSpPr>
        <p:spPr>
          <a:xfrm>
            <a:off x="4734099" y="4495861"/>
            <a:ext cx="1018558" cy="370949"/>
          </a:xfrm>
        </p:spPr>
        <p:txBody>
          <a:bodyPr anchor="b">
            <a:normAutofit/>
          </a:bodyPr>
          <a:lstStyle/>
          <a:p>
            <a:pPr>
              <a:spcAft>
                <a:spcPts val="600"/>
              </a:spcAft>
            </a:pPr>
            <a:r>
              <a:rPr lang="sv-SE"/>
              <a:t>26/03/2026</a:t>
            </a:r>
          </a:p>
        </p:txBody>
      </p:sp>
      <p:sp>
        <p:nvSpPr>
          <p:cNvPr id="7" name="Slide Number Placeholder 6">
            <a:extLst>
              <a:ext uri="{FF2B5EF4-FFF2-40B4-BE49-F238E27FC236}">
                <a16:creationId xmlns:a16="http://schemas.microsoft.com/office/drawing/2014/main" id="{4CE924D2-C4BF-EE69-43C4-85307ED6BA33}"/>
              </a:ext>
            </a:extLst>
          </p:cNvPr>
          <p:cNvSpPr>
            <a:spLocks noGrp="1"/>
          </p:cNvSpPr>
          <p:nvPr>
            <p:ph type="sldNum" sz="quarter" idx="12"/>
          </p:nvPr>
        </p:nvSpPr>
        <p:spPr>
          <a:xfrm>
            <a:off x="8383230" y="4469824"/>
            <a:ext cx="368658" cy="396987"/>
          </a:xfrm>
        </p:spPr>
        <p:txBody>
          <a:bodyPr anchor="b">
            <a:normAutofit/>
          </a:bodyPr>
          <a:lstStyle/>
          <a:p>
            <a:pPr>
              <a:spcAft>
                <a:spcPts val="600"/>
              </a:spcAft>
            </a:pPr>
            <a:fld id="{394EE31B-4DFC-CF4D-9A18-3F5D4D7C7302}" type="slidenum">
              <a:rPr lang="sv-SE" smtClean="0"/>
              <a:pPr>
                <a:spcAft>
                  <a:spcPts val="600"/>
                </a:spcAft>
              </a:pPr>
              <a:t>5</a:t>
            </a:fld>
            <a:endParaRPr lang="sv-SE"/>
          </a:p>
        </p:txBody>
      </p:sp>
      <p:sp>
        <p:nvSpPr>
          <p:cNvPr id="11" name="TextBox 10">
            <a:extLst>
              <a:ext uri="{FF2B5EF4-FFF2-40B4-BE49-F238E27FC236}">
                <a16:creationId xmlns:a16="http://schemas.microsoft.com/office/drawing/2014/main" id="{BB391394-28D3-66AC-9633-DEE9A7E1ACF8}"/>
              </a:ext>
            </a:extLst>
          </p:cNvPr>
          <p:cNvSpPr txBox="1"/>
          <p:nvPr/>
        </p:nvSpPr>
        <p:spPr>
          <a:xfrm>
            <a:off x="312418" y="3911086"/>
            <a:ext cx="8370889" cy="584775"/>
          </a:xfrm>
          <a:prstGeom prst="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r>
              <a:rPr lang="en-US" sz="1600" b="1"/>
              <a:t>Outcome: </a:t>
            </a:r>
            <a:r>
              <a:rPr lang="en-US" sz="1600"/>
              <a:t>Positioning NPC as a leader in Nordic payment </a:t>
            </a:r>
            <a:r>
              <a:rPr lang="en-US" sz="1600" err="1"/>
              <a:t>harmonisation</a:t>
            </a:r>
            <a:r>
              <a:rPr lang="en-US" sz="1600"/>
              <a:t>, delivering a secure, efficient, and interoperable payment ecosystem.</a:t>
            </a:r>
            <a:endParaRPr lang="sv-SE" sz="1600"/>
          </a:p>
        </p:txBody>
      </p:sp>
    </p:spTree>
    <p:extLst>
      <p:ext uri="{BB962C8B-B14F-4D97-AF65-F5344CB8AC3E}">
        <p14:creationId xmlns:p14="http://schemas.microsoft.com/office/powerpoint/2010/main" val="23522487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4">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4">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4">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11">
                                            <p:bg/>
                                          </p:spTgt>
                                        </p:tgtEl>
                                        <p:attrNameLst>
                                          <p:attrName>style.visibility</p:attrName>
                                        </p:attrNameLst>
                                      </p:cBhvr>
                                      <p:to>
                                        <p:strVal val="visible"/>
                                      </p:to>
                                    </p:set>
                                    <p:anim calcmode="lin" valueType="num">
                                      <p:cBhvr additive="base">
                                        <p:cTn id="31" dur="500" fill="hold"/>
                                        <p:tgtEl>
                                          <p:spTgt spid="11">
                                            <p:bg/>
                                          </p:spTgt>
                                        </p:tgtEl>
                                        <p:attrNameLst>
                                          <p:attrName>ppt_x</p:attrName>
                                        </p:attrNameLst>
                                      </p:cBhvr>
                                      <p:tavLst>
                                        <p:tav tm="0">
                                          <p:val>
                                            <p:strVal val="#ppt_x"/>
                                          </p:val>
                                        </p:tav>
                                        <p:tav tm="100000">
                                          <p:val>
                                            <p:strVal val="#ppt_x"/>
                                          </p:val>
                                        </p:tav>
                                      </p:tavLst>
                                    </p:anim>
                                    <p:anim calcmode="lin" valueType="num">
                                      <p:cBhvr additive="base">
                                        <p:cTn id="32" dur="500" fill="hold"/>
                                        <p:tgtEl>
                                          <p:spTgt spid="11">
                                            <p:bg/>
                                          </p:spTgt>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11">
                                            <p:txEl>
                                              <p:pRg st="0" end="0"/>
                                            </p:txEl>
                                          </p:spTgt>
                                        </p:tgtEl>
                                        <p:attrNameLst>
                                          <p:attrName>style.visibility</p:attrName>
                                        </p:attrNameLst>
                                      </p:cBhvr>
                                      <p:to>
                                        <p:strVal val="visible"/>
                                      </p:to>
                                    </p:set>
                                    <p:anim calcmode="lin" valueType="num">
                                      <p:cBhvr additive="base">
                                        <p:cTn id="35" dur="500" fill="hold"/>
                                        <p:tgtEl>
                                          <p:spTgt spid="11">
                                            <p:txEl>
                                              <p:pRg st="0" end="0"/>
                                            </p:txEl>
                                          </p:spTgt>
                                        </p:tgtEl>
                                        <p:attrNameLst>
                                          <p:attrName>ppt_x</p:attrName>
                                        </p:attrNameLst>
                                      </p:cBhvr>
                                      <p:tavLst>
                                        <p:tav tm="0">
                                          <p:val>
                                            <p:strVal val="#ppt_x"/>
                                          </p:val>
                                        </p:tav>
                                        <p:tav tm="100000">
                                          <p:val>
                                            <p:strVal val="#ppt_x"/>
                                          </p:val>
                                        </p:tav>
                                      </p:tavLst>
                                    </p:anim>
                                    <p:anim calcmode="lin" valueType="num">
                                      <p:cBhvr additive="base">
                                        <p:cTn id="36" dur="500" fill="hold"/>
                                        <p:tgtEl>
                                          <p:spTgt spid="11">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allAtOnce"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9C6139-2DF6-448D-3DBB-7567A6C2201E}"/>
              </a:ext>
            </a:extLst>
          </p:cNvPr>
          <p:cNvSpPr>
            <a:spLocks noGrp="1"/>
          </p:cNvSpPr>
          <p:nvPr>
            <p:ph type="title"/>
          </p:nvPr>
        </p:nvSpPr>
        <p:spPr/>
        <p:txBody>
          <a:bodyPr/>
          <a:lstStyle/>
          <a:p>
            <a:r>
              <a:rPr lang="sv-SE"/>
              <a:t>Information from the NPC</a:t>
            </a:r>
          </a:p>
        </p:txBody>
      </p:sp>
      <p:sp>
        <p:nvSpPr>
          <p:cNvPr id="3" name="Text Placeholder 2">
            <a:extLst>
              <a:ext uri="{FF2B5EF4-FFF2-40B4-BE49-F238E27FC236}">
                <a16:creationId xmlns:a16="http://schemas.microsoft.com/office/drawing/2014/main" id="{157AC2C3-8311-BBA3-BAC3-EEFCD19722AA}"/>
              </a:ext>
            </a:extLst>
          </p:cNvPr>
          <p:cNvSpPr>
            <a:spLocks noGrp="1"/>
          </p:cNvSpPr>
          <p:nvPr>
            <p:ph type="body" sz="quarter" idx="17"/>
          </p:nvPr>
        </p:nvSpPr>
        <p:spPr>
          <a:xfrm>
            <a:off x="380999" y="984250"/>
            <a:ext cx="8160733" cy="3257612"/>
          </a:xfrm>
        </p:spPr>
        <p:txBody>
          <a:bodyPr/>
          <a:lstStyle/>
          <a:p>
            <a:pPr marL="192024" indent="-192024" algn="l" rtl="0" eaLnBrk="1" latinLnBrk="0" hangingPunct="1">
              <a:spcBef>
                <a:spcPts val="50"/>
              </a:spcBef>
              <a:buNone/>
            </a:pPr>
            <a:r>
              <a:rPr lang="sv-SE" sz="1800" b="1">
                <a:solidFill>
                  <a:srgbClr val="014E8F"/>
                </a:solidFill>
                <a:effectLst/>
                <a:latin typeface="Calibri" panose="020F0502020204030204" pitchFamily="34" charset="0"/>
              </a:rPr>
              <a:t>Membership Status and Scheme Involvement</a:t>
            </a:r>
            <a:endParaRPr lang="sv-SE" sz="1800">
              <a:solidFill>
                <a:srgbClr val="014E8F"/>
              </a:solidFill>
              <a:effectLst/>
              <a:latin typeface="Calibri" panose="020F0502020204030204" pitchFamily="34" charset="0"/>
            </a:endParaRPr>
          </a:p>
          <a:p>
            <a:pPr marL="192024" indent="-192024" algn="l" rtl="0" eaLnBrk="1" latinLnBrk="0" hangingPunct="1">
              <a:spcBef>
                <a:spcPts val="50"/>
              </a:spcBef>
              <a:buFont typeface="Arial" panose="020B0604020202020204" pitchFamily="34" charset="0"/>
              <a:buChar char="•"/>
            </a:pPr>
            <a:r>
              <a:rPr lang="sv-SE" sz="1400">
                <a:solidFill>
                  <a:srgbClr val="014E8F"/>
                </a:solidFill>
                <a:effectLst/>
                <a:latin typeface="Calibri" panose="020F0502020204030204" pitchFamily="34" charset="0"/>
              </a:rPr>
              <a:t>New Scheme Member approvals: </a:t>
            </a:r>
            <a:r>
              <a:rPr lang="en-US" sz="1400">
                <a:solidFill>
                  <a:srgbClr val="014E8F"/>
                </a:solidFill>
                <a:effectLst/>
                <a:latin typeface="Calibri" panose="020F0502020204030204" pitchFamily="34" charset="0"/>
              </a:rPr>
              <a:t>Trade Republic Bank GmbH Filial Sweden, Saxo Bank A/S, PPRO Payment Services S.A., and Stripe Technology Europe Ltd. In total 85 NPC Scheme Members</a:t>
            </a:r>
          </a:p>
          <a:p>
            <a:pPr marL="192024" indent="-192024" algn="l" rtl="0" eaLnBrk="1" latinLnBrk="0" hangingPunct="1">
              <a:spcBef>
                <a:spcPts val="50"/>
              </a:spcBef>
              <a:buFont typeface="Arial" panose="020B0604020202020204" pitchFamily="34" charset="0"/>
              <a:buChar char="•"/>
            </a:pPr>
            <a:endParaRPr lang="sv-SE" sz="1400">
              <a:solidFill>
                <a:srgbClr val="014E8F"/>
              </a:solidFill>
              <a:effectLst/>
              <a:latin typeface="Calibri" panose="020F0502020204030204" pitchFamily="34" charset="0"/>
            </a:endParaRPr>
          </a:p>
          <a:p>
            <a:pPr marL="605790" indent="-285750" algn="l" rtl="0" eaLnBrk="1" latinLnBrk="0" hangingPunct="1">
              <a:spcBef>
                <a:spcPts val="50"/>
              </a:spcBef>
              <a:buFont typeface="Courier New" panose="02070309020205020404" pitchFamily="49" charset="0"/>
              <a:buChar char="o"/>
            </a:pPr>
            <a:endParaRPr lang="sv-SE" sz="1100">
              <a:solidFill>
                <a:srgbClr val="014E8F"/>
              </a:solidFill>
              <a:effectLst/>
              <a:latin typeface="Calibri" panose="020F0502020204030204" pitchFamily="34" charset="0"/>
            </a:endParaRPr>
          </a:p>
        </p:txBody>
      </p:sp>
      <p:sp>
        <p:nvSpPr>
          <p:cNvPr id="4" name="Footer Placeholder 3">
            <a:extLst>
              <a:ext uri="{FF2B5EF4-FFF2-40B4-BE49-F238E27FC236}">
                <a16:creationId xmlns:a16="http://schemas.microsoft.com/office/drawing/2014/main" id="{D128255C-7574-517F-519A-017DB56009F7}"/>
              </a:ext>
            </a:extLst>
          </p:cNvPr>
          <p:cNvSpPr>
            <a:spLocks noGrp="1"/>
          </p:cNvSpPr>
          <p:nvPr>
            <p:ph type="ftr" sz="quarter" idx="11"/>
          </p:nvPr>
        </p:nvSpPr>
        <p:spPr/>
        <p:txBody>
          <a:bodyPr/>
          <a:lstStyle/>
          <a:p>
            <a:r>
              <a:rPr lang="en-US"/>
              <a:t>Stakeholder Forum Agenda - Classification: External</a:t>
            </a:r>
            <a:endParaRPr lang="sv-SE"/>
          </a:p>
        </p:txBody>
      </p:sp>
      <p:sp>
        <p:nvSpPr>
          <p:cNvPr id="5" name="Date Placeholder 4">
            <a:extLst>
              <a:ext uri="{FF2B5EF4-FFF2-40B4-BE49-F238E27FC236}">
                <a16:creationId xmlns:a16="http://schemas.microsoft.com/office/drawing/2014/main" id="{A98DA063-BD21-6776-FE34-468169020098}"/>
              </a:ext>
            </a:extLst>
          </p:cNvPr>
          <p:cNvSpPr>
            <a:spLocks noGrp="1"/>
          </p:cNvSpPr>
          <p:nvPr>
            <p:ph type="dt" sz="half" idx="10"/>
          </p:nvPr>
        </p:nvSpPr>
        <p:spPr/>
        <p:txBody>
          <a:bodyPr/>
          <a:lstStyle/>
          <a:p>
            <a:r>
              <a:rPr lang="sv-SE"/>
              <a:t>26/03/2026</a:t>
            </a:r>
          </a:p>
        </p:txBody>
      </p:sp>
      <p:sp>
        <p:nvSpPr>
          <p:cNvPr id="6" name="Slide Number Placeholder 5">
            <a:extLst>
              <a:ext uri="{FF2B5EF4-FFF2-40B4-BE49-F238E27FC236}">
                <a16:creationId xmlns:a16="http://schemas.microsoft.com/office/drawing/2014/main" id="{5637DA19-42E2-E8D1-0CF3-311F3E532052}"/>
              </a:ext>
            </a:extLst>
          </p:cNvPr>
          <p:cNvSpPr>
            <a:spLocks noGrp="1"/>
          </p:cNvSpPr>
          <p:nvPr>
            <p:ph type="sldNum" sz="quarter" idx="12"/>
          </p:nvPr>
        </p:nvSpPr>
        <p:spPr/>
        <p:txBody>
          <a:bodyPr/>
          <a:lstStyle/>
          <a:p>
            <a:fld id="{394EE31B-4DFC-CF4D-9A18-3F5D4D7C7302}" type="slidenum">
              <a:rPr lang="sv-SE" smtClean="0"/>
              <a:pPr/>
              <a:t>6</a:t>
            </a:fld>
            <a:endParaRPr lang="sv-SE"/>
          </a:p>
        </p:txBody>
      </p:sp>
      <p:sp>
        <p:nvSpPr>
          <p:cNvPr id="10" name="TextBox 9">
            <a:extLst>
              <a:ext uri="{FF2B5EF4-FFF2-40B4-BE49-F238E27FC236}">
                <a16:creationId xmlns:a16="http://schemas.microsoft.com/office/drawing/2014/main" id="{1F0CDA91-9B22-B40D-6455-A71B4B66F529}"/>
              </a:ext>
            </a:extLst>
          </p:cNvPr>
          <p:cNvSpPr txBox="1"/>
          <p:nvPr/>
        </p:nvSpPr>
        <p:spPr>
          <a:xfrm>
            <a:off x="368300" y="4241800"/>
            <a:ext cx="2608406" cy="253916"/>
          </a:xfrm>
          <a:prstGeom prst="rect">
            <a:avLst/>
          </a:prstGeom>
          <a:noFill/>
        </p:spPr>
        <p:txBody>
          <a:bodyPr wrap="none" rtlCol="0">
            <a:spAutoFit/>
          </a:bodyPr>
          <a:lstStyle/>
          <a:p>
            <a:r>
              <a:rPr lang="sv-SE" sz="1050" i="1"/>
              <a:t>Please Note: Swish transactions not included</a:t>
            </a:r>
          </a:p>
        </p:txBody>
      </p:sp>
      <p:pic>
        <p:nvPicPr>
          <p:cNvPr id="16" name="Picture 15">
            <a:extLst>
              <a:ext uri="{FF2B5EF4-FFF2-40B4-BE49-F238E27FC236}">
                <a16:creationId xmlns:a16="http://schemas.microsoft.com/office/drawing/2014/main" id="{A480F9C9-7F65-58C4-0F9E-5EC5EF13EEFA}"/>
              </a:ext>
            </a:extLst>
          </p:cNvPr>
          <p:cNvPicPr>
            <a:picLocks noChangeAspect="1"/>
          </p:cNvPicPr>
          <p:nvPr/>
        </p:nvPicPr>
        <p:blipFill>
          <a:blip r:embed="rId2"/>
          <a:stretch>
            <a:fillRect/>
          </a:stretch>
        </p:blipFill>
        <p:spPr>
          <a:xfrm>
            <a:off x="4584698" y="2264537"/>
            <a:ext cx="4167190" cy="1977262"/>
          </a:xfrm>
          <a:prstGeom prst="rect">
            <a:avLst/>
          </a:prstGeom>
        </p:spPr>
      </p:pic>
      <p:pic>
        <p:nvPicPr>
          <p:cNvPr id="7" name="Picture 6">
            <a:extLst>
              <a:ext uri="{FF2B5EF4-FFF2-40B4-BE49-F238E27FC236}">
                <a16:creationId xmlns:a16="http://schemas.microsoft.com/office/drawing/2014/main" id="{6F454E07-71DC-C555-A2B9-44B58EF145B8}"/>
              </a:ext>
            </a:extLst>
          </p:cNvPr>
          <p:cNvPicPr>
            <a:picLocks noChangeAspect="1"/>
          </p:cNvPicPr>
          <p:nvPr/>
        </p:nvPicPr>
        <p:blipFill>
          <a:blip r:embed="rId3"/>
          <a:stretch>
            <a:fillRect/>
          </a:stretch>
        </p:blipFill>
        <p:spPr>
          <a:xfrm>
            <a:off x="350562" y="2259258"/>
            <a:ext cx="4221437" cy="1982541"/>
          </a:xfrm>
          <a:prstGeom prst="rect">
            <a:avLst/>
          </a:prstGeom>
        </p:spPr>
      </p:pic>
    </p:spTree>
    <p:extLst>
      <p:ext uri="{BB962C8B-B14F-4D97-AF65-F5344CB8AC3E}">
        <p14:creationId xmlns:p14="http://schemas.microsoft.com/office/powerpoint/2010/main" val="21172183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F30759-B7A2-98BF-7960-31A558CE2A56}"/>
            </a:ext>
          </a:extLst>
        </p:cNvPr>
        <p:cNvGrpSpPr/>
        <p:nvPr/>
      </p:nvGrpSpPr>
      <p:grpSpPr>
        <a:xfrm>
          <a:off x="0" y="0"/>
          <a:ext cx="0" cy="0"/>
          <a:chOff x="0" y="0"/>
          <a:chExt cx="0" cy="0"/>
        </a:xfrm>
      </p:grpSpPr>
      <p:sp>
        <p:nvSpPr>
          <p:cNvPr id="2" name="Picture Placeholder 1">
            <a:extLst>
              <a:ext uri="{FF2B5EF4-FFF2-40B4-BE49-F238E27FC236}">
                <a16:creationId xmlns:a16="http://schemas.microsoft.com/office/drawing/2014/main" id="{4B933B1D-D77E-D034-F174-01F9C5B54793}"/>
              </a:ext>
            </a:extLst>
          </p:cNvPr>
          <p:cNvSpPr>
            <a:spLocks noGrp="1"/>
          </p:cNvSpPr>
          <p:nvPr>
            <p:ph type="pic" sz="quarter" idx="15"/>
          </p:nvPr>
        </p:nvSpPr>
        <p:spPr/>
        <p:txBody>
          <a:bodyPr/>
          <a:lstStyle/>
          <a:p>
            <a:endParaRPr lang="sv-SE"/>
          </a:p>
        </p:txBody>
      </p:sp>
      <p:sp>
        <p:nvSpPr>
          <p:cNvPr id="8" name="Rubrik 7">
            <a:extLst>
              <a:ext uri="{FF2B5EF4-FFF2-40B4-BE49-F238E27FC236}">
                <a16:creationId xmlns:a16="http://schemas.microsoft.com/office/drawing/2014/main" id="{17B2136B-4225-48E6-6286-3BC71762FEB8}"/>
              </a:ext>
            </a:extLst>
          </p:cNvPr>
          <p:cNvSpPr>
            <a:spLocks noGrp="1"/>
          </p:cNvSpPr>
          <p:nvPr>
            <p:ph type="title"/>
          </p:nvPr>
        </p:nvSpPr>
        <p:spPr/>
        <p:txBody>
          <a:bodyPr/>
          <a:lstStyle/>
          <a:p>
            <a:r>
              <a:rPr lang="en-GB"/>
              <a:t>Suggested Agenda</a:t>
            </a:r>
          </a:p>
        </p:txBody>
      </p:sp>
      <p:sp>
        <p:nvSpPr>
          <p:cNvPr id="10" name="Platshållare för text 9">
            <a:extLst>
              <a:ext uri="{FF2B5EF4-FFF2-40B4-BE49-F238E27FC236}">
                <a16:creationId xmlns:a16="http://schemas.microsoft.com/office/drawing/2014/main" id="{B55FF9E3-E829-849D-C87D-4590B77110BF}"/>
              </a:ext>
            </a:extLst>
          </p:cNvPr>
          <p:cNvSpPr>
            <a:spLocks noGrp="1"/>
          </p:cNvSpPr>
          <p:nvPr>
            <p:ph type="body" sz="quarter" idx="17"/>
          </p:nvPr>
        </p:nvSpPr>
        <p:spPr>
          <a:xfrm>
            <a:off x="381000" y="947738"/>
            <a:ext cx="4093842" cy="3487737"/>
          </a:xfrm>
        </p:spPr>
        <p:txBody>
          <a:bodyPr>
            <a:normAutofit fontScale="92500" lnSpcReduction="10000"/>
          </a:bodyPr>
          <a:lstStyle/>
          <a:p>
            <a:pPr marL="342900" indent="-342900">
              <a:buFont typeface="+mj-lt"/>
              <a:buAutoNum type="arabicPeriod"/>
            </a:pPr>
            <a:r>
              <a:rPr lang="en-GB" sz="1600"/>
              <a:t>Introduction </a:t>
            </a:r>
          </a:p>
          <a:p>
            <a:pPr marL="342900" indent="-342900">
              <a:buFont typeface="+mj-lt"/>
              <a:buAutoNum type="arabicPeriod"/>
            </a:pPr>
            <a:r>
              <a:rPr lang="en-GB" sz="1600"/>
              <a:t>Approval of Agenda</a:t>
            </a:r>
          </a:p>
          <a:p>
            <a:pPr marL="342900" indent="-342900">
              <a:buFont typeface="+mj-lt"/>
              <a:buAutoNum type="arabicPeriod"/>
            </a:pPr>
            <a:r>
              <a:rPr lang="en-GB" sz="1600"/>
              <a:t>Approval of last meeting’s minutes</a:t>
            </a:r>
          </a:p>
          <a:p>
            <a:pPr marL="342900" indent="-342900">
              <a:buFont typeface="+mj-lt"/>
              <a:buAutoNum type="arabicPeriod"/>
            </a:pPr>
            <a:r>
              <a:rPr lang="en-GB" sz="1600"/>
              <a:t>Appointment of minutes adjuster</a:t>
            </a:r>
          </a:p>
          <a:p>
            <a:pPr marL="342900" indent="-342900">
              <a:buFont typeface="+mj-lt"/>
              <a:buAutoNum type="arabicPeriod"/>
            </a:pPr>
            <a:r>
              <a:rPr lang="en-GB" sz="1600"/>
              <a:t>NPC General information</a:t>
            </a:r>
          </a:p>
          <a:p>
            <a:pPr marL="342900" indent="-342900">
              <a:buFont typeface="+mj-lt"/>
              <a:buAutoNum type="arabicPeriod"/>
            </a:pPr>
            <a:r>
              <a:rPr lang="en-GB" sz="1600" b="1"/>
              <a:t>Nordic community update - NO</a:t>
            </a:r>
          </a:p>
          <a:p>
            <a:pPr marL="342900" indent="-342900">
              <a:buFont typeface="+mj-lt"/>
              <a:buAutoNum type="arabicPeriod"/>
            </a:pPr>
            <a:r>
              <a:rPr lang="en-GB" sz="1600"/>
              <a:t>External speaker </a:t>
            </a:r>
          </a:p>
          <a:p>
            <a:pPr marL="342900" indent="-342900">
              <a:buFont typeface="+mj-lt"/>
              <a:buAutoNum type="arabicPeriod"/>
            </a:pPr>
            <a:r>
              <a:rPr lang="en-GB" sz="1600"/>
              <a:t>Nordic community update – SE and DK</a:t>
            </a:r>
          </a:p>
          <a:p>
            <a:pPr marL="0" indent="0">
              <a:buNone/>
            </a:pPr>
            <a:r>
              <a:rPr lang="en-GB" sz="1600" i="1"/>
              <a:t>Break</a:t>
            </a:r>
          </a:p>
          <a:p>
            <a:pPr marL="342900" indent="-342900">
              <a:buFont typeface="+mj-lt"/>
              <a:buAutoNum type="arabicPeriod" startAt="9"/>
            </a:pPr>
            <a:r>
              <a:rPr lang="en-GB" sz="1600"/>
              <a:t>NPC Verification of Payee</a:t>
            </a:r>
          </a:p>
          <a:p>
            <a:pPr marL="342900" indent="-342900">
              <a:buFont typeface="+mj-lt"/>
              <a:buAutoNum type="arabicPeriod" startAt="9"/>
            </a:pPr>
            <a:r>
              <a:rPr lang="en-GB" sz="1600"/>
              <a:t>NPC Payment Schemes</a:t>
            </a:r>
          </a:p>
          <a:p>
            <a:pPr marL="342900" indent="-342900">
              <a:buFont typeface="+mj-lt"/>
              <a:buAutoNum type="arabicPeriod" startAt="9"/>
            </a:pPr>
            <a:r>
              <a:rPr lang="en-GB" sz="1600"/>
              <a:t>Position papers </a:t>
            </a:r>
          </a:p>
          <a:p>
            <a:pPr marL="342900" indent="-342900">
              <a:buFont typeface="+mj-lt"/>
              <a:buAutoNum type="arabicPeriod" startAt="9"/>
            </a:pPr>
            <a:r>
              <a:rPr lang="en-GB" sz="1600"/>
              <a:t>NPC going forward </a:t>
            </a:r>
          </a:p>
          <a:p>
            <a:pPr marL="342900" indent="-342900">
              <a:buFont typeface="+mj-lt"/>
              <a:buAutoNum type="arabicPeriod" startAt="9"/>
            </a:pPr>
            <a:r>
              <a:rPr lang="en-GB" sz="1600"/>
              <a:t>Any other business </a:t>
            </a:r>
          </a:p>
          <a:p>
            <a:pPr marL="342900" indent="-342900">
              <a:buFont typeface="+mj-lt"/>
              <a:buAutoNum type="arabicPeriod" startAt="9"/>
            </a:pPr>
            <a:r>
              <a:rPr lang="en-GB" sz="1600"/>
              <a:t>Closing</a:t>
            </a:r>
          </a:p>
        </p:txBody>
      </p:sp>
      <p:sp>
        <p:nvSpPr>
          <p:cNvPr id="5" name="Platshållare för sidfot 4">
            <a:extLst>
              <a:ext uri="{FF2B5EF4-FFF2-40B4-BE49-F238E27FC236}">
                <a16:creationId xmlns:a16="http://schemas.microsoft.com/office/drawing/2014/main" id="{9EAF89B9-0134-5AB9-2934-C446C39D0691}"/>
              </a:ext>
            </a:extLst>
          </p:cNvPr>
          <p:cNvSpPr>
            <a:spLocks noGrp="1"/>
          </p:cNvSpPr>
          <p:nvPr>
            <p:ph type="ftr" sz="quarter" idx="11"/>
          </p:nvPr>
        </p:nvSpPr>
        <p:spPr/>
        <p:txBody>
          <a:bodyPr/>
          <a:lstStyle/>
          <a:p>
            <a:r>
              <a:rPr lang="en-US"/>
              <a:t>Stakeholder Forum Agenda - Classification: External</a:t>
            </a:r>
            <a:endParaRPr lang="en-GB"/>
          </a:p>
        </p:txBody>
      </p:sp>
      <p:sp>
        <p:nvSpPr>
          <p:cNvPr id="6" name="Platshållare för datum 5">
            <a:extLst>
              <a:ext uri="{FF2B5EF4-FFF2-40B4-BE49-F238E27FC236}">
                <a16:creationId xmlns:a16="http://schemas.microsoft.com/office/drawing/2014/main" id="{AB2F6A61-0348-CA4F-E512-0E32C02A93DF}"/>
              </a:ext>
            </a:extLst>
          </p:cNvPr>
          <p:cNvSpPr>
            <a:spLocks noGrp="1"/>
          </p:cNvSpPr>
          <p:nvPr>
            <p:ph type="dt" sz="half" idx="10"/>
          </p:nvPr>
        </p:nvSpPr>
        <p:spPr/>
        <p:txBody>
          <a:bodyPr/>
          <a:lstStyle/>
          <a:p>
            <a:r>
              <a:rPr lang="sv-SE"/>
              <a:t>26/03/2026</a:t>
            </a:r>
            <a:endParaRPr lang="en-GB"/>
          </a:p>
        </p:txBody>
      </p:sp>
      <p:sp>
        <p:nvSpPr>
          <p:cNvPr id="7" name="Platshållare för bildnummer 6">
            <a:extLst>
              <a:ext uri="{FF2B5EF4-FFF2-40B4-BE49-F238E27FC236}">
                <a16:creationId xmlns:a16="http://schemas.microsoft.com/office/drawing/2014/main" id="{D2225FA1-8FDF-1ECA-EA5A-2225C910027D}"/>
              </a:ext>
            </a:extLst>
          </p:cNvPr>
          <p:cNvSpPr>
            <a:spLocks noGrp="1"/>
          </p:cNvSpPr>
          <p:nvPr>
            <p:ph type="sldNum" sz="quarter" idx="12"/>
          </p:nvPr>
        </p:nvSpPr>
        <p:spPr/>
        <p:txBody>
          <a:bodyPr/>
          <a:lstStyle/>
          <a:p>
            <a:fld id="{394EE31B-4DFC-CF4D-9A18-3F5D4D7C7302}" type="slidenum">
              <a:rPr lang="en-GB" smtClean="0"/>
              <a:pPr/>
              <a:t>7</a:t>
            </a:fld>
            <a:endParaRPr lang="en-GB"/>
          </a:p>
        </p:txBody>
      </p:sp>
      <p:pic>
        <p:nvPicPr>
          <p:cNvPr id="11" name="Platshållare för bild 7" descr="En bild som visar person, inomhus, man, stående&#10;&#10;Automatiskt genererad beskrivning">
            <a:extLst>
              <a:ext uri="{FF2B5EF4-FFF2-40B4-BE49-F238E27FC236}">
                <a16:creationId xmlns:a16="http://schemas.microsoft.com/office/drawing/2014/main" id="{E86A725B-CBF0-57EE-3FE9-186DEA370A5B}"/>
              </a:ext>
            </a:extLst>
          </p:cNvPr>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a:xfrm>
            <a:off x="4572000" y="952574"/>
            <a:ext cx="4156148" cy="3289235"/>
          </a:xfrm>
          <a:prstGeom prst="rect">
            <a:avLst/>
          </a:prstGeom>
        </p:spPr>
      </p:pic>
    </p:spTree>
    <p:extLst>
      <p:ext uri="{BB962C8B-B14F-4D97-AF65-F5344CB8AC3E}">
        <p14:creationId xmlns:p14="http://schemas.microsoft.com/office/powerpoint/2010/main" val="18272558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B08ADAF-3D4F-4E4A-A44A-DA7E0E8EE7E2}"/>
              </a:ext>
            </a:extLst>
          </p:cNvPr>
          <p:cNvSpPr>
            <a:spLocks noGrp="1"/>
          </p:cNvSpPr>
          <p:nvPr>
            <p:ph type="ctrTitle"/>
          </p:nvPr>
        </p:nvSpPr>
        <p:spPr>
          <a:xfrm>
            <a:off x="559595" y="1504003"/>
            <a:ext cx="5484019" cy="390848"/>
          </a:xfrm>
        </p:spPr>
        <p:txBody>
          <a:bodyPr/>
          <a:lstStyle/>
          <a:p>
            <a:r>
              <a:rPr lang="en-GB"/>
              <a:t>Norway community update</a:t>
            </a:r>
            <a:endParaRPr lang="nb-NO"/>
          </a:p>
        </p:txBody>
      </p:sp>
      <p:sp>
        <p:nvSpPr>
          <p:cNvPr id="3" name="Plassholder for tekst 2">
            <a:extLst>
              <a:ext uri="{FF2B5EF4-FFF2-40B4-BE49-F238E27FC236}">
                <a16:creationId xmlns:a16="http://schemas.microsoft.com/office/drawing/2014/main" id="{66531CC5-C0CC-4272-9369-DE5868B1EE8A}"/>
              </a:ext>
            </a:extLst>
          </p:cNvPr>
          <p:cNvSpPr>
            <a:spLocks noGrp="1"/>
          </p:cNvSpPr>
          <p:nvPr>
            <p:ph type="body" idx="1"/>
          </p:nvPr>
        </p:nvSpPr>
        <p:spPr>
          <a:xfrm>
            <a:off x="575060" y="2046085"/>
            <a:ext cx="5484019" cy="260734"/>
          </a:xfrm>
        </p:spPr>
        <p:txBody>
          <a:bodyPr/>
          <a:lstStyle/>
          <a:p>
            <a:r>
              <a:rPr lang="nb-NO"/>
              <a:t>Brynjel Johnsen, Head </a:t>
            </a:r>
            <a:r>
              <a:rPr lang="nb-NO" err="1"/>
              <a:t>of</a:t>
            </a:r>
            <a:r>
              <a:rPr lang="nb-NO"/>
              <a:t> </a:t>
            </a:r>
            <a:r>
              <a:rPr lang="nb-NO" err="1"/>
              <a:t>department</a:t>
            </a:r>
            <a:r>
              <a:rPr lang="nb-NO"/>
              <a:t>, Bits </a:t>
            </a:r>
          </a:p>
        </p:txBody>
      </p:sp>
      <p:sp>
        <p:nvSpPr>
          <p:cNvPr id="4" name="Plassholder for innhold 3">
            <a:extLst>
              <a:ext uri="{FF2B5EF4-FFF2-40B4-BE49-F238E27FC236}">
                <a16:creationId xmlns:a16="http://schemas.microsoft.com/office/drawing/2014/main" id="{19613D1B-6467-4C36-A771-B6E29A4FB3F7}"/>
              </a:ext>
            </a:extLst>
          </p:cNvPr>
          <p:cNvSpPr>
            <a:spLocks noGrp="1"/>
          </p:cNvSpPr>
          <p:nvPr>
            <p:ph sz="half" idx="14"/>
          </p:nvPr>
        </p:nvSpPr>
        <p:spPr/>
        <p:txBody>
          <a:bodyPr/>
          <a:lstStyle/>
          <a:p>
            <a:r>
              <a:rPr lang="nb-NO"/>
              <a:t>NPC Stakeholder Forum 26 </a:t>
            </a:r>
            <a:r>
              <a:rPr lang="nb-NO" err="1"/>
              <a:t>March</a:t>
            </a:r>
            <a:r>
              <a:rPr lang="nb-NO"/>
              <a:t> 2026</a:t>
            </a:r>
          </a:p>
        </p:txBody>
      </p:sp>
      <p:sp>
        <p:nvSpPr>
          <p:cNvPr id="5" name="Plassholder for bilde 4">
            <a:extLst>
              <a:ext uri="{FF2B5EF4-FFF2-40B4-BE49-F238E27FC236}">
                <a16:creationId xmlns:a16="http://schemas.microsoft.com/office/drawing/2014/main" id="{29A8F378-77A8-4B80-9EB1-A7F23F2B7429}"/>
              </a:ext>
            </a:extLst>
          </p:cNvPr>
          <p:cNvSpPr>
            <a:spLocks noGrp="1"/>
          </p:cNvSpPr>
          <p:nvPr>
            <p:ph type="pic" sz="quarter" idx="13"/>
          </p:nvPr>
        </p:nvSpPr>
        <p:spPr/>
        <p:txBody>
          <a:bodyPr/>
          <a:lstStyle/>
          <a:p>
            <a:endParaRPr lang="nb-NO"/>
          </a:p>
        </p:txBody>
      </p:sp>
      <p:sp>
        <p:nvSpPr>
          <p:cNvPr id="6" name="Date Placeholder 5">
            <a:extLst>
              <a:ext uri="{FF2B5EF4-FFF2-40B4-BE49-F238E27FC236}">
                <a16:creationId xmlns:a16="http://schemas.microsoft.com/office/drawing/2014/main" id="{EECA2EE7-B1B7-6934-C775-A3D27E192649}"/>
              </a:ext>
            </a:extLst>
          </p:cNvPr>
          <p:cNvSpPr>
            <a:spLocks noGrp="1"/>
          </p:cNvSpPr>
          <p:nvPr>
            <p:ph type="dt" sz="half" idx="2"/>
          </p:nvPr>
        </p:nvSpPr>
        <p:spPr/>
        <p:txBody>
          <a:bodyPr/>
          <a:lstStyle/>
          <a:p>
            <a:r>
              <a:rPr lang="sv-SE"/>
              <a:t>26/03/2026</a:t>
            </a:r>
            <a:endParaRPr lang="nb-NO"/>
          </a:p>
        </p:txBody>
      </p:sp>
    </p:spTree>
    <p:extLst>
      <p:ext uri="{BB962C8B-B14F-4D97-AF65-F5344CB8AC3E}">
        <p14:creationId xmlns:p14="http://schemas.microsoft.com/office/powerpoint/2010/main" val="3574658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34F84E-4CC3-7002-5E38-6D7E1AAD6409}"/>
            </a:ext>
          </a:extLst>
        </p:cNvPr>
        <p:cNvGrpSpPr/>
        <p:nvPr/>
      </p:nvGrpSpPr>
      <p:grpSpPr>
        <a:xfrm>
          <a:off x="0" y="0"/>
          <a:ext cx="0" cy="0"/>
          <a:chOff x="0" y="0"/>
          <a:chExt cx="0" cy="0"/>
        </a:xfrm>
      </p:grpSpPr>
      <p:sp>
        <p:nvSpPr>
          <p:cNvPr id="7" name="Tittel 6">
            <a:extLst>
              <a:ext uri="{FF2B5EF4-FFF2-40B4-BE49-F238E27FC236}">
                <a16:creationId xmlns:a16="http://schemas.microsoft.com/office/drawing/2014/main" id="{36D5AE48-ACB2-A890-8706-21783FE7B97B}"/>
              </a:ext>
            </a:extLst>
          </p:cNvPr>
          <p:cNvSpPr>
            <a:spLocks noGrp="1"/>
          </p:cNvSpPr>
          <p:nvPr>
            <p:ph type="title"/>
          </p:nvPr>
        </p:nvSpPr>
        <p:spPr>
          <a:xfrm>
            <a:off x="567130" y="520922"/>
            <a:ext cx="7679666" cy="455830"/>
          </a:xfrm>
        </p:spPr>
        <p:txBody>
          <a:bodyPr/>
          <a:lstStyle/>
          <a:p>
            <a:r>
              <a:rPr lang="nb-NO">
                <a:latin typeface="arial"/>
                <a:cs typeface="arial"/>
              </a:rPr>
              <a:t>Project status </a:t>
            </a:r>
            <a:r>
              <a:rPr lang="nb-NO" err="1">
                <a:latin typeface="arial"/>
                <a:cs typeface="arial"/>
              </a:rPr>
              <a:t>March</a:t>
            </a:r>
            <a:r>
              <a:rPr lang="nb-NO">
                <a:latin typeface="arial"/>
                <a:cs typeface="arial"/>
              </a:rPr>
              <a:t> 2026</a:t>
            </a:r>
            <a:endParaRPr lang="nb-NO"/>
          </a:p>
        </p:txBody>
      </p:sp>
      <p:sp>
        <p:nvSpPr>
          <p:cNvPr id="4" name="TekstSylinder 3">
            <a:extLst>
              <a:ext uri="{FF2B5EF4-FFF2-40B4-BE49-F238E27FC236}">
                <a16:creationId xmlns:a16="http://schemas.microsoft.com/office/drawing/2014/main" id="{9AFDA44C-61DB-8FF1-B4E6-729ECFA2C820}"/>
              </a:ext>
            </a:extLst>
          </p:cNvPr>
          <p:cNvSpPr txBox="1"/>
          <p:nvPr/>
        </p:nvSpPr>
        <p:spPr>
          <a:xfrm>
            <a:off x="6161382" y="1066492"/>
            <a:ext cx="675185" cy="300082"/>
          </a:xfrm>
          <a:prstGeom prst="rect">
            <a:avLst/>
          </a:prstGeom>
          <a:noFill/>
        </p:spPr>
        <p:txBody>
          <a:bodyPr wrap="none" rtlCol="0">
            <a:spAutoFit/>
          </a:bodyPr>
          <a:lstStyle/>
          <a:p>
            <a:pPr defTabSz="685800"/>
            <a:r>
              <a:rPr lang="nb-NO" sz="1350">
                <a:solidFill>
                  <a:srgbClr val="000000"/>
                </a:solidFill>
                <a:latin typeface="Arial"/>
              </a:rPr>
              <a:t>Status</a:t>
            </a:r>
          </a:p>
        </p:txBody>
      </p:sp>
      <p:sp>
        <p:nvSpPr>
          <p:cNvPr id="5" name="TekstSylinder 4">
            <a:extLst>
              <a:ext uri="{FF2B5EF4-FFF2-40B4-BE49-F238E27FC236}">
                <a16:creationId xmlns:a16="http://schemas.microsoft.com/office/drawing/2014/main" id="{A2FA7AE4-47D4-C1B1-EA89-6631FC48CD63}"/>
              </a:ext>
            </a:extLst>
          </p:cNvPr>
          <p:cNvSpPr txBox="1"/>
          <p:nvPr/>
        </p:nvSpPr>
        <p:spPr>
          <a:xfrm>
            <a:off x="3509853" y="1066492"/>
            <a:ext cx="1050288" cy="300082"/>
          </a:xfrm>
          <a:prstGeom prst="rect">
            <a:avLst/>
          </a:prstGeom>
          <a:noFill/>
        </p:spPr>
        <p:txBody>
          <a:bodyPr wrap="none" rtlCol="0">
            <a:spAutoFit/>
          </a:bodyPr>
          <a:lstStyle/>
          <a:p>
            <a:pPr defTabSz="685800"/>
            <a:r>
              <a:rPr lang="nb-NO" sz="1350" err="1">
                <a:solidFill>
                  <a:srgbClr val="000000"/>
                </a:solidFill>
                <a:latin typeface="Arial"/>
              </a:rPr>
              <a:t>Description</a:t>
            </a:r>
            <a:endParaRPr lang="nb-NO" sz="1350">
              <a:solidFill>
                <a:srgbClr val="000000"/>
              </a:solidFill>
              <a:latin typeface="Arial"/>
            </a:endParaRPr>
          </a:p>
        </p:txBody>
      </p:sp>
      <p:sp>
        <p:nvSpPr>
          <p:cNvPr id="6" name="TekstSylinder 5">
            <a:extLst>
              <a:ext uri="{FF2B5EF4-FFF2-40B4-BE49-F238E27FC236}">
                <a16:creationId xmlns:a16="http://schemas.microsoft.com/office/drawing/2014/main" id="{EB2E3DAC-0575-D91B-A815-AD78657D3655}"/>
              </a:ext>
            </a:extLst>
          </p:cNvPr>
          <p:cNvSpPr txBox="1"/>
          <p:nvPr/>
        </p:nvSpPr>
        <p:spPr>
          <a:xfrm>
            <a:off x="733011" y="1066492"/>
            <a:ext cx="723275" cy="300082"/>
          </a:xfrm>
          <a:prstGeom prst="rect">
            <a:avLst/>
          </a:prstGeom>
          <a:noFill/>
        </p:spPr>
        <p:txBody>
          <a:bodyPr wrap="none" rtlCol="0">
            <a:spAutoFit/>
          </a:bodyPr>
          <a:lstStyle/>
          <a:p>
            <a:pPr defTabSz="685800"/>
            <a:r>
              <a:rPr lang="nb-NO" sz="1350">
                <a:solidFill>
                  <a:srgbClr val="000000"/>
                </a:solidFill>
                <a:latin typeface="Arial"/>
              </a:rPr>
              <a:t>Project</a:t>
            </a:r>
          </a:p>
        </p:txBody>
      </p:sp>
      <p:grpSp>
        <p:nvGrpSpPr>
          <p:cNvPr id="35" name="Gruppe 34">
            <a:extLst>
              <a:ext uri="{FF2B5EF4-FFF2-40B4-BE49-F238E27FC236}">
                <a16:creationId xmlns:a16="http://schemas.microsoft.com/office/drawing/2014/main" id="{473196EE-4CB2-C8BB-AE24-D4AE050CEFEA}"/>
              </a:ext>
            </a:extLst>
          </p:cNvPr>
          <p:cNvGrpSpPr/>
          <p:nvPr/>
        </p:nvGrpSpPr>
        <p:grpSpPr>
          <a:xfrm>
            <a:off x="586013" y="1408096"/>
            <a:ext cx="7881444" cy="808073"/>
            <a:chOff x="781351" y="2001446"/>
            <a:chExt cx="10508592" cy="1077430"/>
          </a:xfrm>
        </p:grpSpPr>
        <p:sp>
          <p:nvSpPr>
            <p:cNvPr id="11" name="Rektangel: avrundede hjørner 10">
              <a:extLst>
                <a:ext uri="{FF2B5EF4-FFF2-40B4-BE49-F238E27FC236}">
                  <a16:creationId xmlns:a16="http://schemas.microsoft.com/office/drawing/2014/main" id="{397E93C8-0160-5FD2-88F6-58C759210864}"/>
                </a:ext>
              </a:extLst>
            </p:cNvPr>
            <p:cNvSpPr/>
            <p:nvPr/>
          </p:nvSpPr>
          <p:spPr>
            <a:xfrm>
              <a:off x="781351" y="2001446"/>
              <a:ext cx="10508592" cy="1077430"/>
            </a:xfrm>
            <a:prstGeom prst="round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nb-NO" sz="1350">
                <a:solidFill>
                  <a:srgbClr val="FFFFFF"/>
                </a:solidFill>
                <a:latin typeface="Arial"/>
              </a:endParaRPr>
            </a:p>
          </p:txBody>
        </p:sp>
        <p:sp>
          <p:nvSpPr>
            <p:cNvPr id="13" name="TekstSylinder 12">
              <a:extLst>
                <a:ext uri="{FF2B5EF4-FFF2-40B4-BE49-F238E27FC236}">
                  <a16:creationId xmlns:a16="http://schemas.microsoft.com/office/drawing/2014/main" id="{4E095B3F-8BB5-33E5-9796-20E9895011C8}"/>
                </a:ext>
              </a:extLst>
            </p:cNvPr>
            <p:cNvSpPr txBox="1"/>
            <p:nvPr/>
          </p:nvSpPr>
          <p:spPr>
            <a:xfrm>
              <a:off x="1729519" y="2244105"/>
              <a:ext cx="3029120" cy="400109"/>
            </a:xfrm>
            <a:prstGeom prst="rect">
              <a:avLst/>
            </a:prstGeom>
            <a:noFill/>
          </p:spPr>
          <p:txBody>
            <a:bodyPr wrap="none" rtlCol="0">
              <a:spAutoFit/>
            </a:bodyPr>
            <a:lstStyle/>
            <a:p>
              <a:pPr defTabSz="685800"/>
              <a:r>
                <a:rPr lang="nb-NO" sz="1350" err="1">
                  <a:solidFill>
                    <a:srgbClr val="000000"/>
                  </a:solidFill>
                  <a:latin typeface="Arial"/>
                </a:rPr>
                <a:t>Verification</a:t>
              </a:r>
              <a:r>
                <a:rPr lang="nb-NO" sz="1350">
                  <a:solidFill>
                    <a:srgbClr val="000000"/>
                  </a:solidFill>
                  <a:latin typeface="Arial"/>
                </a:rPr>
                <a:t> </a:t>
              </a:r>
              <a:r>
                <a:rPr lang="nb-NO" sz="1350" err="1">
                  <a:solidFill>
                    <a:srgbClr val="000000"/>
                  </a:solidFill>
                  <a:latin typeface="Arial"/>
                </a:rPr>
                <a:t>of</a:t>
              </a:r>
              <a:r>
                <a:rPr lang="nb-NO" sz="1350">
                  <a:solidFill>
                    <a:srgbClr val="000000"/>
                  </a:solidFill>
                  <a:latin typeface="Arial"/>
                </a:rPr>
                <a:t> </a:t>
              </a:r>
              <a:r>
                <a:rPr lang="nb-NO" sz="1350" err="1">
                  <a:solidFill>
                    <a:srgbClr val="000000"/>
                  </a:solidFill>
                  <a:latin typeface="Arial"/>
                </a:rPr>
                <a:t>payee</a:t>
              </a:r>
              <a:r>
                <a:rPr lang="nb-NO" sz="1350">
                  <a:solidFill>
                    <a:srgbClr val="000000"/>
                  </a:solidFill>
                  <a:latin typeface="Arial"/>
                </a:rPr>
                <a:t> (VOP)</a:t>
              </a:r>
            </a:p>
          </p:txBody>
        </p:sp>
        <p:sp>
          <p:nvSpPr>
            <p:cNvPr id="15" name="TekstSylinder 14">
              <a:extLst>
                <a:ext uri="{FF2B5EF4-FFF2-40B4-BE49-F238E27FC236}">
                  <a16:creationId xmlns:a16="http://schemas.microsoft.com/office/drawing/2014/main" id="{4DDE4C20-61C3-A81B-ACCE-635A590890C8}"/>
                </a:ext>
              </a:extLst>
            </p:cNvPr>
            <p:cNvSpPr txBox="1"/>
            <p:nvPr/>
          </p:nvSpPr>
          <p:spPr>
            <a:xfrm>
              <a:off x="4604631" y="2105605"/>
              <a:ext cx="3245407" cy="677108"/>
            </a:xfrm>
            <a:prstGeom prst="rect">
              <a:avLst/>
            </a:prstGeom>
            <a:noFill/>
          </p:spPr>
          <p:txBody>
            <a:bodyPr wrap="square" rtlCol="0">
              <a:spAutoFit/>
            </a:bodyPr>
            <a:lstStyle/>
            <a:p>
              <a:pPr defTabSz="685800"/>
              <a:r>
                <a:rPr lang="nb-NO" sz="1350" err="1">
                  <a:solidFill>
                    <a:srgbClr val="000000"/>
                  </a:solidFill>
                  <a:latin typeface="Arial"/>
                </a:rPr>
                <a:t>Implementing</a:t>
              </a:r>
              <a:r>
                <a:rPr lang="nb-NO" sz="1350">
                  <a:solidFill>
                    <a:srgbClr val="000000"/>
                  </a:solidFill>
                  <a:latin typeface="Arial"/>
                </a:rPr>
                <a:t> a joint VOP </a:t>
              </a:r>
              <a:r>
                <a:rPr lang="nb-NO" sz="1350" err="1">
                  <a:solidFill>
                    <a:srgbClr val="000000"/>
                  </a:solidFill>
                  <a:latin typeface="Arial"/>
                </a:rPr>
                <a:t>solution</a:t>
              </a:r>
              <a:r>
                <a:rPr lang="nb-NO" sz="1350">
                  <a:solidFill>
                    <a:srgbClr val="000000"/>
                  </a:solidFill>
                  <a:latin typeface="Arial"/>
                </a:rPr>
                <a:t> in Norway</a:t>
              </a:r>
            </a:p>
          </p:txBody>
        </p:sp>
        <p:sp>
          <p:nvSpPr>
            <p:cNvPr id="22" name="TekstSylinder 21">
              <a:extLst>
                <a:ext uri="{FF2B5EF4-FFF2-40B4-BE49-F238E27FC236}">
                  <a16:creationId xmlns:a16="http://schemas.microsoft.com/office/drawing/2014/main" id="{D6AD24BF-1AD0-447C-9896-D9553569467C}"/>
                </a:ext>
              </a:extLst>
            </p:cNvPr>
            <p:cNvSpPr txBox="1"/>
            <p:nvPr/>
          </p:nvSpPr>
          <p:spPr>
            <a:xfrm>
              <a:off x="8809062" y="2037005"/>
              <a:ext cx="2380195" cy="954107"/>
            </a:xfrm>
            <a:prstGeom prst="rect">
              <a:avLst/>
            </a:prstGeom>
            <a:noFill/>
          </p:spPr>
          <p:txBody>
            <a:bodyPr wrap="square" rtlCol="0">
              <a:spAutoFit/>
            </a:bodyPr>
            <a:lstStyle/>
            <a:p>
              <a:pPr defTabSz="685800"/>
              <a:r>
                <a:rPr lang="nb-NO" sz="1350">
                  <a:solidFill>
                    <a:srgbClr val="000000"/>
                  </a:solidFill>
                  <a:latin typeface="Arial"/>
                </a:rPr>
                <a:t>RFP </a:t>
              </a:r>
              <a:r>
                <a:rPr lang="nb-NO" sz="1350" err="1">
                  <a:solidFill>
                    <a:srgbClr val="000000"/>
                  </a:solidFill>
                  <a:latin typeface="Arial"/>
                </a:rPr>
                <a:t>process</a:t>
              </a:r>
              <a:r>
                <a:rPr lang="nb-NO" sz="1350">
                  <a:solidFill>
                    <a:srgbClr val="000000"/>
                  </a:solidFill>
                  <a:latin typeface="Arial"/>
                </a:rPr>
                <a:t> on-</a:t>
              </a:r>
              <a:r>
                <a:rPr lang="nb-NO" sz="1350" err="1">
                  <a:solidFill>
                    <a:srgbClr val="000000"/>
                  </a:solidFill>
                  <a:latin typeface="Arial"/>
                </a:rPr>
                <a:t>going</a:t>
              </a:r>
              <a:r>
                <a:rPr lang="nb-NO" sz="1350">
                  <a:solidFill>
                    <a:srgbClr val="000000"/>
                  </a:solidFill>
                  <a:latin typeface="Arial"/>
                </a:rPr>
                <a:t>. Production </a:t>
              </a:r>
              <a:r>
                <a:rPr lang="nb-NO" sz="1350" err="1">
                  <a:solidFill>
                    <a:srgbClr val="000000"/>
                  </a:solidFill>
                  <a:latin typeface="Arial"/>
                </a:rPr>
                <a:t>earliest</a:t>
              </a:r>
              <a:r>
                <a:rPr lang="nb-NO" sz="1350">
                  <a:solidFill>
                    <a:srgbClr val="000000"/>
                  </a:solidFill>
                  <a:latin typeface="Arial"/>
                </a:rPr>
                <a:t> q2 27  </a:t>
              </a:r>
            </a:p>
          </p:txBody>
        </p:sp>
        <p:pic>
          <p:nvPicPr>
            <p:cNvPr id="3" name="Bilde 2">
              <a:extLst>
                <a:ext uri="{FF2B5EF4-FFF2-40B4-BE49-F238E27FC236}">
                  <a16:creationId xmlns:a16="http://schemas.microsoft.com/office/drawing/2014/main" id="{5A6BAF13-26AB-1FAF-73CA-97586966BD1F}"/>
                </a:ext>
              </a:extLst>
            </p:cNvPr>
            <p:cNvPicPr>
              <a:picLocks noChangeAspect="1"/>
            </p:cNvPicPr>
            <p:nvPr/>
          </p:nvPicPr>
          <p:blipFill>
            <a:blip r:embed="rId3"/>
            <a:stretch>
              <a:fillRect/>
            </a:stretch>
          </p:blipFill>
          <p:spPr>
            <a:xfrm>
              <a:off x="1002745" y="2117365"/>
              <a:ext cx="622811" cy="622811"/>
            </a:xfrm>
            <a:prstGeom prst="rect">
              <a:avLst/>
            </a:prstGeom>
          </p:spPr>
        </p:pic>
        <p:sp>
          <p:nvSpPr>
            <p:cNvPr id="16" name="Ellipse 15">
              <a:extLst>
                <a:ext uri="{FF2B5EF4-FFF2-40B4-BE49-F238E27FC236}">
                  <a16:creationId xmlns:a16="http://schemas.microsoft.com/office/drawing/2014/main" id="{61EE6CCC-A3A0-8D6E-4C0D-80BCF28CA39F}"/>
                </a:ext>
              </a:extLst>
            </p:cNvPr>
            <p:cNvSpPr>
              <a:spLocks noChangeAspect="1"/>
            </p:cNvSpPr>
            <p:nvPr/>
          </p:nvSpPr>
          <p:spPr>
            <a:xfrm>
              <a:off x="8333116" y="2191799"/>
              <a:ext cx="360000" cy="360000"/>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nb-NO" sz="1350">
                <a:solidFill>
                  <a:srgbClr val="FFFFFF"/>
                </a:solidFill>
                <a:latin typeface="Arial"/>
              </a:endParaRPr>
            </a:p>
          </p:txBody>
        </p:sp>
      </p:grpSp>
      <p:grpSp>
        <p:nvGrpSpPr>
          <p:cNvPr id="21" name="Gruppe 20">
            <a:extLst>
              <a:ext uri="{FF2B5EF4-FFF2-40B4-BE49-F238E27FC236}">
                <a16:creationId xmlns:a16="http://schemas.microsoft.com/office/drawing/2014/main" id="{D873B86B-7400-E2ED-470C-0E91601F2441}"/>
              </a:ext>
            </a:extLst>
          </p:cNvPr>
          <p:cNvGrpSpPr/>
          <p:nvPr/>
        </p:nvGrpSpPr>
        <p:grpSpPr>
          <a:xfrm>
            <a:off x="574931" y="3218666"/>
            <a:ext cx="7873642" cy="820906"/>
            <a:chOff x="766574" y="5097929"/>
            <a:chExt cx="10498189" cy="1094540"/>
          </a:xfrm>
        </p:grpSpPr>
        <p:sp>
          <p:nvSpPr>
            <p:cNvPr id="18" name="Rektangel: avrundede hjørner 17">
              <a:extLst>
                <a:ext uri="{FF2B5EF4-FFF2-40B4-BE49-F238E27FC236}">
                  <a16:creationId xmlns:a16="http://schemas.microsoft.com/office/drawing/2014/main" id="{F2441A9F-7E22-48D8-AE9F-05E703B26CE2}"/>
                </a:ext>
              </a:extLst>
            </p:cNvPr>
            <p:cNvSpPr/>
            <p:nvPr/>
          </p:nvSpPr>
          <p:spPr>
            <a:xfrm>
              <a:off x="766574" y="5097929"/>
              <a:ext cx="10498189" cy="1077430"/>
            </a:xfrm>
            <a:prstGeom prst="round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nb-NO" sz="1350">
                <a:solidFill>
                  <a:srgbClr val="FFFFFF"/>
                </a:solidFill>
                <a:latin typeface="Arial"/>
              </a:endParaRPr>
            </a:p>
          </p:txBody>
        </p:sp>
        <p:sp>
          <p:nvSpPr>
            <p:cNvPr id="29" name="TekstSylinder 28">
              <a:extLst>
                <a:ext uri="{FF2B5EF4-FFF2-40B4-BE49-F238E27FC236}">
                  <a16:creationId xmlns:a16="http://schemas.microsoft.com/office/drawing/2014/main" id="{9A7E3287-7B8C-6E89-FCA8-71D694C4FE6E}"/>
                </a:ext>
              </a:extLst>
            </p:cNvPr>
            <p:cNvSpPr txBox="1"/>
            <p:nvPr/>
          </p:nvSpPr>
          <p:spPr>
            <a:xfrm>
              <a:off x="1725495" y="5313477"/>
              <a:ext cx="1785104" cy="677108"/>
            </a:xfrm>
            <a:prstGeom prst="rect">
              <a:avLst/>
            </a:prstGeom>
            <a:noFill/>
          </p:spPr>
          <p:txBody>
            <a:bodyPr wrap="none" rtlCol="0">
              <a:spAutoFit/>
            </a:bodyPr>
            <a:lstStyle/>
            <a:p>
              <a:pPr defTabSz="685800"/>
              <a:r>
                <a:rPr lang="nb-NO" sz="1350" err="1">
                  <a:solidFill>
                    <a:srgbClr val="000000"/>
                  </a:solidFill>
                  <a:latin typeface="Arial"/>
                </a:rPr>
                <a:t>Future</a:t>
              </a:r>
              <a:r>
                <a:rPr lang="nb-NO" sz="1350">
                  <a:solidFill>
                    <a:srgbClr val="000000"/>
                  </a:solidFill>
                  <a:latin typeface="Arial"/>
                </a:rPr>
                <a:t> clearing</a:t>
              </a:r>
              <a:br>
                <a:rPr lang="nb-NO" sz="1350">
                  <a:solidFill>
                    <a:srgbClr val="000000"/>
                  </a:solidFill>
                  <a:latin typeface="Arial"/>
                </a:rPr>
              </a:br>
              <a:r>
                <a:rPr lang="nb-NO" sz="1350">
                  <a:solidFill>
                    <a:srgbClr val="000000"/>
                  </a:solidFill>
                  <a:latin typeface="Arial"/>
                </a:rPr>
                <a:t>(FA30+)</a:t>
              </a:r>
            </a:p>
          </p:txBody>
        </p:sp>
        <p:sp>
          <p:nvSpPr>
            <p:cNvPr id="30" name="TekstSylinder 29">
              <a:extLst>
                <a:ext uri="{FF2B5EF4-FFF2-40B4-BE49-F238E27FC236}">
                  <a16:creationId xmlns:a16="http://schemas.microsoft.com/office/drawing/2014/main" id="{32671604-E984-4129-700A-8AFCD438CAA6}"/>
                </a:ext>
              </a:extLst>
            </p:cNvPr>
            <p:cNvSpPr txBox="1"/>
            <p:nvPr/>
          </p:nvSpPr>
          <p:spPr>
            <a:xfrm>
              <a:off x="4604631" y="5238362"/>
              <a:ext cx="3374803" cy="954107"/>
            </a:xfrm>
            <a:prstGeom prst="rect">
              <a:avLst/>
            </a:prstGeom>
            <a:noFill/>
          </p:spPr>
          <p:txBody>
            <a:bodyPr wrap="square" rtlCol="0">
              <a:spAutoFit/>
            </a:bodyPr>
            <a:lstStyle/>
            <a:p>
              <a:pPr defTabSz="685800"/>
              <a:r>
                <a:rPr lang="nb-NO" sz="1350">
                  <a:solidFill>
                    <a:srgbClr val="000000"/>
                  </a:solidFill>
                  <a:latin typeface="Arial"/>
                </a:rPr>
                <a:t>Analyse and </a:t>
              </a:r>
              <a:r>
                <a:rPr lang="nb-NO" sz="1350" err="1">
                  <a:solidFill>
                    <a:srgbClr val="000000"/>
                  </a:solidFill>
                  <a:latin typeface="Arial"/>
                </a:rPr>
                <a:t>evaluate</a:t>
              </a:r>
              <a:r>
                <a:rPr lang="nb-NO" sz="1350">
                  <a:solidFill>
                    <a:srgbClr val="000000"/>
                  </a:solidFill>
                  <a:latin typeface="Arial"/>
                </a:rPr>
                <a:t> alternatives for </a:t>
              </a:r>
              <a:r>
                <a:rPr lang="nb-NO" sz="1350" err="1">
                  <a:solidFill>
                    <a:srgbClr val="000000"/>
                  </a:solidFill>
                  <a:latin typeface="Arial"/>
                </a:rPr>
                <a:t>the</a:t>
              </a:r>
              <a:r>
                <a:rPr lang="nb-NO" sz="1350">
                  <a:solidFill>
                    <a:srgbClr val="000000"/>
                  </a:solidFill>
                  <a:latin typeface="Arial"/>
                </a:rPr>
                <a:t> </a:t>
              </a:r>
              <a:r>
                <a:rPr lang="nb-NO" sz="1350" err="1">
                  <a:solidFill>
                    <a:srgbClr val="000000"/>
                  </a:solidFill>
                  <a:latin typeface="Arial"/>
                </a:rPr>
                <a:t>future</a:t>
              </a:r>
              <a:r>
                <a:rPr lang="nb-NO" sz="1350">
                  <a:solidFill>
                    <a:srgbClr val="000000"/>
                  </a:solidFill>
                  <a:latin typeface="Arial"/>
                </a:rPr>
                <a:t> NOK clearing </a:t>
              </a:r>
              <a:r>
                <a:rPr lang="nb-NO" sz="1350" err="1">
                  <a:solidFill>
                    <a:srgbClr val="000000"/>
                  </a:solidFill>
                  <a:latin typeface="Arial"/>
                </a:rPr>
                <a:t>infrastructure</a:t>
              </a:r>
              <a:r>
                <a:rPr lang="nb-NO" sz="1350">
                  <a:solidFill>
                    <a:srgbClr val="000000"/>
                  </a:solidFill>
                  <a:latin typeface="Arial"/>
                </a:rPr>
                <a:t>. </a:t>
              </a:r>
            </a:p>
          </p:txBody>
        </p:sp>
        <p:pic>
          <p:nvPicPr>
            <p:cNvPr id="2052" name="Picture 4" descr="Balance - Free business icons">
              <a:extLst>
                <a:ext uri="{FF2B5EF4-FFF2-40B4-BE49-F238E27FC236}">
                  <a16:creationId xmlns:a16="http://schemas.microsoft.com/office/drawing/2014/main" id="{56655742-F896-AF97-FBBD-A289F32CA69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29420" y="5332867"/>
              <a:ext cx="589526" cy="589526"/>
            </a:xfrm>
            <a:prstGeom prst="rect">
              <a:avLst/>
            </a:prstGeom>
            <a:noFill/>
            <a:extLst>
              <a:ext uri="{909E8E84-426E-40DD-AFC4-6F175D3DCCD1}">
                <a14:hiddenFill xmlns:a14="http://schemas.microsoft.com/office/drawing/2010/main">
                  <a:solidFill>
                    <a:srgbClr val="FFFFFF"/>
                  </a:solidFill>
                </a14:hiddenFill>
              </a:ext>
            </a:extLst>
          </p:spPr>
        </p:pic>
        <p:sp>
          <p:nvSpPr>
            <p:cNvPr id="10" name="TekstSylinder 9">
              <a:extLst>
                <a:ext uri="{FF2B5EF4-FFF2-40B4-BE49-F238E27FC236}">
                  <a16:creationId xmlns:a16="http://schemas.microsoft.com/office/drawing/2014/main" id="{48A8403F-563C-D03F-3FF2-DA6468424976}"/>
                </a:ext>
              </a:extLst>
            </p:cNvPr>
            <p:cNvSpPr txBox="1"/>
            <p:nvPr/>
          </p:nvSpPr>
          <p:spPr>
            <a:xfrm>
              <a:off x="8805038" y="5337618"/>
              <a:ext cx="2455703" cy="677107"/>
            </a:xfrm>
            <a:prstGeom prst="rect">
              <a:avLst/>
            </a:prstGeom>
            <a:noFill/>
          </p:spPr>
          <p:txBody>
            <a:bodyPr wrap="square" rtlCol="0">
              <a:spAutoFit/>
            </a:bodyPr>
            <a:lstStyle/>
            <a:p>
              <a:pPr defTabSz="685800"/>
              <a:r>
                <a:rPr lang="nb-NO" sz="1350" err="1">
                  <a:solidFill>
                    <a:srgbClr val="000000"/>
                  </a:solidFill>
                  <a:latin typeface="Arial"/>
                </a:rPr>
                <a:t>Concept</a:t>
              </a:r>
              <a:r>
                <a:rPr lang="nb-NO" sz="1350">
                  <a:solidFill>
                    <a:srgbClr val="000000"/>
                  </a:solidFill>
                  <a:latin typeface="Arial"/>
                </a:rPr>
                <a:t> </a:t>
              </a:r>
              <a:r>
                <a:rPr lang="nb-NO" sz="1350" err="1">
                  <a:solidFill>
                    <a:srgbClr val="000000"/>
                  </a:solidFill>
                  <a:latin typeface="Arial"/>
                </a:rPr>
                <a:t>phase</a:t>
              </a:r>
              <a:r>
                <a:rPr lang="nb-NO" sz="1350">
                  <a:solidFill>
                    <a:srgbClr val="000000"/>
                  </a:solidFill>
                  <a:latin typeface="Arial"/>
                </a:rPr>
                <a:t> on-</a:t>
              </a:r>
              <a:r>
                <a:rPr lang="nb-NO" sz="1350" err="1">
                  <a:solidFill>
                    <a:srgbClr val="000000"/>
                  </a:solidFill>
                  <a:latin typeface="Arial"/>
                </a:rPr>
                <a:t>going</a:t>
              </a:r>
              <a:r>
                <a:rPr lang="nb-NO" sz="1350">
                  <a:solidFill>
                    <a:srgbClr val="000000"/>
                  </a:solidFill>
                  <a:latin typeface="Arial"/>
                </a:rPr>
                <a:t>. </a:t>
              </a:r>
              <a:r>
                <a:rPr lang="nb-NO" sz="1200">
                  <a:solidFill>
                    <a:srgbClr val="000000"/>
                  </a:solidFill>
                  <a:latin typeface="Arial"/>
                </a:rPr>
                <a:t> </a:t>
              </a:r>
              <a:endParaRPr lang="nb-NO" sz="1350">
                <a:solidFill>
                  <a:srgbClr val="000000"/>
                </a:solidFill>
                <a:latin typeface="Arial"/>
              </a:endParaRPr>
            </a:p>
          </p:txBody>
        </p:sp>
        <p:sp>
          <p:nvSpPr>
            <p:cNvPr id="19" name="Ellipse 18">
              <a:extLst>
                <a:ext uri="{FF2B5EF4-FFF2-40B4-BE49-F238E27FC236}">
                  <a16:creationId xmlns:a16="http://schemas.microsoft.com/office/drawing/2014/main" id="{2B58A542-3DCF-98E5-FF19-CAC073F16BCB}"/>
                </a:ext>
              </a:extLst>
            </p:cNvPr>
            <p:cNvSpPr>
              <a:spLocks noChangeAspect="1"/>
            </p:cNvSpPr>
            <p:nvPr/>
          </p:nvSpPr>
          <p:spPr>
            <a:xfrm>
              <a:off x="8329041" y="5419618"/>
              <a:ext cx="360000" cy="360000"/>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nb-NO" sz="1350">
                <a:solidFill>
                  <a:srgbClr val="FFFFFF"/>
                </a:solidFill>
                <a:latin typeface="Arial"/>
              </a:endParaRPr>
            </a:p>
          </p:txBody>
        </p:sp>
      </p:grpSp>
      <p:grpSp>
        <p:nvGrpSpPr>
          <p:cNvPr id="12" name="Gruppe 11">
            <a:extLst>
              <a:ext uri="{FF2B5EF4-FFF2-40B4-BE49-F238E27FC236}">
                <a16:creationId xmlns:a16="http://schemas.microsoft.com/office/drawing/2014/main" id="{33499E9C-475B-CEB9-E602-DFF42F0C3E48}"/>
              </a:ext>
            </a:extLst>
          </p:cNvPr>
          <p:cNvGrpSpPr/>
          <p:nvPr/>
        </p:nvGrpSpPr>
        <p:grpSpPr>
          <a:xfrm>
            <a:off x="577682" y="4106340"/>
            <a:ext cx="8050766" cy="808073"/>
            <a:chOff x="766042" y="3497959"/>
            <a:chExt cx="10734354" cy="1077430"/>
          </a:xfrm>
        </p:grpSpPr>
        <p:sp>
          <p:nvSpPr>
            <p:cNvPr id="17" name="Rektangel: avrundede hjørner 16">
              <a:extLst>
                <a:ext uri="{FF2B5EF4-FFF2-40B4-BE49-F238E27FC236}">
                  <a16:creationId xmlns:a16="http://schemas.microsoft.com/office/drawing/2014/main" id="{38389DCA-EB2F-EBBB-69E7-5CE4C7A91DB7}"/>
                </a:ext>
              </a:extLst>
            </p:cNvPr>
            <p:cNvSpPr/>
            <p:nvPr/>
          </p:nvSpPr>
          <p:spPr>
            <a:xfrm>
              <a:off x="766042" y="3497959"/>
              <a:ext cx="10498189" cy="1077430"/>
            </a:xfrm>
            <a:prstGeom prst="round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nb-NO" sz="1350">
                <a:solidFill>
                  <a:srgbClr val="FFFFFF"/>
                </a:solidFill>
                <a:latin typeface="Arial"/>
              </a:endParaRPr>
            </a:p>
          </p:txBody>
        </p:sp>
        <p:sp>
          <p:nvSpPr>
            <p:cNvPr id="20" name="TekstSylinder 19">
              <a:extLst>
                <a:ext uri="{FF2B5EF4-FFF2-40B4-BE49-F238E27FC236}">
                  <a16:creationId xmlns:a16="http://schemas.microsoft.com/office/drawing/2014/main" id="{35F83D38-D49F-0CAC-308A-F16AF3BDD2A7}"/>
                </a:ext>
              </a:extLst>
            </p:cNvPr>
            <p:cNvSpPr txBox="1"/>
            <p:nvPr/>
          </p:nvSpPr>
          <p:spPr>
            <a:xfrm>
              <a:off x="1729518" y="3848041"/>
              <a:ext cx="2063044" cy="400109"/>
            </a:xfrm>
            <a:prstGeom prst="rect">
              <a:avLst/>
            </a:prstGeom>
            <a:noFill/>
          </p:spPr>
          <p:txBody>
            <a:bodyPr wrap="none" rtlCol="0">
              <a:spAutoFit/>
            </a:bodyPr>
            <a:lstStyle/>
            <a:p>
              <a:pPr defTabSz="685800"/>
              <a:r>
                <a:rPr lang="nb-NO" sz="1350">
                  <a:solidFill>
                    <a:srgbClr val="000000"/>
                  </a:solidFill>
                  <a:latin typeface="Arial"/>
                </a:rPr>
                <a:t>NBO INST (TIPS)</a:t>
              </a:r>
            </a:p>
          </p:txBody>
        </p:sp>
        <p:sp>
          <p:nvSpPr>
            <p:cNvPr id="24" name="TekstSylinder 23">
              <a:extLst>
                <a:ext uri="{FF2B5EF4-FFF2-40B4-BE49-F238E27FC236}">
                  <a16:creationId xmlns:a16="http://schemas.microsoft.com/office/drawing/2014/main" id="{D0B51D3D-0CAE-71E0-E162-32C06D4159BE}"/>
                </a:ext>
              </a:extLst>
            </p:cNvPr>
            <p:cNvSpPr txBox="1"/>
            <p:nvPr/>
          </p:nvSpPr>
          <p:spPr>
            <a:xfrm>
              <a:off x="4604631" y="3602742"/>
              <a:ext cx="3610544" cy="954107"/>
            </a:xfrm>
            <a:prstGeom prst="rect">
              <a:avLst/>
            </a:prstGeom>
            <a:noFill/>
          </p:spPr>
          <p:txBody>
            <a:bodyPr wrap="square" rtlCol="0">
              <a:spAutoFit/>
            </a:bodyPr>
            <a:lstStyle/>
            <a:p>
              <a:pPr defTabSz="685800"/>
              <a:r>
                <a:rPr lang="nb-NO" sz="1350">
                  <a:solidFill>
                    <a:srgbClr val="000000"/>
                  </a:solidFill>
                  <a:latin typeface="Arial"/>
                </a:rPr>
                <a:t>New </a:t>
              </a:r>
              <a:r>
                <a:rPr lang="nb-NO" sz="1350" err="1">
                  <a:solidFill>
                    <a:srgbClr val="000000"/>
                  </a:solidFill>
                  <a:latin typeface="Arial"/>
                </a:rPr>
                <a:t>solution</a:t>
              </a:r>
              <a:r>
                <a:rPr lang="nb-NO" sz="1350">
                  <a:solidFill>
                    <a:srgbClr val="000000"/>
                  </a:solidFill>
                  <a:latin typeface="Arial"/>
                </a:rPr>
                <a:t> for real time </a:t>
              </a:r>
              <a:r>
                <a:rPr lang="nb-NO" sz="1350" err="1">
                  <a:solidFill>
                    <a:srgbClr val="000000"/>
                  </a:solidFill>
                  <a:latin typeface="Arial"/>
                </a:rPr>
                <a:t>payments</a:t>
              </a:r>
              <a:r>
                <a:rPr lang="nb-NO" sz="1350">
                  <a:solidFill>
                    <a:srgbClr val="000000"/>
                  </a:solidFill>
                  <a:latin typeface="Arial"/>
                </a:rPr>
                <a:t> (from NICS Real til NBO INST/TIPS) </a:t>
              </a:r>
            </a:p>
          </p:txBody>
        </p:sp>
        <p:pic>
          <p:nvPicPr>
            <p:cNvPr id="2" name="Picture 2" descr="Ledige stillinger - IT - Norges | FINN Jobb">
              <a:extLst>
                <a:ext uri="{FF2B5EF4-FFF2-40B4-BE49-F238E27FC236}">
                  <a16:creationId xmlns:a16="http://schemas.microsoft.com/office/drawing/2014/main" id="{170E7697-7B39-1371-B69F-91CB05001AE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r="70625"/>
            <a:stretch/>
          </p:blipFill>
          <p:spPr bwMode="auto">
            <a:xfrm>
              <a:off x="1002208" y="3746019"/>
              <a:ext cx="616738" cy="572998"/>
            </a:xfrm>
            <a:prstGeom prst="rect">
              <a:avLst/>
            </a:prstGeom>
            <a:noFill/>
            <a:extLst>
              <a:ext uri="{909E8E84-426E-40DD-AFC4-6F175D3DCCD1}">
                <a14:hiddenFill xmlns:a14="http://schemas.microsoft.com/office/drawing/2010/main">
                  <a:solidFill>
                    <a:srgbClr val="FFFFFF"/>
                  </a:solidFill>
                </a14:hiddenFill>
              </a:ext>
            </a:extLst>
          </p:spPr>
        </p:pic>
        <p:sp>
          <p:nvSpPr>
            <p:cNvPr id="25" name="TekstSylinder 24">
              <a:extLst>
                <a:ext uri="{FF2B5EF4-FFF2-40B4-BE49-F238E27FC236}">
                  <a16:creationId xmlns:a16="http://schemas.microsoft.com/office/drawing/2014/main" id="{C69DE0DF-72CA-D08E-9341-C5DF58719FC9}"/>
                </a:ext>
              </a:extLst>
            </p:cNvPr>
            <p:cNvSpPr txBox="1"/>
            <p:nvPr/>
          </p:nvSpPr>
          <p:spPr>
            <a:xfrm>
              <a:off x="8805038" y="3609394"/>
              <a:ext cx="2695358" cy="954107"/>
            </a:xfrm>
            <a:prstGeom prst="rect">
              <a:avLst/>
            </a:prstGeom>
            <a:noFill/>
          </p:spPr>
          <p:txBody>
            <a:bodyPr wrap="square" rtlCol="0">
              <a:spAutoFit/>
            </a:bodyPr>
            <a:lstStyle/>
            <a:p>
              <a:pPr defTabSz="685800"/>
              <a:r>
                <a:rPr lang="nb-NO" sz="1350">
                  <a:solidFill>
                    <a:srgbClr val="000000"/>
                  </a:solidFill>
                  <a:latin typeface="Arial"/>
                </a:rPr>
                <a:t>Re-planning Norges Bank. Migration </a:t>
              </a:r>
              <a:r>
                <a:rPr lang="nb-NO" sz="1350" err="1">
                  <a:solidFill>
                    <a:srgbClr val="000000"/>
                  </a:solidFill>
                  <a:latin typeface="Arial"/>
                </a:rPr>
                <a:t>earliest</a:t>
              </a:r>
              <a:r>
                <a:rPr lang="nb-NO" sz="1350">
                  <a:solidFill>
                    <a:srgbClr val="000000"/>
                  </a:solidFill>
                  <a:latin typeface="Arial"/>
                </a:rPr>
                <a:t> q4 28</a:t>
              </a:r>
            </a:p>
          </p:txBody>
        </p:sp>
        <p:sp>
          <p:nvSpPr>
            <p:cNvPr id="9" name="Ellipse 8">
              <a:extLst>
                <a:ext uri="{FF2B5EF4-FFF2-40B4-BE49-F238E27FC236}">
                  <a16:creationId xmlns:a16="http://schemas.microsoft.com/office/drawing/2014/main" id="{915EF417-B12E-3880-ECF7-B63D66398BAA}"/>
                </a:ext>
              </a:extLst>
            </p:cNvPr>
            <p:cNvSpPr>
              <a:spLocks noChangeAspect="1"/>
            </p:cNvSpPr>
            <p:nvPr/>
          </p:nvSpPr>
          <p:spPr>
            <a:xfrm>
              <a:off x="8333116" y="3852708"/>
              <a:ext cx="360000" cy="360000"/>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nb-NO" sz="1350">
                <a:solidFill>
                  <a:srgbClr val="FFFFFF"/>
                </a:solidFill>
                <a:latin typeface="Arial"/>
              </a:endParaRPr>
            </a:p>
          </p:txBody>
        </p:sp>
      </p:grpSp>
      <p:grpSp>
        <p:nvGrpSpPr>
          <p:cNvPr id="23" name="Gruppe 22">
            <a:extLst>
              <a:ext uri="{FF2B5EF4-FFF2-40B4-BE49-F238E27FC236}">
                <a16:creationId xmlns:a16="http://schemas.microsoft.com/office/drawing/2014/main" id="{D8851F27-8417-A6F2-4247-E5F38F18652F}"/>
              </a:ext>
            </a:extLst>
          </p:cNvPr>
          <p:cNvGrpSpPr/>
          <p:nvPr/>
        </p:nvGrpSpPr>
        <p:grpSpPr>
          <a:xfrm>
            <a:off x="567129" y="2344360"/>
            <a:ext cx="7873988" cy="978958"/>
            <a:chOff x="766574" y="3493993"/>
            <a:chExt cx="10498650" cy="1305277"/>
          </a:xfrm>
        </p:grpSpPr>
        <p:sp>
          <p:nvSpPr>
            <p:cNvPr id="26" name="Rektangel: avrundede hjørner 25">
              <a:extLst>
                <a:ext uri="{FF2B5EF4-FFF2-40B4-BE49-F238E27FC236}">
                  <a16:creationId xmlns:a16="http://schemas.microsoft.com/office/drawing/2014/main" id="{F1EBBF96-6B5A-9048-C597-397E95C5D2CA}"/>
                </a:ext>
              </a:extLst>
            </p:cNvPr>
            <p:cNvSpPr/>
            <p:nvPr/>
          </p:nvSpPr>
          <p:spPr>
            <a:xfrm>
              <a:off x="766574" y="3493993"/>
              <a:ext cx="10498189" cy="1077430"/>
            </a:xfrm>
            <a:prstGeom prst="round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nb-NO" sz="1350">
                <a:solidFill>
                  <a:srgbClr val="FFFFFF"/>
                </a:solidFill>
                <a:latin typeface="Arial"/>
              </a:endParaRPr>
            </a:p>
          </p:txBody>
        </p:sp>
        <p:pic>
          <p:nvPicPr>
            <p:cNvPr id="1026" name="Picture 2">
              <a:extLst>
                <a:ext uri="{FF2B5EF4-FFF2-40B4-BE49-F238E27FC236}">
                  <a16:creationId xmlns:a16="http://schemas.microsoft.com/office/drawing/2014/main" id="{149758CE-9945-536A-47FB-B6085C0CA74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43999" y="3691329"/>
              <a:ext cx="527085" cy="695413"/>
            </a:xfrm>
            <a:prstGeom prst="rect">
              <a:avLst/>
            </a:prstGeom>
            <a:noFill/>
            <a:extLst>
              <a:ext uri="{909E8E84-426E-40DD-AFC4-6F175D3DCCD1}">
                <a14:hiddenFill xmlns:a14="http://schemas.microsoft.com/office/drawing/2010/main">
                  <a:solidFill>
                    <a:srgbClr val="FFFFFF"/>
                  </a:solidFill>
                </a14:hiddenFill>
              </a:ext>
            </a:extLst>
          </p:spPr>
        </p:pic>
        <p:sp>
          <p:nvSpPr>
            <p:cNvPr id="27" name="TekstSylinder 26">
              <a:extLst>
                <a:ext uri="{FF2B5EF4-FFF2-40B4-BE49-F238E27FC236}">
                  <a16:creationId xmlns:a16="http://schemas.microsoft.com/office/drawing/2014/main" id="{A022F591-6605-473F-73B2-A2FE7620C539}"/>
                </a:ext>
              </a:extLst>
            </p:cNvPr>
            <p:cNvSpPr txBox="1"/>
            <p:nvPr/>
          </p:nvSpPr>
          <p:spPr>
            <a:xfrm>
              <a:off x="1707247" y="3712858"/>
              <a:ext cx="2004587" cy="677108"/>
            </a:xfrm>
            <a:prstGeom prst="rect">
              <a:avLst/>
            </a:prstGeom>
            <a:noFill/>
          </p:spPr>
          <p:txBody>
            <a:bodyPr wrap="square" rtlCol="0">
              <a:spAutoFit/>
            </a:bodyPr>
            <a:lstStyle/>
            <a:p>
              <a:pPr defTabSz="685800"/>
              <a:r>
                <a:rPr lang="nb-NO" sz="1350">
                  <a:solidFill>
                    <a:srgbClr val="000000"/>
                  </a:solidFill>
                  <a:latin typeface="Arial"/>
                </a:rPr>
                <a:t>BRUS </a:t>
              </a:r>
              <a:r>
                <a:rPr lang="nb-NO" sz="1350" err="1">
                  <a:solidFill>
                    <a:srgbClr val="000000"/>
                  </a:solidFill>
                  <a:latin typeface="Arial"/>
                </a:rPr>
                <a:t>registry</a:t>
              </a:r>
              <a:r>
                <a:rPr lang="nb-NO" sz="1350">
                  <a:solidFill>
                    <a:srgbClr val="000000"/>
                  </a:solidFill>
                  <a:latin typeface="Arial"/>
                </a:rPr>
                <a:t> </a:t>
              </a:r>
              <a:r>
                <a:rPr lang="nb-NO" sz="1350" err="1">
                  <a:solidFill>
                    <a:srgbClr val="000000"/>
                  </a:solidFill>
                  <a:latin typeface="Arial"/>
                </a:rPr>
                <a:t>infrastructure</a:t>
              </a:r>
              <a:r>
                <a:rPr lang="nb-NO" sz="1350">
                  <a:solidFill>
                    <a:srgbClr val="000000"/>
                  </a:solidFill>
                  <a:latin typeface="Arial"/>
                </a:rPr>
                <a:t> </a:t>
              </a:r>
            </a:p>
          </p:txBody>
        </p:sp>
        <p:sp>
          <p:nvSpPr>
            <p:cNvPr id="28" name="TekstSylinder 27">
              <a:extLst>
                <a:ext uri="{FF2B5EF4-FFF2-40B4-BE49-F238E27FC236}">
                  <a16:creationId xmlns:a16="http://schemas.microsoft.com/office/drawing/2014/main" id="{AB593C9D-182F-CFAE-E3B2-075AA3792EAE}"/>
                </a:ext>
              </a:extLst>
            </p:cNvPr>
            <p:cNvSpPr txBox="1"/>
            <p:nvPr/>
          </p:nvSpPr>
          <p:spPr>
            <a:xfrm>
              <a:off x="4561500" y="3614168"/>
              <a:ext cx="3285962" cy="954107"/>
            </a:xfrm>
            <a:prstGeom prst="rect">
              <a:avLst/>
            </a:prstGeom>
            <a:noFill/>
          </p:spPr>
          <p:txBody>
            <a:bodyPr wrap="square" rtlCol="0">
              <a:spAutoFit/>
            </a:bodyPr>
            <a:lstStyle/>
            <a:p>
              <a:pPr defTabSz="685800"/>
              <a:r>
                <a:rPr lang="nb-NO" sz="1350">
                  <a:solidFill>
                    <a:srgbClr val="000000"/>
                  </a:solidFill>
                  <a:latin typeface="Arial"/>
                </a:rPr>
                <a:t>Bits </a:t>
              </a:r>
              <a:r>
                <a:rPr lang="nb-NO" sz="1350" err="1">
                  <a:solidFill>
                    <a:srgbClr val="000000"/>
                  </a:solidFill>
                  <a:latin typeface="Arial"/>
                </a:rPr>
                <a:t>takes</a:t>
              </a:r>
              <a:r>
                <a:rPr lang="nb-NO" sz="1350">
                  <a:solidFill>
                    <a:srgbClr val="000000"/>
                  </a:solidFill>
                  <a:latin typeface="Arial"/>
                </a:rPr>
                <a:t> </a:t>
              </a:r>
              <a:r>
                <a:rPr lang="nb-NO" sz="1350" err="1">
                  <a:solidFill>
                    <a:srgbClr val="000000"/>
                  </a:solidFill>
                  <a:latin typeface="Arial"/>
                </a:rPr>
                <a:t>ownership</a:t>
              </a:r>
              <a:r>
                <a:rPr lang="nb-NO" sz="1350">
                  <a:solidFill>
                    <a:srgbClr val="000000"/>
                  </a:solidFill>
                  <a:latin typeface="Arial"/>
                </a:rPr>
                <a:t> </a:t>
              </a:r>
              <a:r>
                <a:rPr lang="nb-NO" sz="1350" err="1">
                  <a:solidFill>
                    <a:srgbClr val="000000"/>
                  </a:solidFill>
                  <a:latin typeface="Arial"/>
                </a:rPr>
                <a:t>of</a:t>
              </a:r>
              <a:r>
                <a:rPr lang="nb-NO" sz="1350">
                  <a:solidFill>
                    <a:srgbClr val="000000"/>
                  </a:solidFill>
                  <a:latin typeface="Arial"/>
                </a:rPr>
                <a:t> registers </a:t>
              </a:r>
              <a:r>
                <a:rPr lang="nb-NO" sz="1350" err="1">
                  <a:solidFill>
                    <a:srgbClr val="000000"/>
                  </a:solidFill>
                  <a:latin typeface="Arial"/>
                </a:rPr>
                <a:t>important</a:t>
              </a:r>
              <a:r>
                <a:rPr lang="nb-NO" sz="1350">
                  <a:solidFill>
                    <a:srgbClr val="000000"/>
                  </a:solidFill>
                  <a:latin typeface="Arial"/>
                </a:rPr>
                <a:t> for </a:t>
              </a:r>
              <a:r>
                <a:rPr lang="nb-NO" sz="1350" err="1">
                  <a:solidFill>
                    <a:srgbClr val="000000"/>
                  </a:solidFill>
                  <a:latin typeface="Arial"/>
                </a:rPr>
                <a:t>the</a:t>
              </a:r>
              <a:r>
                <a:rPr lang="nb-NO" sz="1350">
                  <a:solidFill>
                    <a:srgbClr val="000000"/>
                  </a:solidFill>
                  <a:latin typeface="Arial"/>
                </a:rPr>
                <a:t> </a:t>
              </a:r>
              <a:r>
                <a:rPr lang="nb-NO" sz="1350" err="1">
                  <a:solidFill>
                    <a:srgbClr val="000000"/>
                  </a:solidFill>
                  <a:latin typeface="Arial"/>
                </a:rPr>
                <a:t>payments</a:t>
              </a:r>
              <a:r>
                <a:rPr lang="nb-NO" sz="1350">
                  <a:solidFill>
                    <a:srgbClr val="000000"/>
                  </a:solidFill>
                  <a:latin typeface="Arial"/>
                </a:rPr>
                <a:t> </a:t>
              </a:r>
              <a:r>
                <a:rPr lang="nb-NO" sz="1350" err="1">
                  <a:solidFill>
                    <a:srgbClr val="000000"/>
                  </a:solidFill>
                  <a:latin typeface="Arial"/>
                </a:rPr>
                <a:t>infrastructure</a:t>
              </a:r>
              <a:endParaRPr lang="nb-NO" sz="1350">
                <a:solidFill>
                  <a:srgbClr val="000000"/>
                </a:solidFill>
                <a:latin typeface="Arial"/>
              </a:endParaRPr>
            </a:p>
          </p:txBody>
        </p:sp>
        <p:sp>
          <p:nvSpPr>
            <p:cNvPr id="31" name="TekstSylinder 30">
              <a:extLst>
                <a:ext uri="{FF2B5EF4-FFF2-40B4-BE49-F238E27FC236}">
                  <a16:creationId xmlns:a16="http://schemas.microsoft.com/office/drawing/2014/main" id="{3CBEC334-9EBC-A8B0-0B57-F249286640CF}"/>
                </a:ext>
              </a:extLst>
            </p:cNvPr>
            <p:cNvSpPr txBox="1"/>
            <p:nvPr/>
          </p:nvSpPr>
          <p:spPr>
            <a:xfrm>
              <a:off x="8809521" y="3568164"/>
              <a:ext cx="2455703" cy="1231106"/>
            </a:xfrm>
            <a:prstGeom prst="rect">
              <a:avLst/>
            </a:prstGeom>
            <a:noFill/>
          </p:spPr>
          <p:txBody>
            <a:bodyPr wrap="square" rtlCol="0">
              <a:spAutoFit/>
            </a:bodyPr>
            <a:lstStyle/>
            <a:p>
              <a:pPr defTabSz="685800"/>
              <a:r>
                <a:rPr lang="nb-NO" sz="1350">
                  <a:solidFill>
                    <a:srgbClr val="000000"/>
                  </a:solidFill>
                  <a:latin typeface="Arial"/>
                </a:rPr>
                <a:t>Migration q1 26 for register1. Planning on-</a:t>
              </a:r>
              <a:r>
                <a:rPr lang="nb-NO" sz="1350" err="1">
                  <a:solidFill>
                    <a:srgbClr val="000000"/>
                  </a:solidFill>
                  <a:latin typeface="Arial"/>
                </a:rPr>
                <a:t>going</a:t>
              </a:r>
              <a:r>
                <a:rPr lang="nb-NO" sz="1350">
                  <a:solidFill>
                    <a:srgbClr val="000000"/>
                  </a:solidFill>
                  <a:latin typeface="Arial"/>
                </a:rPr>
                <a:t> for register2.  </a:t>
              </a:r>
            </a:p>
          </p:txBody>
        </p:sp>
        <p:sp>
          <p:nvSpPr>
            <p:cNvPr id="32" name="Ellipse 31">
              <a:extLst>
                <a:ext uri="{FF2B5EF4-FFF2-40B4-BE49-F238E27FC236}">
                  <a16:creationId xmlns:a16="http://schemas.microsoft.com/office/drawing/2014/main" id="{1F49376E-1F29-68F2-A501-04B23EB5B477}"/>
                </a:ext>
              </a:extLst>
            </p:cNvPr>
            <p:cNvSpPr>
              <a:spLocks noChangeAspect="1"/>
            </p:cNvSpPr>
            <p:nvPr/>
          </p:nvSpPr>
          <p:spPr>
            <a:xfrm>
              <a:off x="8338972" y="3769156"/>
              <a:ext cx="360000" cy="360000"/>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nb-NO" sz="1350">
                <a:solidFill>
                  <a:srgbClr val="FFFFFF"/>
                </a:solidFill>
                <a:latin typeface="Arial"/>
              </a:endParaRPr>
            </a:p>
          </p:txBody>
        </p:sp>
      </p:grpSp>
      <p:sp>
        <p:nvSpPr>
          <p:cNvPr id="34" name="Plassholder for tekst 33">
            <a:extLst>
              <a:ext uri="{FF2B5EF4-FFF2-40B4-BE49-F238E27FC236}">
                <a16:creationId xmlns:a16="http://schemas.microsoft.com/office/drawing/2014/main" id="{396EA747-A953-4FBA-99F9-A3C3F71B3490}"/>
              </a:ext>
            </a:extLst>
          </p:cNvPr>
          <p:cNvSpPr>
            <a:spLocks noGrp="1"/>
          </p:cNvSpPr>
          <p:nvPr>
            <p:ph type="body" sz="quarter" idx="13"/>
          </p:nvPr>
        </p:nvSpPr>
        <p:spPr/>
        <p:txBody>
          <a:bodyPr/>
          <a:lstStyle/>
          <a:p>
            <a:r>
              <a:rPr lang="nb-NO"/>
              <a:t>Norway </a:t>
            </a:r>
            <a:r>
              <a:rPr lang="nb-NO" err="1"/>
              <a:t>community</a:t>
            </a:r>
            <a:r>
              <a:rPr lang="nb-NO"/>
              <a:t> </a:t>
            </a:r>
            <a:r>
              <a:rPr lang="nb-NO" err="1"/>
              <a:t>update</a:t>
            </a:r>
            <a:endParaRPr lang="nb-NO"/>
          </a:p>
        </p:txBody>
      </p:sp>
    </p:spTree>
    <p:extLst>
      <p:ext uri="{BB962C8B-B14F-4D97-AF65-F5344CB8AC3E}">
        <p14:creationId xmlns:p14="http://schemas.microsoft.com/office/powerpoint/2010/main" val="25657537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OTLMARKERSHAPE" val="OTL"/>
</p:tagLst>
</file>

<file path=ppt/tags/tag5.xml><?xml version="1.0" encoding="utf-8"?>
<p:tagLst xmlns:a="http://schemas.openxmlformats.org/drawingml/2006/main" xmlns:r="http://schemas.openxmlformats.org/officeDocument/2006/relationships" xmlns:p="http://schemas.openxmlformats.org/presentationml/2006/main">
  <p:tag name="OTLMARKERSHAPE" val="OTL"/>
</p:tagLst>
</file>

<file path=ppt/theme/theme1.xml><?xml version="1.0" encoding="utf-8"?>
<a:theme xmlns:a="http://schemas.openxmlformats.org/drawingml/2006/main" name="NPC">
  <a:themeElements>
    <a:clrScheme name="NPC">
      <a:dk1>
        <a:srgbClr val="014E8F"/>
      </a:dk1>
      <a:lt1>
        <a:sysClr val="window" lastClr="FFFFFF"/>
      </a:lt1>
      <a:dk2>
        <a:srgbClr val="014E8F"/>
      </a:dk2>
      <a:lt2>
        <a:srgbClr val="EEEEEE"/>
      </a:lt2>
      <a:accent1>
        <a:srgbClr val="D00E28"/>
      </a:accent1>
      <a:accent2>
        <a:srgbClr val="FCCE00"/>
      </a:accent2>
      <a:accent3>
        <a:srgbClr val="AECC52"/>
      </a:accent3>
      <a:accent4>
        <a:srgbClr val="A05886"/>
      </a:accent4>
      <a:accent5>
        <a:srgbClr val="58C6F2"/>
      </a:accent5>
      <a:accent6>
        <a:srgbClr val="F07D22"/>
      </a:accent6>
      <a:hlink>
        <a:srgbClr val="014E8F"/>
      </a:hlink>
      <a:folHlink>
        <a:srgbClr val="014E8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 Med bakgrund">
  <a:themeElements>
    <a:clrScheme name="BIS">
      <a:dk1>
        <a:sysClr val="windowText" lastClr="000000"/>
      </a:dk1>
      <a:lt1>
        <a:sysClr val="window" lastClr="FFFFFF"/>
      </a:lt1>
      <a:dk2>
        <a:srgbClr val="494949"/>
      </a:dk2>
      <a:lt2>
        <a:srgbClr val="E7E6E6"/>
      </a:lt2>
      <a:accent1>
        <a:srgbClr val="EE6DA1"/>
      </a:accent1>
      <a:accent2>
        <a:srgbClr val="005AAB"/>
      </a:accent2>
      <a:accent3>
        <a:srgbClr val="F68B1F"/>
      </a:accent3>
      <a:accent4>
        <a:srgbClr val="FFB6D1"/>
      </a:accent4>
      <a:accent5>
        <a:srgbClr val="73DA92"/>
      </a:accent5>
      <a:accent6>
        <a:srgbClr val="BD97CF"/>
      </a:accent6>
      <a:hlink>
        <a:srgbClr val="000000"/>
      </a:hlink>
      <a:folHlink>
        <a:srgbClr val="000000"/>
      </a:folHlink>
    </a:clrScheme>
    <a:fontScheme name="BIS">
      <a:majorFont>
        <a:latin typeface="Rubik"/>
        <a:ea typeface=""/>
        <a:cs typeface=""/>
      </a:majorFont>
      <a:minorFont>
        <a:latin typeface="Rub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1688 SBF Mall_01.potx" id="{6547C7AB-64F4-4F0B-8E12-B729E4389541}" vid="{172BA674-1151-45A0-999E-2D5D8218A4D7}"/>
    </a:ext>
  </a:extLst>
</a:theme>
</file>

<file path=ppt/theme/theme3.xml><?xml version="1.0" encoding="utf-8"?>
<a:theme xmlns:a="http://schemas.openxmlformats.org/drawingml/2006/main" name="5_PowerPoint Skabelon 16_9 - kort version - embedded">
  <a:themeElements>
    <a:clrScheme name="Danmarks Nationalbank">
      <a:dk1>
        <a:sysClr val="windowText" lastClr="000000"/>
      </a:dk1>
      <a:lt1>
        <a:sysClr val="window" lastClr="FFFFFF"/>
      </a:lt1>
      <a:dk2>
        <a:srgbClr val="303030"/>
      </a:dk2>
      <a:lt2>
        <a:srgbClr val="D23757"/>
      </a:lt2>
      <a:accent1>
        <a:srgbClr val="303030"/>
      </a:accent1>
      <a:accent2>
        <a:srgbClr val="666666"/>
      </a:accent2>
      <a:accent3>
        <a:srgbClr val="979797"/>
      </a:accent3>
      <a:accent4>
        <a:srgbClr val="CBCBCB"/>
      </a:accent4>
      <a:accent5>
        <a:srgbClr val="F0F0F0"/>
      </a:accent5>
      <a:accent6>
        <a:srgbClr val="000000"/>
      </a:accent6>
      <a:hlink>
        <a:srgbClr val="007BD2"/>
      </a:hlink>
      <a:folHlink>
        <a:srgbClr val="D23757"/>
      </a:folHlink>
    </a:clrScheme>
    <a:fontScheme name="Danmarks Nationalbank">
      <a:majorFont>
        <a:latin typeface="Nationalbank"/>
        <a:ea typeface=""/>
        <a:cs typeface=""/>
      </a:majorFont>
      <a:minorFont>
        <a:latin typeface="Nationalbank"/>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a:solidFill>
            <a:schemeClr val="tx2"/>
          </a:solidFill>
        </a:ln>
      </a:spPr>
      <a:bodyPr lIns="0" tIns="0" rIns="0" bIns="0" rtlCol="0" anchor="ctr"/>
      <a:lstStyle>
        <a:defPPr algn="ctr">
          <a:defRPr sz="1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ctr">
          <a:defRPr sz="1000" dirty="0" err="1" smtClean="0"/>
        </a:defPPr>
      </a:lstStyle>
    </a:txDef>
  </a:objectDefaults>
  <a:extraClrSchemeLst/>
</a:theme>
</file>

<file path=ppt/theme/theme4.xml><?xml version="1.0" encoding="utf-8"?>
<a:theme xmlns:a="http://schemas.openxmlformats.org/drawingml/2006/main" name="1_BITS">
  <a:themeElements>
    <a:clrScheme name="Bits farger">
      <a:dk1>
        <a:srgbClr val="3A3C40"/>
      </a:dk1>
      <a:lt1>
        <a:srgbClr val="FFFFFF"/>
      </a:lt1>
      <a:dk2>
        <a:srgbClr val="EBE9E4"/>
      </a:dk2>
      <a:lt2>
        <a:srgbClr val="7F7F7F"/>
      </a:lt2>
      <a:accent1>
        <a:srgbClr val="00508F"/>
      </a:accent1>
      <a:accent2>
        <a:srgbClr val="3D9DD9"/>
      </a:accent2>
      <a:accent3>
        <a:srgbClr val="C9E2F2"/>
      </a:accent3>
      <a:accent4>
        <a:srgbClr val="66A869"/>
      </a:accent4>
      <a:accent5>
        <a:srgbClr val="FAB942"/>
      </a:accent5>
      <a:accent6>
        <a:srgbClr val="E3565F"/>
      </a:accent6>
      <a:hlink>
        <a:srgbClr val="3D9DD9"/>
      </a:hlink>
      <a:folHlink>
        <a:srgbClr val="3D9DD9"/>
      </a:folHlink>
    </a:clrScheme>
    <a:fontScheme name="Bits">
      <a:majorFont>
        <a:latin typeface="Aptos"/>
        <a:ea typeface=""/>
        <a:cs typeface=""/>
      </a:majorFont>
      <a:minorFont>
        <a:latin typeface="Apto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eta)BITS - v2025.potm" id="{8A97C4E7-AD93-4638-88C6-B144233B4BE3}" vid="{8FE62EDC-FB91-4546-A6DE-497F45018284}"/>
    </a:ext>
  </a:extLst>
</a:theme>
</file>

<file path=ppt/theme/theme5.xml><?xml version="1.0" encoding="utf-8"?>
<a:theme xmlns:a="http://schemas.openxmlformats.org/drawingml/2006/main" name="BITS">
  <a:themeElements>
    <a:clrScheme name="BITS">
      <a:dk1>
        <a:srgbClr val="000000"/>
      </a:dk1>
      <a:lt1>
        <a:srgbClr val="FFFFFF"/>
      </a:lt1>
      <a:dk2>
        <a:srgbClr val="C1DAF3"/>
      </a:dk2>
      <a:lt2>
        <a:srgbClr val="7B1125"/>
      </a:lt2>
      <a:accent1>
        <a:srgbClr val="008FD6"/>
      </a:accent1>
      <a:accent2>
        <a:srgbClr val="00508F"/>
      </a:accent2>
      <a:accent3>
        <a:srgbClr val="BED3A2"/>
      </a:accent3>
      <a:accent4>
        <a:srgbClr val="66A869"/>
      </a:accent4>
      <a:accent5>
        <a:srgbClr val="FAB942"/>
      </a:accent5>
      <a:accent6>
        <a:srgbClr val="E3565F"/>
      </a:accent6>
      <a:hlink>
        <a:srgbClr val="008FD6"/>
      </a:hlink>
      <a:folHlink>
        <a:srgbClr val="008FD6"/>
      </a:folHlink>
    </a:clrScheme>
    <a:fontScheme name="BI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sjon7" id="{C834519E-FD1D-4830-8E57-984861BDBF26}" vid="{4F86A583-255C-4A78-A9D5-800BC400A72A}"/>
    </a:ext>
  </a:extLst>
</a:theme>
</file>

<file path=ppt/theme/theme6.xml><?xml version="1.0" encoding="utf-8"?>
<a:theme xmlns:a="http://schemas.openxmlformats.org/drawingml/2006/main" name="POWERPOINT FINANCE DENMARK UK">
  <a:themeElements>
    <a:clrScheme name="Niels">
      <a:dk1>
        <a:srgbClr val="1C2935"/>
      </a:dk1>
      <a:lt1>
        <a:srgbClr val="FFFFFF"/>
      </a:lt1>
      <a:dk2>
        <a:srgbClr val="1C2935"/>
      </a:dk2>
      <a:lt2>
        <a:srgbClr val="E6E9E4"/>
      </a:lt2>
      <a:accent1>
        <a:srgbClr val="E4002B"/>
      </a:accent1>
      <a:accent2>
        <a:srgbClr val="76232F"/>
      </a:accent2>
      <a:accent3>
        <a:srgbClr val="253746"/>
      </a:accent3>
      <a:accent4>
        <a:srgbClr val="7FA9AE"/>
      </a:accent4>
      <a:accent5>
        <a:srgbClr val="708753"/>
      </a:accent5>
      <a:accent6>
        <a:srgbClr val="3F4444"/>
      </a:accent6>
      <a:hlink>
        <a:srgbClr val="E4002B"/>
      </a:hlink>
      <a:folHlink>
        <a:srgbClr val="76232F"/>
      </a:folHlink>
    </a:clrScheme>
    <a:fontScheme name="Austin">
      <a:majorFont>
        <a:latin typeface="Century Gothic"/>
        <a:ea typeface=""/>
        <a:cs typeface=""/>
        <a:font script="Jpan" typeface="ＭＳ ゴシック"/>
        <a:font script="Hang" typeface="HY중고딕"/>
        <a:font script="Hans" typeface="微软雅黑"/>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微软雅黑"/>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Finance_Denmark_UK_20180116.potx" id="{69090EE7-CB50-40AF-A1B4-542B849F9AD5}" vid="{9C8D27D7-0160-4E5B-B92F-DEAFBDF9C9F1}"/>
    </a:ext>
  </a:extLst>
</a:theme>
</file>

<file path=ppt/theme/theme7.xml><?xml version="1.0" encoding="utf-8"?>
<a:theme xmlns:a="http://schemas.openxmlformats.org/drawingml/2006/main" name="1_1 Med bakgrund">
  <a:themeElements>
    <a:clrScheme name="BIS">
      <a:dk1>
        <a:sysClr val="windowText" lastClr="000000"/>
      </a:dk1>
      <a:lt1>
        <a:sysClr val="window" lastClr="FFFFFF"/>
      </a:lt1>
      <a:dk2>
        <a:srgbClr val="494949"/>
      </a:dk2>
      <a:lt2>
        <a:srgbClr val="E7E6E6"/>
      </a:lt2>
      <a:accent1>
        <a:srgbClr val="EE6DA1"/>
      </a:accent1>
      <a:accent2>
        <a:srgbClr val="005AAB"/>
      </a:accent2>
      <a:accent3>
        <a:srgbClr val="F68B1F"/>
      </a:accent3>
      <a:accent4>
        <a:srgbClr val="FFB6D1"/>
      </a:accent4>
      <a:accent5>
        <a:srgbClr val="73DA92"/>
      </a:accent5>
      <a:accent6>
        <a:srgbClr val="BD97CF"/>
      </a:accent6>
      <a:hlink>
        <a:srgbClr val="000000"/>
      </a:hlink>
      <a:folHlink>
        <a:srgbClr val="000000"/>
      </a:folHlink>
    </a:clrScheme>
    <a:fontScheme name="BIS">
      <a:majorFont>
        <a:latin typeface="Rubik"/>
        <a:ea typeface=""/>
        <a:cs typeface=""/>
      </a:majorFont>
      <a:minorFont>
        <a:latin typeface="Rub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1688 SBF Mall_01.potx" id="{6547C7AB-64F4-4F0B-8E12-B729E4389541}" vid="{172BA674-1151-45A0-999E-2D5D8218A4D7}"/>
    </a:ext>
  </a:extLst>
</a:theme>
</file>

<file path=ppt/theme/theme8.xml><?xml version="1.0" encoding="utf-8"?>
<a:theme xmlns:a="http://schemas.openxmlformats.org/drawingml/2006/main" name="Office-tema">
  <a:themeElements>
    <a:clrScheme name="NPC">
      <a:dk1>
        <a:srgbClr val="014E8F"/>
      </a:dk1>
      <a:lt1>
        <a:sysClr val="window" lastClr="FFFFFF"/>
      </a:lt1>
      <a:dk2>
        <a:srgbClr val="014E8F"/>
      </a:dk2>
      <a:lt2>
        <a:srgbClr val="EEEEEE"/>
      </a:lt2>
      <a:accent1>
        <a:srgbClr val="D00E28"/>
      </a:accent1>
      <a:accent2>
        <a:srgbClr val="FCCE00"/>
      </a:accent2>
      <a:accent3>
        <a:srgbClr val="AECC52"/>
      </a:accent3>
      <a:accent4>
        <a:srgbClr val="A05886"/>
      </a:accent4>
      <a:accent5>
        <a:srgbClr val="58C6F2"/>
      </a:accent5>
      <a:accent6>
        <a:srgbClr val="F07D22"/>
      </a:accent6>
      <a:hlink>
        <a:srgbClr val="014E8F"/>
      </a:hlink>
      <a:folHlink>
        <a:srgbClr val="014E8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Office-tema">
  <a:themeElements>
    <a:clrScheme name="NPC">
      <a:dk1>
        <a:srgbClr val="014E8F"/>
      </a:dk1>
      <a:lt1>
        <a:sysClr val="window" lastClr="FFFFFF"/>
      </a:lt1>
      <a:dk2>
        <a:srgbClr val="014E8F"/>
      </a:dk2>
      <a:lt2>
        <a:srgbClr val="EEEEEE"/>
      </a:lt2>
      <a:accent1>
        <a:srgbClr val="D00E28"/>
      </a:accent1>
      <a:accent2>
        <a:srgbClr val="FCCE00"/>
      </a:accent2>
      <a:accent3>
        <a:srgbClr val="AECC52"/>
      </a:accent3>
      <a:accent4>
        <a:srgbClr val="A05886"/>
      </a:accent4>
      <a:accent5>
        <a:srgbClr val="58C6F2"/>
      </a:accent5>
      <a:accent6>
        <a:srgbClr val="F07D22"/>
      </a:accent6>
      <a:hlink>
        <a:srgbClr val="014E8F"/>
      </a:hlink>
      <a:folHlink>
        <a:srgbClr val="014E8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82effb1f-3351-4000-8a6d-33e226dc5318" xsi:nil="true"/>
    <lcf76f155ced4ddcb4097134ff3c332f xmlns="2ed9aca2-86fd-48e3-9386-5992ab17314c">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C50A6998BBC0224E95A8848DA2218D5A" ma:contentTypeVersion="20" ma:contentTypeDescription="Skapa ett nytt dokument." ma:contentTypeScope="" ma:versionID="2863f59da1667c3ebf4ed11efd93d916">
  <xsd:schema xmlns:xsd="http://www.w3.org/2001/XMLSchema" xmlns:xs="http://www.w3.org/2001/XMLSchema" xmlns:p="http://schemas.microsoft.com/office/2006/metadata/properties" xmlns:ns2="2ed9aca2-86fd-48e3-9386-5992ab17314c" xmlns:ns3="82effb1f-3351-4000-8a6d-33e226dc5318" targetNamespace="http://schemas.microsoft.com/office/2006/metadata/properties" ma:root="true" ma:fieldsID="8fd393fe03c1fce0a900c2ab59a9963b" ns2:_="" ns3:_="">
    <xsd:import namespace="2ed9aca2-86fd-48e3-9386-5992ab17314c"/>
    <xsd:import namespace="82effb1f-3351-4000-8a6d-33e226dc531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3:TaxCatchAll" minOccurs="0"/>
                <xsd:element ref="ns2:lcf76f155ced4ddcb4097134ff3c332f" minOccurs="0"/>
                <xsd:element ref="ns2:MediaServiceObjectDetectorVersions" minOccurs="0"/>
                <xsd:element ref="ns2:MediaLengthInSecond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d9aca2-86fd-48e3-9386-5992ab17314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lcf76f155ced4ddcb4097134ff3c332f" ma:index="22" nillable="true" ma:taxonomy="true" ma:internalName="lcf76f155ced4ddcb4097134ff3c332f" ma:taxonomyFieldName="MediaServiceImageTags" ma:displayName="Bildmarkeringar" ma:readOnly="false" ma:fieldId="{5cf76f15-5ced-4ddc-b409-7134ff3c332f}" ma:taxonomyMulti="true" ma:sspId="3fd281f1-3e03-495d-b054-f0b3e357d5dd"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LengthInSeconds" ma:index="24" nillable="true" ma:displayName="MediaLengthInSeconds" ma:hidden="true" ma:internalName="MediaLengthInSeconds" ma:readOnly="true">
      <xsd:simpleType>
        <xsd:restriction base="dms:Unknown"/>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2effb1f-3351-4000-8a6d-33e226dc5318" elementFormDefault="qualified">
    <xsd:import namespace="http://schemas.microsoft.com/office/2006/documentManagement/types"/>
    <xsd:import namespace="http://schemas.microsoft.com/office/infopath/2007/PartnerControls"/>
    <xsd:element name="SharedWithUsers" ma:index="16" nillable="true" ma:displayName="Dela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Delat med information" ma:internalName="SharedWithDetails" ma:readOnly="true">
      <xsd:simpleType>
        <xsd:restriction base="dms:Note">
          <xsd:maxLength value="255"/>
        </xsd:restriction>
      </xsd:simpleType>
    </xsd:element>
    <xsd:element name="TaxCatchAll" ma:index="20" nillable="true" ma:displayName="Taxonomy Catch All Column" ma:hidden="true" ma:list="{5509e1e4-2c50-4a2e-a486-60b3ef4b47df}" ma:internalName="TaxCatchAll" ma:showField="CatchAllData" ma:web="82effb1f-3351-4000-8a6d-33e226dc531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F0F7E88-40A2-4399-80EB-F62C851D2701}">
  <ds:schemaRefs>
    <ds:schemaRef ds:uri="http://schemas.microsoft.com/sharepoint/v3/contenttype/forms"/>
  </ds:schemaRefs>
</ds:datastoreItem>
</file>

<file path=customXml/itemProps2.xml><?xml version="1.0" encoding="utf-8"?>
<ds:datastoreItem xmlns:ds="http://schemas.openxmlformats.org/officeDocument/2006/customXml" ds:itemID="{9CE05327-F15B-4921-82CE-118BAED13560}">
  <ds:schemaRefs>
    <ds:schemaRef ds:uri="2ed9aca2-86fd-48e3-9386-5992ab17314c"/>
    <ds:schemaRef ds:uri="82effb1f-3351-4000-8a6d-33e226dc531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C24321F-89AB-4FF6-BAF5-8B8F5512B2E7}">
  <ds:schemaRefs>
    <ds:schemaRef ds:uri="2ed9aca2-86fd-48e3-9386-5992ab17314c"/>
    <ds:schemaRef ds:uri="82effb1f-3351-4000-8a6d-33e226dc531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On-screen Show (16:9)</PresentationFormat>
  <Slides>47</Slides>
  <Notes>27</Notes>
  <HiddenSlides>0</HiddenSlides>
  <ScaleCrop>false</ScaleCrop>
  <HeadingPairs>
    <vt:vector size="4" baseType="variant">
      <vt:variant>
        <vt:lpstr>Theme</vt:lpstr>
      </vt:variant>
      <vt:variant>
        <vt:i4>7</vt:i4>
      </vt:variant>
      <vt:variant>
        <vt:lpstr>Slide Titles</vt:lpstr>
      </vt:variant>
      <vt:variant>
        <vt:i4>47</vt:i4>
      </vt:variant>
    </vt:vector>
  </HeadingPairs>
  <TitlesOfParts>
    <vt:vector size="54" baseType="lpstr">
      <vt:lpstr>NPC</vt:lpstr>
      <vt:lpstr>1 Med bakgrund</vt:lpstr>
      <vt:lpstr>5_PowerPoint Skabelon 16_9 - kort version - embedded</vt:lpstr>
      <vt:lpstr>1_BITS</vt:lpstr>
      <vt:lpstr>BITS</vt:lpstr>
      <vt:lpstr>POWERPOINT FINANCE DENMARK UK</vt:lpstr>
      <vt:lpstr>1_1 Med bakgrund</vt:lpstr>
      <vt:lpstr>Nordic Payments Council (NPC)</vt:lpstr>
      <vt:lpstr>PowerPoint Presentation</vt:lpstr>
      <vt:lpstr>Suggested Agenda</vt:lpstr>
      <vt:lpstr>Suggested Agenda</vt:lpstr>
      <vt:lpstr>NPC Vision and Strategy 2026-2029</vt:lpstr>
      <vt:lpstr>Information from the NPC</vt:lpstr>
      <vt:lpstr>Suggested Agenda</vt:lpstr>
      <vt:lpstr>Norway community update</vt:lpstr>
      <vt:lpstr>Project status March 2026</vt:lpstr>
      <vt:lpstr>Project under consideration</vt:lpstr>
      <vt:lpstr>Suggested Agenda</vt:lpstr>
      <vt:lpstr>External Speaker: Nexus</vt:lpstr>
      <vt:lpstr>Suggested Agenda</vt:lpstr>
      <vt:lpstr>   Helena Stjernstedt  Finansiell infrastruktur /Svenska Bankföreningen (Finance Sweden)/BSAB </vt:lpstr>
      <vt:lpstr>In preparation of a new Swedish payment infrastructure….   </vt:lpstr>
      <vt:lpstr>Central bank initiatives and time plans – The Riksbank</vt:lpstr>
      <vt:lpstr>Questions?  Please contact: helena.stjernstedt@financesweden.se    Additional information – please visit our webpage:  https://www.bankinfrastruktur.se  </vt:lpstr>
      <vt:lpstr>NPC Stakeholder Forum</vt:lpstr>
      <vt:lpstr>Updates from the Danish market</vt:lpstr>
      <vt:lpstr>Future Payments Infrastructure</vt:lpstr>
      <vt:lpstr>PowerPoint Presentation</vt:lpstr>
      <vt:lpstr>PowerPoint Presentation</vt:lpstr>
      <vt:lpstr>Suggested Agenda</vt:lpstr>
      <vt:lpstr>Suggested Agenda</vt:lpstr>
      <vt:lpstr>NPC Verification of Payee</vt:lpstr>
      <vt:lpstr>The future NPC Verification of Payee</vt:lpstr>
      <vt:lpstr>Suggested Agenda</vt:lpstr>
      <vt:lpstr>NCT &amp; NCT Inst schemes</vt:lpstr>
      <vt:lpstr>Change management cycle 2027 version of NCT &amp; NCT Inst   </vt:lpstr>
      <vt:lpstr>Summary of change requests  </vt:lpstr>
      <vt:lpstr>NPC Internal and External change requests (NCT &amp; NCT Inst)  </vt:lpstr>
      <vt:lpstr>EPC Internal and External change requests (SCT &amp; SCT Inst)  </vt:lpstr>
      <vt:lpstr>EPC Internal and External change requests (SCT &amp; SCT Inst) </vt:lpstr>
      <vt:lpstr>PowerPoint Presentation</vt:lpstr>
      <vt:lpstr>Milestone plan NPC NOLO Inst Scheme Rulebook  </vt:lpstr>
      <vt:lpstr>Time plan - NOLO Inst scheme </vt:lpstr>
      <vt:lpstr>Suggested Agenda</vt:lpstr>
      <vt:lpstr>Purpose position paper </vt:lpstr>
      <vt:lpstr>NPC Stakeholder Forum Timeline 2026 - Position papers</vt:lpstr>
      <vt:lpstr>Suggested approach position papers </vt:lpstr>
      <vt:lpstr>Call to action</vt:lpstr>
      <vt:lpstr>Suggested Agenda</vt:lpstr>
      <vt:lpstr>Workplan and Meetings</vt:lpstr>
      <vt:lpstr>Suggested Agenda</vt:lpstr>
      <vt:lpstr>Suggested Agenda</vt:lpstr>
      <vt:lpstr>PowerPoint Presentation</vt:lpstr>
      <vt:lpstr>NPC Organis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John Rafferty</dc:creator>
  <cp:revision>1</cp:revision>
  <cp:lastPrinted>2023-11-01T13:33:02Z</cp:lastPrinted>
  <dcterms:created xsi:type="dcterms:W3CDTF">2019-04-30T10:02:13Z</dcterms:created>
  <dcterms:modified xsi:type="dcterms:W3CDTF">2026-03-27T07:50: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50A6998BBC0224E95A8848DA2218D5A</vt:lpwstr>
  </property>
  <property fmtid="{D5CDD505-2E9C-101B-9397-08002B2CF9AE}" pid="3" name="MediaServiceImageTags">
    <vt:lpwstr/>
  </property>
</Properties>
</file>